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Ex1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2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Ex3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charts/chartEx4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Ex5.xml" ContentType="application/vnd.ms-office.chartex+xml"/>
  <Override PartName="/ppt/charts/style9.xml" ContentType="application/vnd.ms-office.chartstyle+xml"/>
  <Override PartName="/ppt/charts/colors9.xml" ContentType="application/vnd.ms-office.chartcolorstyle+xml"/>
  <Override PartName="/ppt/charts/chartEx6.xml" ContentType="application/vnd.ms-office.chartex+xml"/>
  <Override PartName="/ppt/charts/style10.xml" ContentType="application/vnd.ms-office.chartstyle+xml"/>
  <Override PartName="/ppt/charts/colors10.xml" ContentType="application/vnd.ms-office.chartcolorstyle+xml"/>
  <Override PartName="/ppt/charts/chartEx7.xml" ContentType="application/vnd.ms-office.chartex+xml"/>
  <Override PartName="/ppt/charts/style11.xml" ContentType="application/vnd.ms-office.chartstyle+xml"/>
  <Override PartName="/ppt/charts/colors11.xml" ContentType="application/vnd.ms-office.chartcolorstyle+xml"/>
  <Override PartName="/ppt/charts/chartEx8.xml" ContentType="application/vnd.ms-office.chartex+xml"/>
  <Override PartName="/ppt/charts/style12.xml" ContentType="application/vnd.ms-office.chartstyle+xml"/>
  <Override PartName="/ppt/charts/colors12.xml" ContentType="application/vnd.ms-office.chartcolorstyle+xml"/>
  <Override PartName="/ppt/charts/chartEx9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charts/chartEx10.xml" ContentType="application/vnd.ms-office.chartex+xml"/>
  <Override PartName="/ppt/charts/style14.xml" ContentType="application/vnd.ms-office.chartstyle+xml"/>
  <Override PartName="/ppt/charts/colors14.xml" ContentType="application/vnd.ms-office.chartcolorstyle+xml"/>
  <Override PartName="/ppt/charts/chartEx11.xml" ContentType="application/vnd.ms-office.chartex+xml"/>
  <Override PartName="/ppt/charts/style15.xml" ContentType="application/vnd.ms-office.chartstyle+xml"/>
  <Override PartName="/ppt/charts/colors15.xml" ContentType="application/vnd.ms-office.chartcolorstyle+xml"/>
  <Override PartName="/ppt/charts/chart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</p:sldMasterIdLst>
  <p:notesMasterIdLst>
    <p:notesMasterId r:id="rId25"/>
  </p:notesMasterIdLst>
  <p:sldIdLst>
    <p:sldId id="605" r:id="rId6"/>
    <p:sldId id="2724" r:id="rId7"/>
    <p:sldId id="2708" r:id="rId8"/>
    <p:sldId id="2655" r:id="rId9"/>
    <p:sldId id="2710" r:id="rId10"/>
    <p:sldId id="2711" r:id="rId11"/>
    <p:sldId id="2712" r:id="rId12"/>
    <p:sldId id="2713" r:id="rId13"/>
    <p:sldId id="2714" r:id="rId14"/>
    <p:sldId id="2715" r:id="rId15"/>
    <p:sldId id="2716" r:id="rId16"/>
    <p:sldId id="2717" r:id="rId17"/>
    <p:sldId id="2718" r:id="rId18"/>
    <p:sldId id="2719" r:id="rId19"/>
    <p:sldId id="2720" r:id="rId20"/>
    <p:sldId id="2721" r:id="rId21"/>
    <p:sldId id="2722" r:id="rId22"/>
    <p:sldId id="2723" r:id="rId23"/>
    <p:sldId id="2705" r:id="rId24"/>
  </p:sldIdLst>
  <p:sldSz cx="12192000" cy="6858000"/>
  <p:notesSz cx="6805613" cy="99441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  <p:cmAuthor id="5" name="Hans Rietveld" initials="HR" lastIdx="6" clrIdx="5">
    <p:extLst>
      <p:ext uri="{19B8F6BF-5375-455C-9EA6-DF929625EA0E}">
        <p15:presenceInfo xmlns:p15="http://schemas.microsoft.com/office/powerpoint/2012/main" userId="S::rietveldh@mmv.org::218518f5-0a15-46d2-98af-a3b9362d1a32" providerId="AD"/>
      </p:ext>
    </p:extLst>
  </p:cmAuthor>
  <p:cmAuthor id="6" name="Celine Audibert" initials="CA" lastIdx="2" clrIdx="6">
    <p:extLst>
      <p:ext uri="{19B8F6BF-5375-455C-9EA6-DF929625EA0E}">
        <p15:presenceInfo xmlns:p15="http://schemas.microsoft.com/office/powerpoint/2012/main" userId="S::audibertc@mmv.org::8796d7c5-f4bb-47e6-92d8-58fb126ac2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2D050"/>
    <a:srgbClr val="660066"/>
    <a:srgbClr val="E4B0BB"/>
    <a:srgbClr val="EACCFC"/>
    <a:srgbClr val="F0DBFD"/>
    <a:srgbClr val="F1E7EA"/>
    <a:srgbClr val="7ABC32"/>
    <a:srgbClr val="80C535"/>
    <a:srgbClr val="FFD9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AC9351-27BC-4207-B833-17BA51F4B05C}" v="83" dt="2023-02-27T14:49:08.5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41" d="100"/>
          <a:sy n="41" d="100"/>
        </p:scale>
        <p:origin x="964" y="20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eline\OneDrive%20-%20Medicines%20for%20Malaria%20Venture\OLD-P-DRIVE\01%20-%20Chemoprevention\SMC\SMC%20data%20collection\SMC%20data%20for%20WHO\SMC%20data%202014%20to%202022%20for%20WHO_work%20in%20progres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eline\OneDrive%20-%20Medicines%20for%20Malaria%20Venture\OLD-P-DRIVE\01%20-%20Chemoprevention\SMC\SMC%20data%20collection\SMC%20data%20for%20WHO\SMC%20data%202014%20to%202022%20for%20WHO_work%20in%20progres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2%20campaign/SMC%202022%20campaign_Data%20collated_District%20level_Raw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2%20campaign/SMC%202022%20campaign_Data%20collated_District%20level_Raw%20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eline\OneDrive%20-%20Medicines%20for%20Malaria%20Venture\OLD-P-DRIVE\01%20-%20Chemoprevention\SMC\SMC%20data%20collection\Output%20from%20LSHTM\Collated_SMC%20Data_2014%20to%202022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eline\OneDrive%20-%20Medicines%20for%20Malaria%20Venture\OLD-P-DRIVE\01%20-%20Chemoprevention\SMC\SMC%20data%20collection\Output%20from%20LSHTM\Collated_SMC%20Data_2014%20to%202022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eline\OneDrive%20-%20Medicines%20for%20Malaria%20Venture\OLD-P-DRIVE\01%20-%20Chemoprevention\SMC\SMC%20data%20collection\Output%20from%20LSHTM\Collated_SMC%20Data_2014%20to%202022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10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microsoft.com/office/2011/relationships/chartStyle" Target="style14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11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microsoft.com/office/2011/relationships/chartStyle" Target="style15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microsoft.com/office/2011/relationships/chartStyle" Target="style9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6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7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microsoft.com/office/2011/relationships/chartStyle" Target="style11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8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microsoft.com/office/2011/relationships/chartStyle" Target="style12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_rels/chartEx9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oleObject" Target="https://mmvit-my.sharepoint.com/personal/audibertc_mmv_org/Documents/OLD-P-DRIVE/01%20-%20Chemoprevention/SMC/SMC%20data%20collection/SMC%20data%20for%20WHO/SMC%20data%202014%20to%202022%20for%20WHO_work%20in%20progres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treatment deliver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16"/>
          <c:order val="16"/>
          <c:tx>
            <c:strRef>
              <c:f>'Total Tx delivered'!$A$19</c:f>
              <c:strCache>
                <c:ptCount val="1"/>
                <c:pt idx="0">
                  <c:v>Grand Total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Total Tx delivered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Total Tx delivered'!$B$19:$L$19</c:f>
              <c:numCache>
                <c:formatCode>#,##0</c:formatCode>
                <c:ptCount val="11"/>
                <c:pt idx="0">
                  <c:v>680000</c:v>
                </c:pt>
                <c:pt idx="1">
                  <c:v>5646472</c:v>
                </c:pt>
                <c:pt idx="2">
                  <c:v>9486374</c:v>
                </c:pt>
                <c:pt idx="3">
                  <c:v>22760425.0337</c:v>
                </c:pt>
                <c:pt idx="4">
                  <c:v>53832339</c:v>
                </c:pt>
                <c:pt idx="5">
                  <c:v>65281453.45810771</c:v>
                </c:pt>
                <c:pt idx="6">
                  <c:v>77238216</c:v>
                </c:pt>
                <c:pt idx="7">
                  <c:v>85979851.010849997</c:v>
                </c:pt>
                <c:pt idx="8">
                  <c:v>132905407.62270547</c:v>
                </c:pt>
                <c:pt idx="9">
                  <c:v>179775402</c:v>
                </c:pt>
                <c:pt idx="10">
                  <c:v>19842660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94-49F8-9EA9-1766DAC5D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36778160"/>
        <c:axId val="153677524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Total Tx delivered'!$A$3</c15:sqref>
                        </c15:formulaRef>
                      </c:ext>
                    </c:extLst>
                    <c:strCache>
                      <c:ptCount val="1"/>
                      <c:pt idx="0">
                        <c:v>Country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0</c:v>
                      </c:pt>
                      <c:pt idx="1">
                        <c:v>0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B194-49F8-9EA9-1766DAC5DE85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4</c15:sqref>
                        </c15:formulaRef>
                      </c:ext>
                    </c:extLst>
                    <c:strCache>
                      <c:ptCount val="1"/>
                      <c:pt idx="0">
                        <c:v>Benin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4:$L$4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7" formatCode="#,##0">
                        <c:v>456661</c:v>
                      </c:pt>
                      <c:pt idx="8" formatCode="#,##0">
                        <c:v>856491</c:v>
                      </c:pt>
                      <c:pt idx="9" formatCode="#,##0">
                        <c:v>1498240</c:v>
                      </c:pt>
                      <c:pt idx="10" formatCode="#,##0">
                        <c:v>165809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B194-49F8-9EA9-1766DAC5DE85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5</c15:sqref>
                        </c15:formulaRef>
                      </c:ext>
                    </c:extLst>
                    <c:strCache>
                      <c:ptCount val="1"/>
                      <c:pt idx="0">
                        <c:v>Burkina Faso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5:$L$5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2" formatCode="#,##0">
                        <c:v>1231081</c:v>
                      </c:pt>
                      <c:pt idx="3" formatCode="#,##0">
                        <c:v>3816187</c:v>
                      </c:pt>
                      <c:pt idx="4" formatCode="#,##0">
                        <c:v>10590851</c:v>
                      </c:pt>
                      <c:pt idx="5" formatCode="#,##0">
                        <c:v>11799603</c:v>
                      </c:pt>
                      <c:pt idx="6" formatCode="#,##0">
                        <c:v>13193588</c:v>
                      </c:pt>
                      <c:pt idx="7" formatCode="#,##0">
                        <c:v>13193588</c:v>
                      </c:pt>
                      <c:pt idx="8" formatCode="#,##0">
                        <c:v>16544168</c:v>
                      </c:pt>
                      <c:pt idx="9" formatCode="#,##0">
                        <c:v>18603883</c:v>
                      </c:pt>
                      <c:pt idx="10" formatCode="#,##0">
                        <c:v>191742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194-49F8-9EA9-1766DAC5DE85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6</c15:sqref>
                        </c15:formulaRef>
                      </c:ext>
                    </c:extLst>
                    <c:strCache>
                      <c:ptCount val="1"/>
                      <c:pt idx="0">
                        <c:v>Cameroon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6:$L$6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4" formatCode="#,##0">
                        <c:v>4286893</c:v>
                      </c:pt>
                      <c:pt idx="5" formatCode="#,##0">
                        <c:v>6324731</c:v>
                      </c:pt>
                      <c:pt idx="6" formatCode="#,##0">
                        <c:v>6546632</c:v>
                      </c:pt>
                      <c:pt idx="7" formatCode="#,##0">
                        <c:v>6726947</c:v>
                      </c:pt>
                      <c:pt idx="8" formatCode="#,##0">
                        <c:v>7122967</c:v>
                      </c:pt>
                      <c:pt idx="9" formatCode="#,##0">
                        <c:v>7635762</c:v>
                      </c:pt>
                      <c:pt idx="10" formatCode="#,##0">
                        <c:v>88551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B194-49F8-9EA9-1766DAC5DE85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7</c15:sqref>
                        </c15:formulaRef>
                      </c:ext>
                    </c:extLst>
                    <c:strCache>
                      <c:ptCount val="1"/>
                      <c:pt idx="0">
                        <c:v>Chad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7:$L$7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0">
                        <c:v>40000</c:v>
                      </c:pt>
                      <c:pt idx="1">
                        <c:v>1055888</c:v>
                      </c:pt>
                      <c:pt idx="2">
                        <c:v>109226</c:v>
                      </c:pt>
                      <c:pt idx="3">
                        <c:v>1850623</c:v>
                      </c:pt>
                      <c:pt idx="4">
                        <c:v>3299222</c:v>
                      </c:pt>
                      <c:pt idx="5">
                        <c:v>3658347.4581077076</c:v>
                      </c:pt>
                      <c:pt idx="6">
                        <c:v>4738823</c:v>
                      </c:pt>
                      <c:pt idx="7">
                        <c:v>5967618.0108500002</c:v>
                      </c:pt>
                      <c:pt idx="8">
                        <c:v>9039405.6227054708</c:v>
                      </c:pt>
                      <c:pt idx="9">
                        <c:v>10142392</c:v>
                      </c:pt>
                      <c:pt idx="10">
                        <c:v>1077289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194-49F8-9EA9-1766DAC5DE85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8</c15:sqref>
                        </c15:formulaRef>
                      </c:ext>
                    </c:extLst>
                    <c:strCache>
                      <c:ptCount val="1"/>
                      <c:pt idx="0">
                        <c:v>Gambia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8:$L$8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2" formatCode="#,##0">
                        <c:v>195812</c:v>
                      </c:pt>
                      <c:pt idx="3" formatCode="#,##0">
                        <c:v>305800</c:v>
                      </c:pt>
                      <c:pt idx="4" formatCode="#,##0">
                        <c:v>294839</c:v>
                      </c:pt>
                      <c:pt idx="5" formatCode="#,##0">
                        <c:v>306405</c:v>
                      </c:pt>
                      <c:pt idx="6" formatCode="#,##0">
                        <c:v>406044</c:v>
                      </c:pt>
                      <c:pt idx="7" formatCode="#,##0">
                        <c:v>443478</c:v>
                      </c:pt>
                      <c:pt idx="8" formatCode="#,##0">
                        <c:v>487334</c:v>
                      </c:pt>
                      <c:pt idx="9" formatCode="#,##0">
                        <c:v>304180</c:v>
                      </c:pt>
                      <c:pt idx="10" formatCode="#,##0">
                        <c:v>31682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B194-49F8-9EA9-1766DAC5DE85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9</c15:sqref>
                        </c15:formulaRef>
                      </c:ext>
                    </c:extLst>
                    <c:strCache>
                      <c:ptCount val="1"/>
                      <c:pt idx="0">
                        <c:v>Ghan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9:$L$9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3" formatCode="#,##0">
                        <c:v>461236</c:v>
                      </c:pt>
                      <c:pt idx="4" formatCode="#,##0">
                        <c:v>606037</c:v>
                      </c:pt>
                      <c:pt idx="5" formatCode="#,##0">
                        <c:v>1309782</c:v>
                      </c:pt>
                      <c:pt idx="6" formatCode="#,##0">
                        <c:v>1319813</c:v>
                      </c:pt>
                      <c:pt idx="7" formatCode="#,##0">
                        <c:v>3859822</c:v>
                      </c:pt>
                      <c:pt idx="8" formatCode="#,##0">
                        <c:v>4135249</c:v>
                      </c:pt>
                      <c:pt idx="9" formatCode="#,##0">
                        <c:v>4803223</c:v>
                      </c:pt>
                      <c:pt idx="10" formatCode="#,##0">
                        <c:v>553083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B194-49F8-9EA9-1766DAC5DE85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0</c15:sqref>
                        </c15:formulaRef>
                      </c:ext>
                    </c:extLst>
                    <c:strCache>
                      <c:ptCount val="1"/>
                      <c:pt idx="0">
                        <c:v>Guinea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0:$L$10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3" formatCode="#,##0">
                        <c:v>805131</c:v>
                      </c:pt>
                      <c:pt idx="4" formatCode="#,##0">
                        <c:v>1768708</c:v>
                      </c:pt>
                      <c:pt idx="5" formatCode="#,##0">
                        <c:v>2303709</c:v>
                      </c:pt>
                      <c:pt idx="6" formatCode="#,##0">
                        <c:v>3360479</c:v>
                      </c:pt>
                      <c:pt idx="7" formatCode="#,##0">
                        <c:v>3003612</c:v>
                      </c:pt>
                      <c:pt idx="8" formatCode="#,##0">
                        <c:v>4352774</c:v>
                      </c:pt>
                      <c:pt idx="9" formatCode="#,##0">
                        <c:v>4533292</c:v>
                      </c:pt>
                      <c:pt idx="10" formatCode="#,##0">
                        <c:v>47037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B194-49F8-9EA9-1766DAC5DE85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1</c15:sqref>
                        </c15:formulaRef>
                      </c:ext>
                    </c:extLst>
                    <c:strCache>
                      <c:ptCount val="1"/>
                      <c:pt idx="0">
                        <c:v>Guinea Bissau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1:$L$11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4" formatCode="#,##0">
                        <c:v>146718</c:v>
                      </c:pt>
                      <c:pt idx="5" formatCode="#,##0">
                        <c:v>664647</c:v>
                      </c:pt>
                      <c:pt idx="6" formatCode="#,##0">
                        <c:v>170284</c:v>
                      </c:pt>
                      <c:pt idx="7" formatCode="#,##0">
                        <c:v>344429</c:v>
                      </c:pt>
                      <c:pt idx="8" formatCode="#,##0">
                        <c:v>344429</c:v>
                      </c:pt>
                      <c:pt idx="9" formatCode="#,##0">
                        <c:v>433574</c:v>
                      </c:pt>
                      <c:pt idx="10" formatCode="#,##0">
                        <c:v>45303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194-49F8-9EA9-1766DAC5DE85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2</c15:sqref>
                        </c15:formulaRef>
                      </c:ext>
                    </c:extLst>
                    <c:strCache>
                      <c:ptCount val="1"/>
                      <c:pt idx="0">
                        <c:v>Mali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2:$L$12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0">
                        <c:v>640000</c:v>
                      </c:pt>
                      <c:pt idx="1">
                        <c:v>2149176</c:v>
                      </c:pt>
                      <c:pt idx="2">
                        <c:v>2098969</c:v>
                      </c:pt>
                      <c:pt idx="3">
                        <c:v>7999948</c:v>
                      </c:pt>
                      <c:pt idx="4">
                        <c:v>15398687</c:v>
                      </c:pt>
                      <c:pt idx="5">
                        <c:v>15960382</c:v>
                      </c:pt>
                      <c:pt idx="6">
                        <c:v>17113604</c:v>
                      </c:pt>
                      <c:pt idx="7">
                        <c:v>15068821</c:v>
                      </c:pt>
                      <c:pt idx="8">
                        <c:v>14956952</c:v>
                      </c:pt>
                      <c:pt idx="9">
                        <c:v>12906775</c:v>
                      </c:pt>
                      <c:pt idx="10">
                        <c:v>150168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B194-49F8-9EA9-1766DAC5DE85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3</c15:sqref>
                        </c15:formulaRef>
                      </c:ext>
                    </c:extLst>
                    <c:strCache>
                      <c:ptCount val="1"/>
                      <c:pt idx="0">
                        <c:v>Mozambique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3:$L$13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9" formatCode="#,##0">
                        <c:v>477016</c:v>
                      </c:pt>
                      <c:pt idx="10" formatCode="#,##0">
                        <c:v>47701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B194-49F8-9EA9-1766DAC5DE85}"/>
                  </c:ext>
                </c:extLst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4</c15:sqref>
                        </c15:formulaRef>
                      </c:ext>
                    </c:extLst>
                    <c:strCache>
                      <c:ptCount val="1"/>
                      <c:pt idx="0">
                        <c:v>Niger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4:$L$14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1">
                        <c:v>903880</c:v>
                      </c:pt>
                      <c:pt idx="2">
                        <c:v>2072438</c:v>
                      </c:pt>
                      <c:pt idx="3">
                        <c:v>2484692.0337</c:v>
                      </c:pt>
                      <c:pt idx="4">
                        <c:v>7977379</c:v>
                      </c:pt>
                      <c:pt idx="5">
                        <c:v>10183541</c:v>
                      </c:pt>
                      <c:pt idx="6">
                        <c:v>15243535</c:v>
                      </c:pt>
                      <c:pt idx="7">
                        <c:v>16604412</c:v>
                      </c:pt>
                      <c:pt idx="8">
                        <c:v>18066916</c:v>
                      </c:pt>
                      <c:pt idx="9">
                        <c:v>17830299</c:v>
                      </c:pt>
                      <c:pt idx="10">
                        <c:v>19099419.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B194-49F8-9EA9-1766DAC5DE85}"/>
                  </c:ext>
                </c:extLst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5</c15:sqref>
                        </c15:formulaRef>
                      </c:ext>
                    </c:extLst>
                    <c:strCache>
                      <c:ptCount val="1"/>
                      <c:pt idx="0">
                        <c:v>Niger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5:$L$15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1">
                        <c:v>837804</c:v>
                      </c:pt>
                      <c:pt idx="2">
                        <c:v>1481118</c:v>
                      </c:pt>
                      <c:pt idx="3">
                        <c:v>3149597</c:v>
                      </c:pt>
                      <c:pt idx="4">
                        <c:v>6316916</c:v>
                      </c:pt>
                      <c:pt idx="5">
                        <c:v>9298163</c:v>
                      </c:pt>
                      <c:pt idx="6">
                        <c:v>13842931</c:v>
                      </c:pt>
                      <c:pt idx="7">
                        <c:v>16440609</c:v>
                      </c:pt>
                      <c:pt idx="8">
                        <c:v>52944556</c:v>
                      </c:pt>
                      <c:pt idx="9">
                        <c:v>96002997</c:v>
                      </c:pt>
                      <c:pt idx="10">
                        <c:v>10741491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B194-49F8-9EA9-1766DAC5DE85}"/>
                  </c:ext>
                </c:extLst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6</c15:sqref>
                        </c15:formulaRef>
                      </c:ext>
                    </c:extLst>
                    <c:strCache>
                      <c:ptCount val="1"/>
                      <c:pt idx="0">
                        <c:v>Senegal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6:$L$16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1">
                        <c:v>222836</c:v>
                      </c:pt>
                      <c:pt idx="2">
                        <c:v>1787236</c:v>
                      </c:pt>
                      <c:pt idx="3">
                        <c:v>1887211</c:v>
                      </c:pt>
                      <c:pt idx="4">
                        <c:v>1910656</c:v>
                      </c:pt>
                      <c:pt idx="5">
                        <c:v>1942868</c:v>
                      </c:pt>
                      <c:pt idx="7">
                        <c:v>2684527</c:v>
                      </c:pt>
                      <c:pt idx="8">
                        <c:v>2107303</c:v>
                      </c:pt>
                      <c:pt idx="9">
                        <c:v>2290288</c:v>
                      </c:pt>
                      <c:pt idx="10">
                        <c:v>246749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B194-49F8-9EA9-1766DAC5DE85}"/>
                  </c:ext>
                </c:extLst>
              </c15:ser>
            </c15:filteredLineSeries>
            <c15:filteredLine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7</c15:sqref>
                        </c15:formulaRef>
                      </c:ext>
                    </c:extLst>
                    <c:strCache>
                      <c:ptCount val="1"/>
                      <c:pt idx="0">
                        <c:v>Togo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7:$L$17</c15:sqref>
                        </c15:formulaRef>
                      </c:ext>
                    </c:extLst>
                    <c:numCache>
                      <c:formatCode>#,##0</c:formatCode>
                      <c:ptCount val="11"/>
                      <c:pt idx="1">
                        <c:v>476888</c:v>
                      </c:pt>
                      <c:pt idx="2">
                        <c:v>510494</c:v>
                      </c:pt>
                      <c:pt idx="4">
                        <c:v>1235433</c:v>
                      </c:pt>
                      <c:pt idx="5">
                        <c:v>1529275</c:v>
                      </c:pt>
                      <c:pt idx="6">
                        <c:v>1302483</c:v>
                      </c:pt>
                      <c:pt idx="7">
                        <c:v>1185327</c:v>
                      </c:pt>
                      <c:pt idx="8">
                        <c:v>1946863</c:v>
                      </c:pt>
                      <c:pt idx="9">
                        <c:v>1903986</c:v>
                      </c:pt>
                      <c:pt idx="10">
                        <c:v>207656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194-49F8-9EA9-1766DAC5DE85}"/>
                  </c:ext>
                </c:extLst>
              </c15:ser>
            </c15:filteredLineSeries>
            <c15:filteredLine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A$18</c15:sqref>
                        </c15:formulaRef>
                      </c:ext>
                    </c:extLst>
                    <c:strCache>
                      <c:ptCount val="1"/>
                      <c:pt idx="0">
                        <c:v>Uganda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3:$L$3</c15:sqref>
                        </c15:formulaRef>
                      </c:ext>
                    </c:extLst>
                    <c:strCache>
                      <c:ptCount val="11"/>
                      <c:pt idx="0">
                        <c:v>2012*</c:v>
                      </c:pt>
                      <c:pt idx="1">
                        <c:v>2013*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Total Tx delivered'!$B$18:$L$18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9" formatCode="#,##0">
                        <c:v>409495</c:v>
                      </c:pt>
                      <c:pt idx="10" formatCode="#,##0">
                        <c:v>40949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B194-49F8-9EA9-1766DAC5DE85}"/>
                  </c:ext>
                </c:extLst>
              </c15:ser>
            </c15:filteredLineSeries>
          </c:ext>
        </c:extLst>
      </c:lineChart>
      <c:catAx>
        <c:axId val="1536778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36775248"/>
        <c:crosses val="autoZero"/>
        <c:auto val="1"/>
        <c:lblAlgn val="ctr"/>
        <c:lblOffset val="100"/>
        <c:noMultiLvlLbl val="0"/>
      </c:catAx>
      <c:valAx>
        <c:axId val="1536775248"/>
        <c:scaling>
          <c:orientation val="minMax"/>
          <c:max val="20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536778160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Average number of children covered by</a:t>
            </a:r>
            <a:r>
              <a:rPr lang="fr-CH" baseline="0"/>
              <a:t> SMC</a:t>
            </a:r>
            <a:endParaRPr lang="fr-CH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areaChart>
        <c:grouping val="stacked"/>
        <c:varyColors val="0"/>
        <c:ser>
          <c:idx val="1"/>
          <c:order val="0"/>
          <c:tx>
            <c:strRef>
              <c:f>'Average # children'!$A$4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4:$L$4</c:f>
              <c:numCache>
                <c:formatCode>#,##0</c:formatCode>
                <c:ptCount val="11"/>
                <c:pt idx="0">
                  <c:v>0</c:v>
                </c:pt>
                <c:pt idx="1">
                  <c:v>209451</c:v>
                </c:pt>
                <c:pt idx="2">
                  <c:v>370279</c:v>
                </c:pt>
                <c:pt idx="3">
                  <c:v>787399.25</c:v>
                </c:pt>
                <c:pt idx="4">
                  <c:v>1696769.75</c:v>
                </c:pt>
                <c:pt idx="5">
                  <c:v>4122999.166666667</c:v>
                </c:pt>
                <c:pt idx="6">
                  <c:v>3508924.2500000005</c:v>
                </c:pt>
                <c:pt idx="7">
                  <c:v>4110152.25</c:v>
                </c:pt>
                <c:pt idx="8">
                  <c:v>13236139</c:v>
                </c:pt>
                <c:pt idx="9">
                  <c:v>23922101.06666667</c:v>
                </c:pt>
                <c:pt idx="10">
                  <c:v>25541632.83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F6-4CEA-BD6A-9F333F155820}"/>
            </c:ext>
          </c:extLst>
        </c:ser>
        <c:ser>
          <c:idx val="2"/>
          <c:order val="1"/>
          <c:tx>
            <c:strRef>
              <c:f>'Average # children'!$A$5</c:f>
              <c:strCache>
                <c:ptCount val="1"/>
                <c:pt idx="0">
                  <c:v>Niger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5:$L$5</c:f>
              <c:numCache>
                <c:formatCode>#,##0</c:formatCode>
                <c:ptCount val="11"/>
                <c:pt idx="0">
                  <c:v>0</c:v>
                </c:pt>
                <c:pt idx="1">
                  <c:v>225970</c:v>
                </c:pt>
                <c:pt idx="2">
                  <c:v>528681</c:v>
                </c:pt>
                <c:pt idx="3">
                  <c:v>621173.00842499989</c:v>
                </c:pt>
                <c:pt idx="4">
                  <c:v>2361923.5833333335</c:v>
                </c:pt>
                <c:pt idx="5">
                  <c:v>2545885.25</c:v>
                </c:pt>
                <c:pt idx="6">
                  <c:v>3952400.416666667</c:v>
                </c:pt>
                <c:pt idx="7">
                  <c:v>4151103</c:v>
                </c:pt>
                <c:pt idx="8">
                  <c:v>4516729</c:v>
                </c:pt>
                <c:pt idx="9">
                  <c:v>4457574.75</c:v>
                </c:pt>
                <c:pt idx="10">
                  <c:v>4686791.65833333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F6-4CEA-BD6A-9F333F155820}"/>
            </c:ext>
          </c:extLst>
        </c:ser>
        <c:ser>
          <c:idx val="3"/>
          <c:order val="2"/>
          <c:tx>
            <c:strRef>
              <c:f>'Average # children'!$A$6</c:f>
              <c:strCache>
                <c:ptCount val="1"/>
                <c:pt idx="0">
                  <c:v>Burkina Faso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6:$L$6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307770</c:v>
                </c:pt>
                <c:pt idx="3">
                  <c:v>954046.75</c:v>
                </c:pt>
                <c:pt idx="4">
                  <c:v>2647712.75</c:v>
                </c:pt>
                <c:pt idx="5">
                  <c:v>2970117</c:v>
                </c:pt>
                <c:pt idx="6">
                  <c:v>3298397</c:v>
                </c:pt>
                <c:pt idx="7">
                  <c:v>3298397</c:v>
                </c:pt>
                <c:pt idx="8">
                  <c:v>4136042</c:v>
                </c:pt>
                <c:pt idx="9">
                  <c:v>4409618.8999999994</c:v>
                </c:pt>
                <c:pt idx="10">
                  <c:v>4542229.5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F6-4CEA-BD6A-9F333F155820}"/>
            </c:ext>
          </c:extLst>
        </c:ser>
        <c:ser>
          <c:idx val="4"/>
          <c:order val="3"/>
          <c:tx>
            <c:strRef>
              <c:f>'Average # children'!$A$7</c:f>
              <c:strCache>
                <c:ptCount val="1"/>
                <c:pt idx="0">
                  <c:v>Mali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7:$L$7</c:f>
              <c:numCache>
                <c:formatCode>#,##0</c:formatCode>
                <c:ptCount val="11"/>
                <c:pt idx="0">
                  <c:v>160000</c:v>
                </c:pt>
                <c:pt idx="1">
                  <c:v>537294</c:v>
                </c:pt>
                <c:pt idx="2">
                  <c:v>524742</c:v>
                </c:pt>
                <c:pt idx="3">
                  <c:v>1999987</c:v>
                </c:pt>
                <c:pt idx="4">
                  <c:v>3980684</c:v>
                </c:pt>
                <c:pt idx="5">
                  <c:v>3990095.5</c:v>
                </c:pt>
                <c:pt idx="6">
                  <c:v>4299241.75</c:v>
                </c:pt>
                <c:pt idx="7">
                  <c:v>3767819.75</c:v>
                </c:pt>
                <c:pt idx="8">
                  <c:v>3767099</c:v>
                </c:pt>
                <c:pt idx="9">
                  <c:v>3357846.333333333</c:v>
                </c:pt>
                <c:pt idx="10">
                  <c:v>3838060.24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F6-4CEA-BD6A-9F333F155820}"/>
            </c:ext>
          </c:extLst>
        </c:ser>
        <c:ser>
          <c:idx val="5"/>
          <c:order val="4"/>
          <c:tx>
            <c:strRef>
              <c:f>'Average # children'!$A$8</c:f>
              <c:strCache>
                <c:ptCount val="1"/>
                <c:pt idx="0">
                  <c:v>Chad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8:$L$8</c:f>
              <c:numCache>
                <c:formatCode>#,##0</c:formatCode>
                <c:ptCount val="11"/>
                <c:pt idx="0">
                  <c:v>10000</c:v>
                </c:pt>
                <c:pt idx="1">
                  <c:v>263972</c:v>
                </c:pt>
                <c:pt idx="2">
                  <c:v>27306</c:v>
                </c:pt>
                <c:pt idx="3">
                  <c:v>500153.41666666669</c:v>
                </c:pt>
                <c:pt idx="4">
                  <c:v>824805.5</c:v>
                </c:pt>
                <c:pt idx="5">
                  <c:v>998595.36452692701</c:v>
                </c:pt>
                <c:pt idx="6">
                  <c:v>1184705.75</c:v>
                </c:pt>
                <c:pt idx="7">
                  <c:v>1638157.5036166662</c:v>
                </c:pt>
                <c:pt idx="8">
                  <c:v>2259851.4056763677</c:v>
                </c:pt>
                <c:pt idx="9">
                  <c:v>2512919.5</c:v>
                </c:pt>
                <c:pt idx="10">
                  <c:v>2664661.7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4F6-4CEA-BD6A-9F333F155820}"/>
            </c:ext>
          </c:extLst>
        </c:ser>
        <c:ser>
          <c:idx val="6"/>
          <c:order val="5"/>
          <c:tx>
            <c:strRef>
              <c:f>'Average # children'!$A$9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9:$L$9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071723.25</c:v>
                </c:pt>
                <c:pt idx="5">
                  <c:v>1581182.75</c:v>
                </c:pt>
                <c:pt idx="6">
                  <c:v>1636658</c:v>
                </c:pt>
                <c:pt idx="7">
                  <c:v>1681736.75</c:v>
                </c:pt>
                <c:pt idx="8">
                  <c:v>1780741.75</c:v>
                </c:pt>
                <c:pt idx="9">
                  <c:v>1908940.5</c:v>
                </c:pt>
                <c:pt idx="10">
                  <c:v>203700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F6-4CEA-BD6A-9F333F155820}"/>
            </c:ext>
          </c:extLst>
        </c:ser>
        <c:ser>
          <c:idx val="7"/>
          <c:order val="6"/>
          <c:tx>
            <c:strRef>
              <c:f>'Average # children'!$A$10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0:$L$10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15309</c:v>
                </c:pt>
                <c:pt idx="4">
                  <c:v>151509.25</c:v>
                </c:pt>
                <c:pt idx="5">
                  <c:v>327445.5</c:v>
                </c:pt>
                <c:pt idx="6">
                  <c:v>329953.25</c:v>
                </c:pt>
                <c:pt idx="7">
                  <c:v>964955.5</c:v>
                </c:pt>
                <c:pt idx="8">
                  <c:v>1033812.25</c:v>
                </c:pt>
                <c:pt idx="9">
                  <c:v>1322251.166666666</c:v>
                </c:pt>
                <c:pt idx="10">
                  <c:v>138270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4F6-4CEA-BD6A-9F333F155820}"/>
            </c:ext>
          </c:extLst>
        </c:ser>
        <c:ser>
          <c:idx val="8"/>
          <c:order val="7"/>
          <c:tx>
            <c:strRef>
              <c:f>'Average # children'!$A$11</c:f>
              <c:strCache>
                <c:ptCount val="1"/>
                <c:pt idx="0">
                  <c:v>Guine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1:$L$11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01282.75</c:v>
                </c:pt>
                <c:pt idx="4">
                  <c:v>442177</c:v>
                </c:pt>
                <c:pt idx="5">
                  <c:v>575927.25</c:v>
                </c:pt>
                <c:pt idx="6">
                  <c:v>840119.75</c:v>
                </c:pt>
                <c:pt idx="7">
                  <c:v>841090.33333333337</c:v>
                </c:pt>
                <c:pt idx="8">
                  <c:v>1088193.5</c:v>
                </c:pt>
                <c:pt idx="9">
                  <c:v>1122434.1000000001</c:v>
                </c:pt>
                <c:pt idx="10">
                  <c:v>1163811.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4F6-4CEA-BD6A-9F333F155820}"/>
            </c:ext>
          </c:extLst>
        </c:ser>
        <c:ser>
          <c:idx val="9"/>
          <c:order val="8"/>
          <c:tx>
            <c:strRef>
              <c:f>'Average # children'!$A$12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2:$L$12</c:f>
              <c:numCache>
                <c:formatCode>#,##0</c:formatCode>
                <c:ptCount val="11"/>
                <c:pt idx="0">
                  <c:v>0</c:v>
                </c:pt>
                <c:pt idx="1">
                  <c:v>55709</c:v>
                </c:pt>
                <c:pt idx="2">
                  <c:v>595745</c:v>
                </c:pt>
                <c:pt idx="3">
                  <c:v>614580.66666666674</c:v>
                </c:pt>
                <c:pt idx="4">
                  <c:v>621502.5</c:v>
                </c:pt>
                <c:pt idx="5">
                  <c:v>631896.58333333337</c:v>
                </c:pt>
                <c:pt idx="6">
                  <c:v>0</c:v>
                </c:pt>
                <c:pt idx="7">
                  <c:v>879651.83333333337</c:v>
                </c:pt>
                <c:pt idx="8">
                  <c:v>687958.83333333337</c:v>
                </c:pt>
                <c:pt idx="9">
                  <c:v>748116.08333333337</c:v>
                </c:pt>
                <c:pt idx="10">
                  <c:v>801729.08333333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4F6-4CEA-BD6A-9F333F155820}"/>
            </c:ext>
          </c:extLst>
        </c:ser>
        <c:ser>
          <c:idx val="10"/>
          <c:order val="9"/>
          <c:tx>
            <c:strRef>
              <c:f>'Average # children'!$A$13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3:$L$13</c:f>
              <c:numCache>
                <c:formatCode>#,##0</c:formatCode>
                <c:ptCount val="11"/>
                <c:pt idx="0">
                  <c:v>0</c:v>
                </c:pt>
                <c:pt idx="1">
                  <c:v>119222</c:v>
                </c:pt>
                <c:pt idx="2">
                  <c:v>170165</c:v>
                </c:pt>
                <c:pt idx="3">
                  <c:v>0</c:v>
                </c:pt>
                <c:pt idx="4">
                  <c:v>411811</c:v>
                </c:pt>
                <c:pt idx="5">
                  <c:v>420451.16666666663</c:v>
                </c:pt>
                <c:pt idx="6">
                  <c:v>434161</c:v>
                </c:pt>
                <c:pt idx="7">
                  <c:v>453906.99999999994</c:v>
                </c:pt>
                <c:pt idx="8">
                  <c:v>486715.75</c:v>
                </c:pt>
                <c:pt idx="9">
                  <c:v>475996.5</c:v>
                </c:pt>
                <c:pt idx="10">
                  <c:v>51914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4F6-4CEA-BD6A-9F333F155820}"/>
            </c:ext>
          </c:extLst>
        </c:ser>
        <c:ser>
          <c:idx val="11"/>
          <c:order val="10"/>
          <c:tx>
            <c:strRef>
              <c:f>'Average # children'!$A$14</c:f>
              <c:strCache>
                <c:ptCount val="1"/>
                <c:pt idx="0">
                  <c:v>Benin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4:$L$14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14165.25</c:v>
                </c:pt>
                <c:pt idx="8">
                  <c:v>236638.75</c:v>
                </c:pt>
                <c:pt idx="9">
                  <c:v>374560</c:v>
                </c:pt>
                <c:pt idx="10">
                  <c:v>414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4F6-4CEA-BD6A-9F333F155820}"/>
            </c:ext>
          </c:extLst>
        </c:ser>
        <c:ser>
          <c:idx val="12"/>
          <c:order val="11"/>
          <c:tx>
            <c:strRef>
              <c:f>'Average # children'!$A$15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5:$L$15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19254</c:v>
                </c:pt>
                <c:pt idx="10">
                  <c:v>119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4F6-4CEA-BD6A-9F333F155820}"/>
            </c:ext>
          </c:extLst>
        </c:ser>
        <c:ser>
          <c:idx val="13"/>
          <c:order val="12"/>
          <c:tx>
            <c:strRef>
              <c:f>'Average # children'!$A$16</c:f>
              <c:strCache>
                <c:ptCount val="1"/>
                <c:pt idx="0">
                  <c:v>Guinea Bissau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6:$L$16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2096.5</c:v>
                </c:pt>
                <c:pt idx="5">
                  <c:v>166161.75</c:v>
                </c:pt>
                <c:pt idx="6">
                  <c:v>42571</c:v>
                </c:pt>
                <c:pt idx="7">
                  <c:v>86107.25</c:v>
                </c:pt>
                <c:pt idx="8">
                  <c:v>86107.25</c:v>
                </c:pt>
                <c:pt idx="9">
                  <c:v>108393.5</c:v>
                </c:pt>
                <c:pt idx="10">
                  <c:v>11325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4F6-4CEA-BD6A-9F333F155820}"/>
            </c:ext>
          </c:extLst>
        </c:ser>
        <c:ser>
          <c:idx val="14"/>
          <c:order val="13"/>
          <c:tx>
            <c:strRef>
              <c:f>'Average # children'!$A$17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7:$L$17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81899</c:v>
                </c:pt>
                <c:pt idx="10">
                  <c:v>81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4F6-4CEA-BD6A-9F333F155820}"/>
            </c:ext>
          </c:extLst>
        </c:ser>
        <c:ser>
          <c:idx val="15"/>
          <c:order val="14"/>
          <c:tx>
            <c:strRef>
              <c:f>'Average # children'!$A$18</c:f>
              <c:strCache>
                <c:ptCount val="1"/>
                <c:pt idx="0">
                  <c:v>Gambia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 w="25400">
              <a:noFill/>
            </a:ln>
            <a:effectLst/>
          </c:spPr>
          <c:cat>
            <c:strRef>
              <c:f>'Average # children'!$B$3:$L$3</c:f>
              <c:strCache>
                <c:ptCount val="11"/>
                <c:pt idx="0">
                  <c:v>2012*</c:v>
                </c:pt>
                <c:pt idx="1">
                  <c:v>2013*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strCache>
            </c:strRef>
          </c:cat>
          <c:val>
            <c:numRef>
              <c:f>'Average # children'!$B$18:$L$18</c:f>
              <c:numCache>
                <c:formatCode>#,##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65271</c:v>
                </c:pt>
                <c:pt idx="3">
                  <c:v>76450</c:v>
                </c:pt>
                <c:pt idx="4">
                  <c:v>73709.75</c:v>
                </c:pt>
                <c:pt idx="5">
                  <c:v>76601.25</c:v>
                </c:pt>
                <c:pt idx="6">
                  <c:v>112841.16666666667</c:v>
                </c:pt>
                <c:pt idx="7">
                  <c:v>110869.5</c:v>
                </c:pt>
                <c:pt idx="8">
                  <c:v>121833.5</c:v>
                </c:pt>
                <c:pt idx="9">
                  <c:v>76045</c:v>
                </c:pt>
                <c:pt idx="10">
                  <c:v>79205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4F6-4CEA-BD6A-9F333F1558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2047775"/>
        <c:axId val="562054847"/>
      </c:areaChart>
      <c:catAx>
        <c:axId val="56204777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62054847"/>
        <c:crosses val="autoZero"/>
        <c:auto val="1"/>
        <c:lblAlgn val="ctr"/>
        <c:lblOffset val="100"/>
        <c:noMultiLvlLbl val="0"/>
      </c:catAx>
      <c:valAx>
        <c:axId val="562054847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62047775"/>
        <c:crosses val="autoZero"/>
        <c:crossBetween val="midCat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% coverage 2022 campaig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or annual meeting'!$F$2</c:f>
              <c:strCache>
                <c:ptCount val="1"/>
                <c:pt idx="0">
                  <c:v>% co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For annual meeting'!$E$3:$E$15</c:f>
              <c:strCache>
                <c:ptCount val="13"/>
                <c:pt idx="0">
                  <c:v>Gambia</c:v>
                </c:pt>
                <c:pt idx="1">
                  <c:v>Guinea Bissau</c:v>
                </c:pt>
                <c:pt idx="2">
                  <c:v>Cameroon</c:v>
                </c:pt>
                <c:pt idx="3">
                  <c:v>Burkina Faso</c:v>
                </c:pt>
                <c:pt idx="4">
                  <c:v>Guinea</c:v>
                </c:pt>
                <c:pt idx="5">
                  <c:v>Chad</c:v>
                </c:pt>
                <c:pt idx="6">
                  <c:v>Nigeria</c:v>
                </c:pt>
                <c:pt idx="7">
                  <c:v>Niger</c:v>
                </c:pt>
                <c:pt idx="8">
                  <c:v>Ghana</c:v>
                </c:pt>
                <c:pt idx="9">
                  <c:v>Benin</c:v>
                </c:pt>
                <c:pt idx="10">
                  <c:v>Togo</c:v>
                </c:pt>
                <c:pt idx="11">
                  <c:v>Mali</c:v>
                </c:pt>
                <c:pt idx="12">
                  <c:v>Senegal</c:v>
                </c:pt>
              </c:strCache>
            </c:strRef>
          </c:cat>
          <c:val>
            <c:numRef>
              <c:f>'For annual meeting'!$F$3:$F$15</c:f>
              <c:numCache>
                <c:formatCode>0%</c:formatCode>
                <c:ptCount val="13"/>
                <c:pt idx="0">
                  <c:v>1.2096041613403152</c:v>
                </c:pt>
                <c:pt idx="1">
                  <c:v>1.1761982042811965</c:v>
                </c:pt>
                <c:pt idx="2">
                  <c:v>1.0509910902170416</c:v>
                </c:pt>
                <c:pt idx="3">
                  <c:v>1.0299459672162756</c:v>
                </c:pt>
                <c:pt idx="4">
                  <c:v>1.0279633002031243</c:v>
                </c:pt>
                <c:pt idx="5">
                  <c:v>1.0260879385873694</c:v>
                </c:pt>
                <c:pt idx="6">
                  <c:v>1.0113510043121035</c:v>
                </c:pt>
                <c:pt idx="7">
                  <c:v>1.0007924579800183</c:v>
                </c:pt>
                <c:pt idx="8">
                  <c:v>0.99692089050180366</c:v>
                </c:pt>
                <c:pt idx="9">
                  <c:v>0.99159425459656836</c:v>
                </c:pt>
                <c:pt idx="10">
                  <c:v>0.96870928360605491</c:v>
                </c:pt>
                <c:pt idx="11">
                  <c:v>0.95238681018889337</c:v>
                </c:pt>
                <c:pt idx="12">
                  <c:v>0.92166348737253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65-48AC-A0B1-25E64A0D6F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7475296"/>
        <c:axId val="1657471136"/>
      </c:barChart>
      <c:catAx>
        <c:axId val="165747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7471136"/>
        <c:crosses val="autoZero"/>
        <c:auto val="1"/>
        <c:lblAlgn val="ctr"/>
        <c:lblOffset val="100"/>
        <c:noMultiLvlLbl val="0"/>
      </c:catAx>
      <c:valAx>
        <c:axId val="1657471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57475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2022 SMC campaig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or annual meeting'!$B$2</c:f>
              <c:strCache>
                <c:ptCount val="1"/>
                <c:pt idx="0">
                  <c:v>Achiev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For annual meeting'!$A$3:$A$15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Mali</c:v>
                </c:pt>
                <c:pt idx="4">
                  <c:v>Chad</c:v>
                </c:pt>
                <c:pt idx="5">
                  <c:v>Cameroon</c:v>
                </c:pt>
                <c:pt idx="6">
                  <c:v>Ghana</c:v>
                </c:pt>
                <c:pt idx="7">
                  <c:v>Guinea</c:v>
                </c:pt>
                <c:pt idx="8">
                  <c:v>Senegal</c:v>
                </c:pt>
                <c:pt idx="9">
                  <c:v>Togo</c:v>
                </c:pt>
                <c:pt idx="10">
                  <c:v>Benin</c:v>
                </c:pt>
                <c:pt idx="11">
                  <c:v>Guinea Bissau</c:v>
                </c:pt>
                <c:pt idx="12">
                  <c:v>Gambia</c:v>
                </c:pt>
              </c:strCache>
            </c:strRef>
          </c:cat>
          <c:val>
            <c:numRef>
              <c:f>'For annual meeting'!$B$3:$B$15</c:f>
              <c:numCache>
                <c:formatCode>General</c:formatCode>
                <c:ptCount val="13"/>
                <c:pt idx="0">
                  <c:v>107414919</c:v>
                </c:pt>
                <c:pt idx="1">
                  <c:v>19099419.5</c:v>
                </c:pt>
                <c:pt idx="2">
                  <c:v>19174212</c:v>
                </c:pt>
                <c:pt idx="3">
                  <c:v>15016899</c:v>
                </c:pt>
                <c:pt idx="4">
                  <c:v>10772891</c:v>
                </c:pt>
                <c:pt idx="5">
                  <c:v>8855199</c:v>
                </c:pt>
                <c:pt idx="6">
                  <c:v>5530837</c:v>
                </c:pt>
                <c:pt idx="7">
                  <c:v>4703712</c:v>
                </c:pt>
                <c:pt idx="8">
                  <c:v>2467495</c:v>
                </c:pt>
                <c:pt idx="9">
                  <c:v>2076563</c:v>
                </c:pt>
                <c:pt idx="10">
                  <c:v>1658092</c:v>
                </c:pt>
                <c:pt idx="11">
                  <c:v>453030</c:v>
                </c:pt>
                <c:pt idx="12">
                  <c:v>31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39-4FB1-822C-97FCFE651268}"/>
            </c:ext>
          </c:extLst>
        </c:ser>
        <c:ser>
          <c:idx val="1"/>
          <c:order val="1"/>
          <c:tx>
            <c:strRef>
              <c:f>'For annual meeting'!$C$2</c:f>
              <c:strCache>
                <c:ptCount val="1"/>
                <c:pt idx="0">
                  <c:v>Targe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For annual meeting'!$A$3:$A$15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Mali</c:v>
                </c:pt>
                <c:pt idx="4">
                  <c:v>Chad</c:v>
                </c:pt>
                <c:pt idx="5">
                  <c:v>Cameroon</c:v>
                </c:pt>
                <c:pt idx="6">
                  <c:v>Ghana</c:v>
                </c:pt>
                <c:pt idx="7">
                  <c:v>Guinea</c:v>
                </c:pt>
                <c:pt idx="8">
                  <c:v>Senegal</c:v>
                </c:pt>
                <c:pt idx="9">
                  <c:v>Togo</c:v>
                </c:pt>
                <c:pt idx="10">
                  <c:v>Benin</c:v>
                </c:pt>
                <c:pt idx="11">
                  <c:v>Guinea Bissau</c:v>
                </c:pt>
                <c:pt idx="12">
                  <c:v>Gambia</c:v>
                </c:pt>
              </c:strCache>
            </c:strRef>
          </c:cat>
          <c:val>
            <c:numRef>
              <c:f>'For annual meeting'!$C$3:$C$15</c:f>
              <c:numCache>
                <c:formatCode>General</c:formatCode>
                <c:ptCount val="13"/>
                <c:pt idx="0">
                  <c:v>106209336.36493596</c:v>
                </c:pt>
                <c:pt idx="1">
                  <c:v>19084295.997343875</c:v>
                </c:pt>
                <c:pt idx="2">
                  <c:v>18616716.420400001</c:v>
                </c:pt>
                <c:pt idx="3">
                  <c:v>15767646.96796</c:v>
                </c:pt>
                <c:pt idx="4">
                  <c:v>10498993.89211338</c:v>
                </c:pt>
                <c:pt idx="5">
                  <c:v>8425570</c:v>
                </c:pt>
                <c:pt idx="6">
                  <c:v>5547919.6520959986</c:v>
                </c:pt>
                <c:pt idx="7">
                  <c:v>4575758.6862007156</c:v>
                </c:pt>
                <c:pt idx="8">
                  <c:v>2677219</c:v>
                </c:pt>
                <c:pt idx="9">
                  <c:v>2143639</c:v>
                </c:pt>
                <c:pt idx="10">
                  <c:v>1672147.6474009999</c:v>
                </c:pt>
                <c:pt idx="11">
                  <c:v>385164.67577576154</c:v>
                </c:pt>
                <c:pt idx="12">
                  <c:v>383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39-4FB1-822C-97FCFE6512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61880576"/>
        <c:axId val="1661884320"/>
      </c:barChart>
      <c:catAx>
        <c:axId val="166188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61884320"/>
        <c:crosses val="autoZero"/>
        <c:auto val="1"/>
        <c:lblAlgn val="ctr"/>
        <c:lblOffset val="100"/>
        <c:noMultiLvlLbl val="0"/>
      </c:catAx>
      <c:valAx>
        <c:axId val="1661884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/>
                  <a:t>Total number of treatm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6188057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tal</a:t>
            </a:r>
            <a:r>
              <a:rPr lang="en-US" baseline="0" dirty="0"/>
              <a:t> number of districts achieving SMC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16"/>
          <c:order val="16"/>
          <c:tx>
            <c:strRef>
              <c:f>'For annual meeting'!$A$21</c:f>
              <c:strCache>
                <c:ptCount val="1"/>
                <c:pt idx="0">
                  <c:v>Grand Total</c:v>
                </c:pt>
              </c:strCache>
            </c:strRef>
          </c:tx>
          <c:spPr>
            <a:ln w="28575" cap="rnd">
              <a:solidFill>
                <a:schemeClr val="accent1">
                  <a:shade val="37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For annual meeting'!$B$5:$J$5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21:$J$21</c:f>
              <c:numCache>
                <c:formatCode>General</c:formatCode>
                <c:ptCount val="9"/>
                <c:pt idx="0">
                  <c:v>245</c:v>
                </c:pt>
                <c:pt idx="1">
                  <c:v>314</c:v>
                </c:pt>
                <c:pt idx="2">
                  <c:v>1192</c:v>
                </c:pt>
                <c:pt idx="3">
                  <c:v>983</c:v>
                </c:pt>
                <c:pt idx="4">
                  <c:v>1673</c:v>
                </c:pt>
                <c:pt idx="5">
                  <c:v>1343</c:v>
                </c:pt>
                <c:pt idx="6">
                  <c:v>2665</c:v>
                </c:pt>
                <c:pt idx="7">
                  <c:v>3282</c:v>
                </c:pt>
                <c:pt idx="8">
                  <c:v>35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D5-494A-90F7-33F4E3B431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06306240"/>
        <c:axId val="180631955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For annual meeting'!$A$5</c15:sqref>
                        </c15:formulaRef>
                      </c:ext>
                    </c:extLst>
                    <c:strCache>
                      <c:ptCount val="1"/>
                      <c:pt idx="0">
                        <c:v>Country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38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06D5-494A-90F7-33F4E3B431A3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6</c15:sqref>
                        </c15:formulaRef>
                      </c:ext>
                    </c:extLst>
                    <c:strCache>
                      <c:ptCount val="1"/>
                      <c:pt idx="0">
                        <c:v>Benin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46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6:$J$6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5">
                        <c:v>8</c:v>
                      </c:pt>
                      <c:pt idx="6">
                        <c:v>14</c:v>
                      </c:pt>
                      <c:pt idx="7">
                        <c:v>24</c:v>
                      </c:pt>
                      <c:pt idx="8">
                        <c:v>2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06D5-494A-90F7-33F4E3B431A3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7</c15:sqref>
                        </c15:formulaRef>
                      </c:ext>
                    </c:extLst>
                    <c:strCache>
                      <c:ptCount val="1"/>
                      <c:pt idx="0">
                        <c:v>Burkina Faso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54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7:$J$7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4</c:v>
                      </c:pt>
                      <c:pt idx="1">
                        <c:v>68</c:v>
                      </c:pt>
                      <c:pt idx="2">
                        <c:v>216</c:v>
                      </c:pt>
                      <c:pt idx="3">
                        <c:v>234</c:v>
                      </c:pt>
                      <c:pt idx="4">
                        <c:v>260</c:v>
                      </c:pt>
                      <c:pt idx="5">
                        <c:v>4</c:v>
                      </c:pt>
                      <c:pt idx="6">
                        <c:v>280</c:v>
                      </c:pt>
                      <c:pt idx="7">
                        <c:v>299</c:v>
                      </c:pt>
                      <c:pt idx="8">
                        <c:v>29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6D5-494A-90F7-33F4E3B431A3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8</c15:sqref>
                        </c15:formulaRef>
                      </c:ext>
                    </c:extLst>
                    <c:strCache>
                      <c:ptCount val="1"/>
                      <c:pt idx="0">
                        <c:v>Cameroon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62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8:$J$8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2">
                        <c:v>180</c:v>
                      </c:pt>
                      <c:pt idx="3">
                        <c:v>180</c:v>
                      </c:pt>
                      <c:pt idx="4">
                        <c:v>180</c:v>
                      </c:pt>
                      <c:pt idx="5">
                        <c:v>180</c:v>
                      </c:pt>
                      <c:pt idx="6">
                        <c:v>180</c:v>
                      </c:pt>
                      <c:pt idx="7">
                        <c:v>184</c:v>
                      </c:pt>
                      <c:pt idx="8">
                        <c:v>2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06D5-494A-90F7-33F4E3B431A3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9</c15:sqref>
                        </c15:formulaRef>
                      </c:ext>
                    </c:extLst>
                    <c:strCache>
                      <c:ptCount val="1"/>
                      <c:pt idx="0">
                        <c:v>Chad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69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9:$J$9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4</c:v>
                      </c:pt>
                      <c:pt idx="1">
                        <c:v>41</c:v>
                      </c:pt>
                      <c:pt idx="2">
                        <c:v>4</c:v>
                      </c:pt>
                      <c:pt idx="3">
                        <c:v>98</c:v>
                      </c:pt>
                      <c:pt idx="4">
                        <c:v>116</c:v>
                      </c:pt>
                      <c:pt idx="5">
                        <c:v>146</c:v>
                      </c:pt>
                      <c:pt idx="6">
                        <c:v>248</c:v>
                      </c:pt>
                      <c:pt idx="7">
                        <c:v>253</c:v>
                      </c:pt>
                      <c:pt idx="8">
                        <c:v>27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6D5-494A-90F7-33F4E3B431A3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0</c15:sqref>
                        </c15:formulaRef>
                      </c:ext>
                    </c:extLst>
                    <c:strCache>
                      <c:ptCount val="1"/>
                      <c:pt idx="0">
                        <c:v>Gamb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77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0:$J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3</c:v>
                      </c:pt>
                      <c:pt idx="1">
                        <c:v>68</c:v>
                      </c:pt>
                      <c:pt idx="2">
                        <c:v>72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104</c:v>
                      </c:pt>
                      <c:pt idx="6">
                        <c:v>156</c:v>
                      </c:pt>
                      <c:pt idx="7">
                        <c:v>80</c:v>
                      </c:pt>
                      <c:pt idx="8">
                        <c:v>8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6D5-494A-90F7-33F4E3B431A3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1</c15:sqref>
                        </c15:formulaRef>
                      </c:ext>
                    </c:extLst>
                    <c:strCache>
                      <c:ptCount val="1"/>
                      <c:pt idx="0">
                        <c:v>Ghan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8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1:$J$11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1">
                        <c:v>44</c:v>
                      </c:pt>
                      <c:pt idx="2">
                        <c:v>96</c:v>
                      </c:pt>
                      <c:pt idx="3">
                        <c:v>96</c:v>
                      </c:pt>
                      <c:pt idx="4">
                        <c:v>96</c:v>
                      </c:pt>
                      <c:pt idx="5">
                        <c:v>220</c:v>
                      </c:pt>
                      <c:pt idx="6">
                        <c:v>232</c:v>
                      </c:pt>
                      <c:pt idx="7">
                        <c:v>265</c:v>
                      </c:pt>
                      <c:pt idx="8">
                        <c:v>28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6D5-494A-90F7-33F4E3B431A3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2</c15:sqref>
                        </c15:formulaRef>
                      </c:ext>
                    </c:extLst>
                    <c:strCache>
                      <c:ptCount val="1"/>
                      <c:pt idx="0">
                        <c:v>Guine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tint val="93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2:$J$12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1">
                        <c:v>24</c:v>
                      </c:pt>
                      <c:pt idx="2">
                        <c:v>32</c:v>
                      </c:pt>
                      <c:pt idx="3">
                        <c:v>40</c:v>
                      </c:pt>
                      <c:pt idx="4">
                        <c:v>52</c:v>
                      </c:pt>
                      <c:pt idx="5">
                        <c:v>44</c:v>
                      </c:pt>
                      <c:pt idx="6">
                        <c:v>68</c:v>
                      </c:pt>
                      <c:pt idx="7">
                        <c:v>69</c:v>
                      </c:pt>
                      <c:pt idx="8">
                        <c:v>6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6D5-494A-90F7-33F4E3B431A3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3</c15:sqref>
                        </c15:formulaRef>
                      </c:ext>
                    </c:extLst>
                    <c:strCache>
                      <c:ptCount val="1"/>
                      <c:pt idx="0">
                        <c:v>Guinea Bissau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3:$J$13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2">
                        <c:v>7</c:v>
                      </c:pt>
                      <c:pt idx="3">
                        <c:v>4</c:v>
                      </c:pt>
                      <c:pt idx="4">
                        <c:v>76</c:v>
                      </c:pt>
                      <c:pt idx="5">
                        <c:v>8</c:v>
                      </c:pt>
                      <c:pt idx="6">
                        <c:v>4</c:v>
                      </c:pt>
                      <c:pt idx="7">
                        <c:v>16</c:v>
                      </c:pt>
                      <c:pt idx="8">
                        <c:v>1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06D5-494A-90F7-33F4E3B431A3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4</c15:sqref>
                        </c15:formulaRef>
                      </c:ext>
                    </c:extLst>
                    <c:strCache>
                      <c:ptCount val="1"/>
                      <c:pt idx="0">
                        <c:v>Mali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92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4:$J$1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4</c:v>
                      </c:pt>
                      <c:pt idx="1">
                        <c:v>4</c:v>
                      </c:pt>
                      <c:pt idx="2">
                        <c:v>248</c:v>
                      </c:pt>
                      <c:pt idx="3">
                        <c:v>4</c:v>
                      </c:pt>
                      <c:pt idx="4">
                        <c:v>295</c:v>
                      </c:pt>
                      <c:pt idx="5">
                        <c:v>275</c:v>
                      </c:pt>
                      <c:pt idx="6">
                        <c:v>272</c:v>
                      </c:pt>
                      <c:pt idx="7">
                        <c:v>214</c:v>
                      </c:pt>
                      <c:pt idx="8">
                        <c:v>21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06D5-494A-90F7-33F4E3B431A3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5</c15:sqref>
                        </c15:formulaRef>
                      </c:ext>
                    </c:extLst>
                    <c:strCache>
                      <c:ptCount val="1"/>
                      <c:pt idx="0">
                        <c:v>Mozambique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84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5:$J$1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7">
                        <c:v>1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06D5-494A-90F7-33F4E3B431A3}"/>
                  </c:ext>
                </c:extLst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6</c15:sqref>
                        </c15:formulaRef>
                      </c:ext>
                    </c:extLst>
                    <c:strCache>
                      <c:ptCount val="1"/>
                      <c:pt idx="0">
                        <c:v>Niger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76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6:$J$16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139</c:v>
                      </c:pt>
                      <c:pt idx="1">
                        <c:v>48</c:v>
                      </c:pt>
                      <c:pt idx="2">
                        <c:v>93</c:v>
                      </c:pt>
                      <c:pt idx="3">
                        <c:v>4</c:v>
                      </c:pt>
                      <c:pt idx="4">
                        <c:v>210</c:v>
                      </c:pt>
                      <c:pt idx="5">
                        <c:v>220</c:v>
                      </c:pt>
                      <c:pt idx="6">
                        <c:v>220</c:v>
                      </c:pt>
                      <c:pt idx="7">
                        <c:v>252</c:v>
                      </c:pt>
                      <c:pt idx="8">
                        <c:v>269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06D5-494A-90F7-33F4E3B431A3}"/>
                  </c:ext>
                </c:extLst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7</c15:sqref>
                        </c15:formulaRef>
                      </c:ext>
                    </c:extLst>
                    <c:strCache>
                      <c:ptCount val="1"/>
                      <c:pt idx="0">
                        <c:v>Niger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68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7:$J$17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8</c:v>
                      </c:pt>
                      <c:pt idx="1">
                        <c:v>4</c:v>
                      </c:pt>
                      <c:pt idx="2">
                        <c:v>145</c:v>
                      </c:pt>
                      <c:pt idx="3">
                        <c:v>141</c:v>
                      </c:pt>
                      <c:pt idx="4">
                        <c:v>241</c:v>
                      </c:pt>
                      <c:pt idx="5">
                        <c:v>24</c:v>
                      </c:pt>
                      <c:pt idx="6">
                        <c:v>864</c:v>
                      </c:pt>
                      <c:pt idx="7">
                        <c:v>1473</c:v>
                      </c:pt>
                      <c:pt idx="8">
                        <c:v>166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06D5-494A-90F7-33F4E3B431A3}"/>
                  </c:ext>
                </c:extLst>
              </c15:ser>
            </c15:filteredLineSeries>
            <c15:filteredLine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8</c15:sqref>
                        </c15:formulaRef>
                      </c:ext>
                    </c:extLst>
                    <c:strCache>
                      <c:ptCount val="1"/>
                      <c:pt idx="0">
                        <c:v>Senegal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61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8:$J$18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48</c:v>
                      </c:pt>
                      <c:pt idx="1">
                        <c:v>13</c:v>
                      </c:pt>
                      <c:pt idx="2">
                        <c:v>51</c:v>
                      </c:pt>
                      <c:pt idx="3">
                        <c:v>51</c:v>
                      </c:pt>
                      <c:pt idx="5">
                        <c:v>60</c:v>
                      </c:pt>
                      <c:pt idx="6">
                        <c:v>51</c:v>
                      </c:pt>
                      <c:pt idx="7">
                        <c:v>51</c:v>
                      </c:pt>
                      <c:pt idx="8">
                        <c:v>5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06D5-494A-90F7-33F4E3B431A3}"/>
                  </c:ext>
                </c:extLst>
              </c15:ser>
            </c15:filteredLineSeries>
            <c15:filteredLine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19</c15:sqref>
                        </c15:formulaRef>
                      </c:ext>
                    </c:extLst>
                    <c:strCache>
                      <c:ptCount val="1"/>
                      <c:pt idx="0">
                        <c:v>Togo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53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19:$J$19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15</c:v>
                      </c:pt>
                      <c:pt idx="2">
                        <c:v>48</c:v>
                      </c:pt>
                      <c:pt idx="3">
                        <c:v>59</c:v>
                      </c:pt>
                      <c:pt idx="4">
                        <c:v>51</c:v>
                      </c:pt>
                      <c:pt idx="5">
                        <c:v>50</c:v>
                      </c:pt>
                      <c:pt idx="6">
                        <c:v>76</c:v>
                      </c:pt>
                      <c:pt idx="7">
                        <c:v>76</c:v>
                      </c:pt>
                      <c:pt idx="8">
                        <c:v>7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06D5-494A-90F7-33F4E3B431A3}"/>
                  </c:ext>
                </c:extLst>
              </c15:ser>
            </c15:filteredLineSeries>
            <c15:filteredLine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A$20</c15:sqref>
                        </c15:formulaRef>
                      </c:ext>
                    </c:extLst>
                    <c:strCache>
                      <c:ptCount val="1"/>
                      <c:pt idx="0">
                        <c:v>Ugand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shade val="45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5:$J$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  <c:pt idx="8">
                        <c:v>2022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or annual meeting'!$B$20:$J$2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7">
                        <c:v>1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06D5-494A-90F7-33F4E3B431A3}"/>
                  </c:ext>
                </c:extLst>
              </c15:ser>
            </c15:filteredLineSeries>
          </c:ext>
        </c:extLst>
      </c:lineChart>
      <c:catAx>
        <c:axId val="1806306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06319552"/>
        <c:crosses val="autoZero"/>
        <c:auto val="1"/>
        <c:lblAlgn val="ctr"/>
        <c:lblOffset val="100"/>
        <c:noMultiLvlLbl val="0"/>
      </c:catAx>
      <c:valAx>
        <c:axId val="1806319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06306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or annual meeting'!$A$50</c:f>
              <c:strCache>
                <c:ptCount val="1"/>
                <c:pt idx="0">
                  <c:v>Cycl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For annual meeting'!$B$49:$J$49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50:$J$50</c:f>
              <c:numCache>
                <c:formatCode>#,##0</c:formatCode>
                <c:ptCount val="9"/>
                <c:pt idx="0">
                  <c:v>1699763</c:v>
                </c:pt>
                <c:pt idx="1">
                  <c:v>5535517.7402999997</c:v>
                </c:pt>
                <c:pt idx="2">
                  <c:v>11828084</c:v>
                </c:pt>
                <c:pt idx="3">
                  <c:v>16380204</c:v>
                </c:pt>
                <c:pt idx="4">
                  <c:v>18908253</c:v>
                </c:pt>
                <c:pt idx="5">
                  <c:v>20867017</c:v>
                </c:pt>
                <c:pt idx="6">
                  <c:v>32243201.274145246</c:v>
                </c:pt>
                <c:pt idx="7">
                  <c:v>39711578</c:v>
                </c:pt>
                <c:pt idx="8">
                  <c:v>44667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6E-4866-9B80-6F1AB3078113}"/>
            </c:ext>
          </c:extLst>
        </c:ser>
        <c:ser>
          <c:idx val="1"/>
          <c:order val="1"/>
          <c:tx>
            <c:strRef>
              <c:f>'For annual meeting'!$A$51</c:f>
              <c:strCache>
                <c:ptCount val="1"/>
                <c:pt idx="0">
                  <c:v>Cycl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For annual meeting'!$B$49:$J$49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51:$J$51</c:f>
              <c:numCache>
                <c:formatCode>#,##0</c:formatCode>
                <c:ptCount val="9"/>
                <c:pt idx="0">
                  <c:v>3105585</c:v>
                </c:pt>
                <c:pt idx="1">
                  <c:v>6383187.3781000003</c:v>
                </c:pt>
                <c:pt idx="2">
                  <c:v>14220033</c:v>
                </c:pt>
                <c:pt idx="3">
                  <c:v>17676229</c:v>
                </c:pt>
                <c:pt idx="4">
                  <c:v>19518357</c:v>
                </c:pt>
                <c:pt idx="5">
                  <c:v>22356165.010850001</c:v>
                </c:pt>
                <c:pt idx="6">
                  <c:v>33807049.773175709</c:v>
                </c:pt>
                <c:pt idx="7">
                  <c:v>45392187</c:v>
                </c:pt>
                <c:pt idx="8">
                  <c:v>48586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6E-4866-9B80-6F1AB3078113}"/>
            </c:ext>
          </c:extLst>
        </c:ser>
        <c:ser>
          <c:idx val="2"/>
          <c:order val="2"/>
          <c:tx>
            <c:strRef>
              <c:f>'For annual meeting'!$A$52</c:f>
              <c:strCache>
                <c:ptCount val="1"/>
                <c:pt idx="0">
                  <c:v>Cycl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For annual meeting'!$B$49:$J$49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52:$J$52</c:f>
              <c:numCache>
                <c:formatCode>#,##0</c:formatCode>
                <c:ptCount val="9"/>
                <c:pt idx="0">
                  <c:v>2889428</c:v>
                </c:pt>
                <c:pt idx="1">
                  <c:v>5595482.9238</c:v>
                </c:pt>
                <c:pt idx="2">
                  <c:v>14107266</c:v>
                </c:pt>
                <c:pt idx="3">
                  <c:v>17433761.45810771</c:v>
                </c:pt>
                <c:pt idx="4">
                  <c:v>19603897</c:v>
                </c:pt>
                <c:pt idx="5">
                  <c:v>22064805</c:v>
                </c:pt>
                <c:pt idx="6">
                  <c:v>33774715.575384513</c:v>
                </c:pt>
                <c:pt idx="7">
                  <c:v>47138470</c:v>
                </c:pt>
                <c:pt idx="8">
                  <c:v>4754735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6E-4866-9B80-6F1AB3078113}"/>
            </c:ext>
          </c:extLst>
        </c:ser>
        <c:ser>
          <c:idx val="3"/>
          <c:order val="3"/>
          <c:tx>
            <c:strRef>
              <c:f>'For annual meeting'!$A$53</c:f>
              <c:strCache>
                <c:ptCount val="1"/>
                <c:pt idx="0">
                  <c:v>Cycle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For annual meeting'!$B$49:$J$49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53:$J$53</c:f>
              <c:numCache>
                <c:formatCode>#,##0</c:formatCode>
                <c:ptCount val="9"/>
                <c:pt idx="0">
                  <c:v>1791598</c:v>
                </c:pt>
                <c:pt idx="1">
                  <c:v>5246236.9914999995</c:v>
                </c:pt>
                <c:pt idx="2">
                  <c:v>13676956</c:v>
                </c:pt>
                <c:pt idx="3">
                  <c:v>13791259</c:v>
                </c:pt>
                <c:pt idx="4">
                  <c:v>19207709</c:v>
                </c:pt>
                <c:pt idx="5">
                  <c:v>20691864</c:v>
                </c:pt>
                <c:pt idx="6">
                  <c:v>33080441</c:v>
                </c:pt>
                <c:pt idx="7">
                  <c:v>41492522</c:v>
                </c:pt>
                <c:pt idx="8">
                  <c:v>455710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6E-4866-9B80-6F1AB3078113}"/>
            </c:ext>
          </c:extLst>
        </c:ser>
        <c:ser>
          <c:idx val="4"/>
          <c:order val="4"/>
          <c:tx>
            <c:strRef>
              <c:f>'For annual meeting'!$A$54</c:f>
              <c:strCache>
                <c:ptCount val="1"/>
                <c:pt idx="0">
                  <c:v>Cycle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For annual meeting'!$B$49:$J$49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54:$J$54</c:f>
              <c:numCache>
                <c:formatCode>General</c:formatCode>
                <c:ptCount val="9"/>
                <c:pt idx="7" formatCode="#,##0">
                  <c:v>6040645</c:v>
                </c:pt>
                <c:pt idx="8" formatCode="#,##0">
                  <c:v>11168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6E-4866-9B80-6F1AB30781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83713808"/>
        <c:axId val="1683716720"/>
      </c:barChart>
      <c:catAx>
        <c:axId val="1683713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83716720"/>
        <c:crosses val="autoZero"/>
        <c:auto val="1"/>
        <c:lblAlgn val="ctr"/>
        <c:lblOffset val="100"/>
        <c:noMultiLvlLbl val="0"/>
      </c:catAx>
      <c:valAx>
        <c:axId val="1683716720"/>
        <c:scaling>
          <c:orientation val="minMax"/>
          <c:max val="5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8371380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or annual meeting'!$A$79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For annual meeting'!$B$78:$J$7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79:$J$79</c:f>
              <c:numCache>
                <c:formatCode>#,##0</c:formatCode>
                <c:ptCount val="9"/>
                <c:pt idx="0">
                  <c:v>0</c:v>
                </c:pt>
                <c:pt idx="1">
                  <c:v>0</c:v>
                </c:pt>
                <c:pt idx="2">
                  <c:v>8552134</c:v>
                </c:pt>
                <c:pt idx="3">
                  <c:v>8869347.1986642089</c:v>
                </c:pt>
                <c:pt idx="4">
                  <c:v>12636664.047000002</c:v>
                </c:pt>
                <c:pt idx="5">
                  <c:v>12756952.390000001</c:v>
                </c:pt>
                <c:pt idx="6">
                  <c:v>23144624.338401951</c:v>
                </c:pt>
                <c:pt idx="7">
                  <c:v>36045488.5</c:v>
                </c:pt>
                <c:pt idx="8">
                  <c:v>34999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9E-4F4B-85AB-ED1E4EE81A4B}"/>
            </c:ext>
          </c:extLst>
        </c:ser>
        <c:ser>
          <c:idx val="1"/>
          <c:order val="1"/>
          <c:tx>
            <c:strRef>
              <c:f>'For annual meeting'!$A$80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For annual meeting'!$B$78:$J$7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80:$J$80</c:f>
              <c:numCache>
                <c:formatCode>#,##0</c:formatCode>
                <c:ptCount val="9"/>
                <c:pt idx="0">
                  <c:v>0</c:v>
                </c:pt>
                <c:pt idx="1">
                  <c:v>0</c:v>
                </c:pt>
                <c:pt idx="2">
                  <c:v>43651450</c:v>
                </c:pt>
                <c:pt idx="3">
                  <c:v>44402110.259443492</c:v>
                </c:pt>
                <c:pt idx="4">
                  <c:v>64191857.953000002</c:v>
                </c:pt>
                <c:pt idx="5">
                  <c:v>58857504.620850004</c:v>
                </c:pt>
                <c:pt idx="6">
                  <c:v>108235675.28430349</c:v>
                </c:pt>
                <c:pt idx="7">
                  <c:v>141832820.5</c:v>
                </c:pt>
                <c:pt idx="8">
                  <c:v>16021128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9E-4F4B-85AB-ED1E4EE81A4B}"/>
            </c:ext>
          </c:extLst>
        </c:ser>
        <c:ser>
          <c:idx val="2"/>
          <c:order val="2"/>
          <c:tx>
            <c:strRef>
              <c:f>'For annual meeting'!$A$81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For annual meeting'!$B$78:$J$78</c:f>
              <c:numCache>
                <c:formatCode>General</c:formatCode>
                <c:ptCount val="9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</c:numCache>
            </c:numRef>
          </c:cat>
          <c:val>
            <c:numRef>
              <c:f>'For annual meeting'!$B$81:$J$81</c:f>
              <c:numCache>
                <c:formatCode>General</c:formatCode>
                <c:ptCount val="9"/>
                <c:pt idx="0" formatCode="#,##0">
                  <c:v>840</c:v>
                </c:pt>
                <c:pt idx="2" formatCode="#,##0">
                  <c:v>1187198</c:v>
                </c:pt>
                <c:pt idx="3" formatCode="#,##0">
                  <c:v>1161808</c:v>
                </c:pt>
                <c:pt idx="4" formatCode="#,##0">
                  <c:v>409694</c:v>
                </c:pt>
                <c:pt idx="5" formatCode="#,##0">
                  <c:v>1120171</c:v>
                </c:pt>
                <c:pt idx="6" formatCode="#,##0">
                  <c:v>1525108</c:v>
                </c:pt>
                <c:pt idx="7" formatCode="#,##0">
                  <c:v>1897093</c:v>
                </c:pt>
                <c:pt idx="8" formatCode="#,##0">
                  <c:v>2329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9E-4F4B-85AB-ED1E4EE81A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52723680"/>
        <c:axId val="852724096"/>
      </c:barChart>
      <c:catAx>
        <c:axId val="85272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52724096"/>
        <c:crosses val="autoZero"/>
        <c:auto val="1"/>
        <c:lblAlgn val="ctr"/>
        <c:lblOffset val="100"/>
        <c:noMultiLvlLbl val="0"/>
      </c:catAx>
      <c:valAx>
        <c:axId val="852724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52723680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4:$A$18</cx:f>
        <cx:nf>'Time lapse'!$A$3</cx:nf>
        <cx:lvl ptCount="15" name="Country">
          <cx:pt idx="0">Benin</cx:pt>
          <cx:pt idx="1">Burkina Faso</cx:pt>
          <cx:pt idx="2">Cameroon</cx:pt>
          <cx:pt idx="3">Chad</cx:pt>
          <cx:pt idx="4">Gambia</cx:pt>
          <cx:pt idx="5">Ghana</cx:pt>
          <cx:pt idx="6">Guinea</cx:pt>
          <cx:pt idx="7">Guinea Bissau</cx:pt>
          <cx:pt idx="8">Mali</cx:pt>
          <cx:pt idx="9">Mozambique</cx:pt>
          <cx:pt idx="10">Niger</cx:pt>
          <cx:pt idx="11">Nigeria</cx:pt>
          <cx:pt idx="12">Senegal</cx:pt>
          <cx:pt idx="13">Togo</cx:pt>
          <cx:pt idx="14">Uganda</cx:pt>
        </cx:lvl>
      </cx:strDim>
      <cx:numDim type="colorVal">
        <cx:f>'Time lapse'!$B$4:$B$18</cx:f>
        <cx:nf>'Time lapse'!$B$3</cx:nf>
        <cx:lvl ptCount="15" formatCode="General" name="2012*">
          <cx:pt idx="3">1</cx:pt>
          <cx:pt idx="8">1</cx:pt>
        </cx:lvl>
      </cx:numDim>
    </cx:data>
  </cx:chartData>
  <cx:chart>
    <cx:title pos="t" align="ctr" overlay="0">
      <cx:tx>
        <cx:txData>
          <cx:v>2012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2</a:t>
          </a:r>
        </a:p>
      </cx:txPr>
    </cx:title>
    <cx:plotArea>
      <cx:plotAreaRegion>
        <cx:plotSurface>
          <cx:spPr>
            <a:effectLst>
              <a:outerShdw blurRad="50800" dist="50800" dir="5400000" algn="ctr" rotWithShape="0">
                <a:schemeClr val="accent1"/>
              </a:outerShdw>
            </a:effectLst>
          </cx:spPr>
        </cx:plotSurface>
        <cx:series layoutId="regionMap" uniqueId="{E9EEA3EB-68D0-4441-9A82-68FF55C3ADB7}">
          <cx:tx>
            <cx:txData>
              <cx:f>'Time lapse'!$B$3</cx:f>
              <cx:v>2012*</cx:v>
            </cx:txData>
          </cx:tx>
          <cx:dataId val="0"/>
          <cx:layoutPr>
            <cx:geography cultureLanguage="en-US" cultureRegion="CH" attribution="Powered by Bing">
              <cx:geoCache provider="{E9337A44-BEBE-4D9F-B70C-5C5E7DAFC167}">
                <cx:binary>7HzZcty4su2vOPx8qSZAEgB37D4PAIeaS7NkvTBKgznP4Pj1J8uy3SW6rNr7tiPaEffqxdFFsRJY
mblyVP/7qf/XU/Kyqz70aZLV/3rq//wYSFn8648/6qfgJd3VZ2n4VOV1/lmePeXpH/nnz+HTyx/P
1a4LM/8PrCL9j6dgV8mX/uP//Bu+zX/JV/nTToZ5dtG8VMPlS90ksn7n2dFHH57yJpP71334pj8/
8pcszD5+eMlkKIfroXj58+Ob3/j44Y/p9/wg80MCx5LNM7xrnhnY1HSqY/X1h3z8kOSZ//UxPsMG
03XVpF8fo2+iN7sUXj95mi9n2T0/Vy91/eHrv99fe3Pw75+GdS5e7yzy/RH54sud/niL6f/8e/IB
3HLyyQHsU0hOPfoB9aaKw2z3wdnV+TcE/j74CJ+p1NBUyow3qCvojDCmaqpJfgL7f3icn6D/5u2p
Et48/EEXzj+vCwGWV+X5L3QC/YwgbBgYEfP1h71RB9LOkKEZTCX0m+5frf8/OclxFfz15gT+vx5M
oRfr3wD6YPf8DYJfYP4G4K7pSGPo1cyBXA64B5lnKjIIotpX8plwjzhxmJ8g/+WtKepfPpwifm39
84i7wS7b/TrI2RmwioqZpn21dP0N5EA8KoPnxAQPeA0xr5Z+8hjHwf762gTtr59O4XZnvwHcu/Qx
/IV4A3XoYL0E469M/tbEFWSc6aaqQvyFCHAI+HXw8sE9eZjjqB++O4H+8NEP+P8GBOM2Yfay+8DD
ut413xD5BUyDz/YUA3mO+tXuJ2avn4EWVIyMiRpez6OcPs9xTUxenyhj8vQHfdz9Bv7wRR+/UBHq
GQVfwJhBKD3gegXBA5VBkKXGdw0d+sMrVu8d5D0NfJzmc9++7gfMN/885utdEr530f8uwUfkbB8/
NQP9FUUPgYcMH0wf6ypEgkPAT53iONyvb03s/PXDKdTr1W8AdT7uObZsXr5d/u9zjQJ5i6ZirGGq
H0trNOAapOsm1SYxdv0fHeYnuB+8O0X/4NEPOnj453WwCf2X6tfBj+gZ1QyCVWDyAzsHnWCN6ZD8
fP2ZJJMnT3Ec96+vTSD/+ukU7Y39m6D9KzMc82yf2QDiX+llgjs929M5Rezb4wnNfIHq/fO8g/z+
xWPY7z//AX33n0f/6iV78XfJL7R2HfJLQyWq/rZvoyB4AJ0dAi2Eo/H0PzjJcdy/vzjB/fvnU9yv
foOQep37v7Btw87olyIJ+mKvP9obqoEaCoHJE/VbS21CNacOcxz317cmoL9+OEX8+jew9Bt/lz2D
F76mFH8/qqIzQ9O0fXp+QOoaJC+IEMM0jO+KOMxhTh/iONbf3pug/e3jKd43vwHek1ril8H+/wun
H1r4X2xm2t2fhqHDQvuXKeP/uWbCzxv632ca1k7u7C/DkIOe/vtPvylw8up7XPWqwvnznx8RgbT9
+4hl/xVvy6aDbHvy0suuln9+1NUzpplQcxHEmEl0BglR97J/oqnAZvtiDEHPU9cQgSdZXsngz4/7
8hh6Fwy6FxoxsKbva4c6b748w+SMEYZgAgWDHAalhfF9AHWeJ4OfZ9/h+PrfH7ImPc/DTNZ/foS8
oXj9rf3tDALNWIqhQME60xAzKdTpxdPuEmZc8Mvo/6DMiA2jUxRueOMsKWJe18iVeSIiqb828F7n
NEdEwX3eFQV3OhSFMVaMQQFR0YASTkhTc9aPywP4jwhB+wNPL6Sp0EXGMGrRVQbR+FCKFzRZLguq
8CIarkginxsSCI2YguL+Qhm6uR4pV6SRn1rVXCZ5ain5EHJFjzexImc4RE7RaOvBayHafbeLIwc7
dntNNcCeKKYYCsLJuWpSKKHnKZwlcpVIvI1J9xpofgowwkfv/l2Gob6VUTdxgMYQZEhLFaOVWJEj
Z7VjurnjO9r537qQMQFaZ5k0EtNUeBq2Oa/Lap179P59GWh/4h+1ySDhpSoCZU5Qy4eg6k0JN+ox
EZXZCD+gXEkWdRdwPcqsXGeOxG6iPL8v+Li2vsvFEyRNPxmGBoFcrCk3ZmeepyQ9YamQy7x3NTzB
DyYhChoGEEHjWmRZZcd1Oit6+jqS+7lRnJKzN5oDD69wU/cyBznx7WBnVl3yMLazwo5yqxWd5YvK
RZGlh1uv5u+DiPYe/YP2kKFTAsRHDQMS50PRMSubqEwYaM8hFe+tmtci9TmaeRbatAaXKY/nSFSi
1TmNeFO8VtT/5d0PDrBX88Hdja7KYzWAA3QX2Yq4/arYelbL2VY97xy6kCLcRqec8NSl9/o4kCnb
Sip5BjJru7eGjbcIRO0GV9k2FZL3IiK8ugxsP+O1yiNxAvGjdntw4T3dHwjvUF3EQQzCVVdaza0u
yEsd88hRBHLrOQ7t2PFOgXxK5iSEJNlo+LEJjNsJ5PjL1C6FIkK3sk23dArX35665RfXeM+uJpGk
HKO0jkO4ZTBPb5OWF8UW2/FFKqhoZ7HtWaFobVQKVdp+KzS7EopFrRNQH6UmzTQw0wk4K55Qk1Tw
4LGQgHEP6A4hxWmydj7qtBO5Njq0orlIdfOuZ6bVG+R1GPNTyz6KuQExDmv7ml+dkEecgZLjQgME
/HSW+aWgvXfClk6JmPJGYHhlFIAIlOYORjOtQbP3ITwWqnUNY6ieDROrZOIpmoxgOacdFT56Oyox
R3JF2AVrZqPnn6Ci/VdNLQYm+tA3ITCBhkzsrV+0CMu2yUCUwXorkleyDQXpT0REtOezd6SYk6iR
KqNPzQSk6G7icWyPM1Mkn6mLrWCROop1yhHQXs3vCZyYgWlWSuTFIFBavUVuIysV/oq6mj08nuS1
PUTvyZrYw5DVba2EIKtoBBns2qZcvS0fsB05zOqcBvMiFNlt3vLBqkTonLrsCRWa02CiBv1gViAf
aS9joQiaXTWQR75vkseEQIOTEKxTimEP6q2dFDlDgcokkLdyHvqfS7mQ/ilbPOZYhzIm7MXCbGTU
bBReFrHlkRtjZCduccyxDiVMrJ1Kb5SUgISq8oURLz3ktmlpUWrOVcN9H7Gjt0GU6VCmEM3UJoiR
glZBJGuw+XTTkZuWmicuc6xCgQrpu4AJXEGktYqWgEqUQr3JmQyAJ4rlmLS22gU371/maMZyKGyC
XIuZF/sFCCM3xSoKeZNwv+aqvQ8qvutlPLhN6SyfMydba+f+3fviT2CpT/hj9JuA5RpgWZQXGYp5
FvxNARO+IGOIDbkXEKGaY/OGhMUJbZ26An7rQN5QIjY0ICHG6Z7QfT8/IeEoyx7oSJ8QQU4KXPUG
iEjm4QwSyodg663oQ77S7MLVDIE+va+VvYFNie9Q3v7KBzlVSYM8TU2QZwaMs3RwW9Ozxl7ytlaF
p0iOgfveF4mO8hC0ByjTsIqhbnwrE5WDWoQMZLYOWxBRXI2PheTsurJHO7Wyzk6EsiKvrfifJhV4
r5wfbnogdZI9xkhmZChBajQfbEhbhSG56WhLv+d54WTKEkOS7vR26eClGvDYUtmFH3AzslN5AoGj
OR45OMuEVwxSN425N6R9Vslum5cg42wByWUJeFvEiueKaAV2oLT1V+2ahI5/Or4ei3n7UAD9EVOH
fcCJqWW6jytzrIAOCuHPGtezzEqglJNrbeQqgOHbo0Aisc05iflY8DybyU68bwzHbeGvQ0zsL9aN
yo97OESkeLzqnzuNCOpHJwA/JWVicdC1CFiK9lL6kiteYbW1xz1ywpeO0gNmyIClM2qq+oSA4lCt
9aEFKQrkCYw8qvUJhjt+jb8E7E38wFk9xfcjFYHZoKbkveqMUG+O+uvK8U8dZW97P/rJX0ImZqE0
2piXMQhh1VOk3ej9FjKRVTSsy8w8IeoUYBPlGyp0OtK9qCbv533TcNqcSvRPQTbRvKLXXdgZoJOu
u4ny+4be+IlxwrqOtuXIgeIn1NKholP7CO6hZDzdEJHHPI7tdib5l/TY7u7KK+wk9ukk+RSCEyKJ
dE2X9d7kqEQiZD7PmxO8eQxAE3q10MrFGNaKJxISAyVkoHC3Ijd4qRCus4HndXbCFNCxmxzKmWRC
ZduHg78PRJ1QBRbAAo+eFQvC42viVG7i6n/zYpNsyG+aRI88EEiqgY+p5jAt4YEiTxDc0Wh3cLFp
t61NkKJKH7Iuf9eI1lJvjcTBdgg5VyuGcl1e+yI+2ag55sSHQidU1CBF1v6eKWqcbxjNbUoSt6xV
OwhKC/6yw36fxU8o70vsPSCmqAgrr8MgLowl74aNNLNTMB7rSJgI5qb7lgDs1k0cmQW90bFsT+Fz
z82cfobcci5d32pOePPRuxwImjhzkgd5klcgqPVVR9cxz7VT4eiIdkwG/XsduocImitTnwqC0DOG
3OO5f9+SlKv4qpIJL1OTh/Lz+6o54r9vZE38yiCNnuFsLyu9w9lOL66pd1I5e0wmMeONkIkvQYMb
90oJQqQ1Ork9OjrkV8m257FIwAS5LyLbt/4vuP1AKqxDvQ2HJPG7tg1AKqUxl2zkKYTFtmv/e4N4
I2biS2gsR0MrQEyPz2l8X0A/930VvY8e7Nu9vYePfS/VKAgIeyrMJLGpYtiEVSL2sfu+qPetQVMn
wZ0N/ShhJQBSrepCDTU+sFmHT6W3xwpNk8EfWsHoD9pRqjaRAnOLtCyyzONs3dmjZTqJlXZ21jq+
ixbVLrcK0akcJgPDLHlQXncrf5q/HKlo3gjf+/cBFyFfMVBlgvBeu039K2RAWoG2nuZm9bpJuhO6
OwoogT+p0TAMQfE052t9vSB5kHrcxEjkLOFtcK808/e1ho5ayIGUiYW0RpwXaQJSslUgbS2w5Dnk
GJ617/STnKNRjLfVorw6XSV8CU8/uDY1MKXIoIh+KVgP4PSZp0cmijyOEE8Cy3NLuwh5Ua2RFdup
q7khudSg+d/5drLroX4LT3ajYdl0bzGHp9BNBqtfmGoIykXjy18YHCrVCKNobGnng3sEfrbrCVNM
7msl666SvPaAQzWqmKY9sBJpBZdBF2ROVMa+55ot1amokgA6HkWbFUQYXj1gG+upP/IojotEpEh6
tVthQ0NCa5pMLhKFkvEatuy9eyXNa6iDhyJIrxVwHs2WQ6irdo7qLut5SaMaVzYKGo+UswDG5KHO
C1a0lWa1xIjwDgbjDVqo2iiNS3Mc0pFZZVelbcINVAz5k6cHuIY0RKndmnRdZ2ujn8W8SiLFPO8L
GnYFN8OgCJx2JFosCiwptWmdYtCKzKBIh9xpWCheZmpuB2vpcwVpmS+6vr8YFXRfKtDVNHNjC3/A
1LoD8kxHyRK2MrOOiDaNn9uASLtJY9XJy2ZwFAkt6m4ktUB9ey8TWnK/Uu7MyrRQmZc8w/glNtp5
MWY3CcIuFJhzKIrOq7DeBkYVcyPqHiijVlgRN2bDjVbly6EJrDSPXM+jF6piiliLl4WBVxkY8qDf
VeZN2EZQfqJVGkvhK61FB8lJbO6aIueZkrk4jZ1u6HkduLVxFUePpFQuUCNhGH4b0MQaDGR1pC25
EbZW1rc9D0FzfGyUZYWvswKvUyLnXWjypk7tsCnnTcCHbINKSJOCQRSxORs0yy963iKdB/3OMy9K
85IFIVTlwlRukdfzqnY0Y4NURzYIfGKO8NKkQiu5BJ8sLxS6Krundky40tl+PR/ptZQPOm551rt9
bOnVOkvdvnkMk4aHnYiHz7KsuVcgaxhrmP5a4+CJZBzE0DLoBsZzPVsn1U0VByIFKuti6AuoFU/R
rRdD3U5vYn1G8Cpsa1Hrq47t9PB8rKUYjYXXL8fRVaI5oquw8GEKWXGClqY+M8aMD2k9G7uRe95l
GY189D+phse7ROVetRjoLG4CJ2JLz1wXJJtpaCubwlHGnEdGyeNBqMHS7F0DWgOJ6XFNWoq6zbtg
HtefWu8yUgvRq5RXXrPsvRWrGlctpSDtvdd/JgXUlKLMI8HKmQxmKZs3OXRAcA6/ICRbNfQxbdYK
9YQW9EDkTl8/KjK3w7yxh35DvMyuCOVDuMQYWjfnTCmFkT8VwRLGOR5aZ+iR1gsVpiH6rEtcH4JN
shggP5WB49VzJdrWvaPgZdbAE3xepavcuwxTkUbnQ/vQpp8j3a2xM0bIwsFzFz344z1pr/rhGVWi
YyXvvFtWRZwVAxjTztATGPNAW3AcbaO+ptA8qZI11SQMRG9QPs/beQ1ONMQq970WEC94MGLewm5G
6s+iqrJa4NSSQX8F2bFKRaFcaFpsgVsLo4XWWJtZI9Vyrtb1agjdMBNmcYNDWE9IRJ099p5NIkvr
oZtkUBHUV7781GlWB0RkBI6PgW42tH7IqhfVWKQDE6PP0yjgZXyu4o2Ol4gVHJD3QogtrRgLl+Kb
3gzBOheyXGZDy5GHODFy0WQLBjRonPeeIkhc8Kq97BRmFUQTtTbAqH2H4W/I202l3yXSqevaCSEB
NNp12XLd89wUW96AeVzMunCbJ9sEP0fjVia2TnkIoMggF1huFMUBh8He9ah+7lVf+M0jhXS8fuzq
tRLcKNU17ldp5HTqTDNWRQCbLi5TBSpDTssZDtZh6CpyFeTXGosENGx4Hq/2CbbZRTzTHvpsSTrB
pEtrh+ZOlLnSB+HhNeRGebQhiQgjDKs1F4HULiuUiFG6KfB2M5P+JipAASjceKrTeLrGzXrT+fNQ
vyPlJdBKMkKDqXJL+djjinvpI6yTvBTEpjDYGdlGwkaJWUYcAZWkhSkK/6EpakvxxoXfwwJIek78
yC1gDFXVjwl5NvJYpCO2aZS6RjFrTZWH+EEbMqGpN/EIuvFz4ae6yILSQfWaVpiz6FYNLgLvqksS
SLSo7aN1gROw2/VADDfTKkvzfJFWBZwoFyWl1hAlVm0CacapqEhqZ2TV9esCKC+MOyvLE84gaavL
+cBSS+97PiQbxbQTyFmTAJoPybgdDbLx1U1Up1ep1kBOrsXnmXeL/Gip+MxKAa8ujuyRYAGNLFtH
uQjIPQxALiq9WyjDIALQEI1oJeDvIi678VaDIKnLxIk6b9P3jfDSUsT9faMOwge6bIHRdG3O+rtq
BDrAye2oXEb9XWYyToPQJnSDvZ2uJYLk+N70n2tvHpXyjubLPvEvDCXgVbBWB4+r6LxpA54SaDwk
nwKm8tTUmjsWVd4M2KW39d7EMZB6n8xrQ4HGsFLWA2eept9qnQFVfTMGS6ZgmXF9iC8b5apL00VY
qhckp9yo2qdGtuscY1FLyQOD9NxTs3JB4nLRjugqVrsN89i2assbRWKHteWslP6DovnP0gSe6tsw
tcYyaUSijKBnRAVTOgiySbExTG0JLyrCbKud1o1u0PlbEmSLyFOJVerA9H2+gBZAi3XBOskrLTtP
832kG0bfzvIRqLmPVmU58qoxl7pZP3eN7xoZ8FuEoV2a26VX7UbAtRszofTa3YiLBdKiVassWi1z
y3GL0TJOvRskAReazLyBwJBHBw31/nOsasuIFJA8jP6iqld1uJElQBBtVLXgcbmrMyyq8FOGb2Rh
x4qTlKmFG96wGaz3CNwuciq5WtWionYGix7NS6F1vEgfgfVM43zU7rIXJZgzPYDh6QtGK4/cFgGn
4aNJ4dq3fWNwvRSS2PC/bFCz3dg6ZuMEBtRADePmYCnGhX5P64hHSScG41JhVxDwihYylUXe3dQX
SnihFFco3MaDi5+yh84QoeKE+QjavIHAMqauSZYBdczBTVMnuR1SiwHvQGsztDA9T0anAdVXAKEh
vOwSGeeBbsVXDFrR8UNGlzrjASyC9cuCbaNmkRMRz3RXobZu8ApbYH5t42BYeSlyWGzywDd5UC2I
rcVunInhHmecVrxmnEhhsCu/XHvQ7b4NPZ6o9ggcOnAJFXIYzdJ8QYk9aiFHOYcQDh3Lihd6YUNW
jQw7w5dGcjMSKNkCEZY8ha5YgC48/TloONHsxAL/wyoc9QqjxdDbbZWKyLAgoxd6BtuPL4rOu1qU
6FNQXGR0l1fL0i941H0qqpuuTy2ZPRZg596lns6j2o4UZrcdMDbEuLEJIZiG3ABOxJ38VJeGo4Qz
BrO2Igb7gZPCpxKQRPgm0h0awY5IAUmLra6BQYqOU+/Fb3adJ5phFZfQrYTR6rCLMpjZNYLWV1g6
bXPep4jDQlo4XOHxwWxmnbJM6vtSqiKjL3kQioRkooEZIkkH4CTfyqNYlBH4sgmplB/YBI9c8WHy
jCCZapc1FUZzgfVFl/mW0kIzuAktSIYh9asjt0fCQE6ZcHPpGU63Jg9tXfBGccvcaWLLyO3uluS2
N1pMS6EuIBzRkMvB33sPzxmENSjXZWNY1Ey5wjDHKeUxTGp0/ZpVEABYacURdFuCxs6NS5aqwO46
ECrkZo2TNY8qZMoQUoO05SlkN9VoQ5ttrlLXV9ZBh2bl1m8dvXJ1ZEfmsh/d/m6IOQo2BXQqx1Ws
W7UewFUYdH9tP8p521ugBJ25uNVEwM6l8syiBdSnMRPewAOXLPVqRior6qwUarIeqiIrBXqEna1L
7SG40pNzOVpUFQG1zOKW0Vn5rI5PbSJQy+E7oeIMSq53TnIDKWcGfg7d4cquW0eldgmtEpU3PbDa
+ZhCTrWGnTvqc8gh8/6Cpp+LzC6Ci67YpuYs3oI+PPCGLrcy5TaBNhFskLVOEAYcBmwJTJ5461le
A8iKoLVCSLXGjQ8+L3TFVjDw5a2qbNIOhoJCye4lhIoCCyUFV3TRA4JNQ43HV/lnL4CZXZM7+rhp
PgUBJyWInQ2j05IlWbXGJRi1mXE1m/kJx599g7ctx+PcvO828Y2HXsyRE2qz2NaZhYqtrNc+msP2
srHKkB36toGvkxqCFg/uQii0oApNIbY5Sr3QQjeKeQdbh+Q+SHcGJPLE2+SmzRo76i3dSi/ADsNi
VXVumcz8Qki61tESa/PWXHXDKsmsJLMjVYT5HPokkXoOjtKVl70u+oAnhRV+DuQ9A8Ki4DguwA7x
BtZl1iSwdQBPvc6jOyOEI2wy/zwMRXeZdVBsbbxPWD5kQDkPQcSDq6TeeOEyKhZVDqGUD+YnXXcb
vNWTxZjYGlR5gQbyxo26pCuYuUMZVUPUUXkR6E6SXCPFCnsxdBx+syyuS+nWamMZ4xrYsXrWumV+
SeM1zp3wLiLCzxeRL8b8vL0oIq5nyxACRLxUK5E0ljksymUa3WGIbNddD9buImxVqlP78yqbNfD6
un4ZPjf5HCnzFni9sof6Om6gV7sOdB4bi7pf6fFVgK8036apwOELfDlelDpQtgg0K3JNGC0MEQeP
h06lbmveLFZnEGhhyGyMW92bqeo52nj5Sp238Zxl95Q4bWozvKG9Xa/2Qc0fRB1fR63O84oIWexI
6SYQB6HfNBJwcJWj+nNaNOBk29HcJnRVf94v+qQ9VzXe15Ap2BgWYguYMNv1oIgILatqTqBRAU24
bhaDjaUOpANd45SBaJXELrMZ0q0B6WKk9ggOUaUph5Vl11Qinu6YD40S1++sPFgHBLwhaiB4zcf8
AfeLsuP+KPRcZFAmQ3HzHBVzFVZD5RLrlnerICuveHLeqiup30joGkO2hi2EhFSuMWTliaXEN0x5
aYL52H3O5U3TPOnNFngWPdS458awrQo3A0diUqj0MiydoThPepcZD4pq1e2uVTeJ/qJXTuWDbYrx
xgc2zUNLGjCHkaJ8zKQrU2AYR5XcV59L+C4CDVcCBbbdX9YvSbSqR6tedLdFxv0NEKyUWy25ZMlC
abZaqrn5CIG4TqH0n1FvpoWR8L27pnaG8lJW6wD4YLhGfulkwy0pbozuJaxv4uZTG1wr3SjyaJmk
a035VBIrqq9D/y5SXDN5iNgM5wNMkK9Ra8flFQUGzQOesed6XXTPvbLM00tdWp6/kAh8DXKAxkzF
ACGkdBvooCh1z9PWMtVzExyj5j17MbuL2tuUGWQ2M/2KDlZruEpu62DALLANXyTxU53CrK28y4aK
41kFFNOwJ6Ldjl3C03GpxNZgOqHhNsQCE0bmY0FnJNhW6iq3VQMKarvHHc9v1ZEb8QanNxoEY3SV
h4DqJwJV0JDP4nqpwoJTOloKhW2jJRktOWxb6mj93B8uovaWYcjRoLkx4FXdXWVmY8WYl60I/cga
hpoPZGH4kkMKDNos/XmUz6KOa8qLATNJUi3jYmmOtmdynayM4rbdRAxqqG1K9qR6waBMHaBrEBbz
qhIyg+2nuOP62rwvKVh0Gm88FzodMr9Mgd4BiNR3yKXuwUhh1jYXIxS48drTHZPqsDvi+n4gINaG
o4hCq4GSw4aiO4Yo/wzFQRPaaTZHlTVeRRBOHiWkWSsvtQPgVd3KSkHYDCpmLZoZCW9GqzKB+SHG
qRbO7LFbFv5TWSe8UJeR3EcAowD6q+eydbXnCr6wFFG6hfmSnY4i82eo3cKSSuC7cbsiBvcxLAjz
KrJaVUAhamz0ZNU0bhSAEfNEud5n3OlDQ168RjSR05ebbNfVi7y+TiB96/rzFnpTphXGkGxvmGH3
lbNfCYE2WQ/RSoNuXCta5OZyRhvwG5+Hu9K/rpN12p9DOyrXZrgd4PfvB8bcAN+Zw3ndhE6eR9Bm
irlJ5nllQzyH1eZmdHWyVOR9EF8akbPvXIUxBDZTs1t9bsBSGssek/5chwi2b5jqz5HviQxD56SE
5RxdlNgFf8HN/3J2ZcuR40jyh5ZmJMALrzzz0H2VSi+0KqmKJMD7AsGvX6dmbFui0pTW+9Jj1lXT
kQADgQgPD0fE8zepQpVc0WHXkXDkOOy46F6rCZEoEGWAyF69zE/LArzM61kkrAjglbnLfrSgrMMS
UuTMPGjaj0IG+bTDzulzzEblVe0QddhRu/VTO6hFsKQBYbdmc63dIBHqQA0VIUVZ1B3yat8ALrov
CXKladcC1tP2ghzdybcyH1vo0IexCtIX5ZK9PVyOgEJp85RnsYsCnl2YACsL41jOyX7qHvsDkY6v
tXv3aGHgpfcygm1+SY17lyqvS6/bBDcqEKJeu6RZh7z5ymqBp46hxXda59P+TrGYFzc2C7jO8bEt
cBRww6UH0d+vOPBK/PI6K7C7uE7iZgqkO/rA4rCmGhSp2kdCZJFofkrSYM52zRLmr9NoekhfEnLb
p5eFHZXJnsK1Zo+TiC+HwrqtxA3AL5ALkfMCqrOOUxEaY1ia+z4PEvyO0pucfc0fpl/mjYnqvIz6
3Jv0eMn2fXGsgbz6qPZtpLP5TvGgdgBZerb0GAMjyqcW6By+yOIRmH4rrowUl+3VUj0DBGXT26LH
rH2Spk+0gNSBna/nEgvK23C2r/I+UJ1PSj8xniSqKoB1qrS88k1jBsZVnlQfy+VYdpcaoeGygIgL
nM1JXG8BVoog1KmfFkA8oPMIM3+H6YUvu6y9GVFY4tglf0E+zK1w+GNVIS4WDQm1GbpVvJa32ZVE
wvcgkKclgz/n2AczzBweJMi3+tHTcZGO5YMBCMwdjyiojHLxcgzPkJ38AfeZm2hsqwvXQsX0PNW7
MUVljkiGsu+yLgEqxfKlm7ylDQyknneGCJdr7r5qyUOujx7Qd0/8rXWPvrLmGrFpFHHRBgioVnc5
NUdNBrN4KvtQn+JJC817k4d9FnRFgO5A2t0aqLXkvtTBNfGzWzBB9MJH9GpZpOqg7fYmfNAJJblW
VuwgQUvxFSIUoRV4I9abPd8p41W0AJ0aByWCFXBE3ywz/XwQ/gJEd6GVN4kq4IA3G35NUL33qA3T
9GmuCdy39OYxA9plVA/jlO9og+SRqBJYQxct2hBWJr8y+Pzb7IYgHecbiX/v6ksZtHn7K11bPh1E
BnZmbx2YcH6jhyP9ccDeWnJMYktMj7nLnZA4uh1Z9cj9ycqJHuh2uWS+EIuxz0VXxop3/K5OC1QF
k94AyrV0d0o9Xunlda40dagGjv8XQ/ukGlGiFJqpH7pOZpeLxdPrPjFRmpnCVAt+fV71e6r3E1Ah
nsjIsrg4mLLeW/oEqD69x5yfeyWKaUfS8gYSn1NcGzY5mjoQ+wQj5gjo2oNVtUHNJp+btRYMUg+t
WoV60UbCVh7G+686SzmeWbuPDs6LM2WHuczvNYfsi7ILBMV1QIDm9yX8shP6paZVIPsBmu9Te1eI
iUSl4A+lIYaLcrGvMbz5c6TmI+/7Q0WTfVez23EBSCkW5L1c7jPbPea682egazYhOisqs7kKDAfk
u4Fqr2M6/c21FuEqzQHRM/3AlI4/T4ZyN8/d68i6IiqZRJOapddOP/Y/HNYWz2ZrVxdGhopSTpUb
YaSM3/UlLqKOJ6i6pLJ3HH/xMdPgFXYu5TUdGi0LmrEdH9zcNNZ7Au3DoFR6LT23rwv+WkstTy9k
ukjnUFKbm0+Ypqinu3k28J0M4PYITCTBr1WFJMZ9JcY5iWdWpOOx1vTGeATFrBipX5htV9+ITqE+
SaRQKcZW3Ok3WgQjLn3NSGExm8Whc5JO94tCdLkH4mPJfJ0L8/dUcII6xehxWTForf2uHaqNx1Sv
8zwq+wzI6uRYDZokS95fDPlUPOflyObdMuiV2k+Qoio8alXgT5q1JfS/XVFx9FO6JUW9pItaHnqb
aGPI0JOswTyqR3kt07mv4IxrHK0MCbCrMERj4GaZxgatkES6cc6wT8i5Egdgfz5T67AOpxZHmXaL
WYaj6joAk2M9pPbsL1Sv11o9aSS5oSSr5FNWVSWqLYfNJbvuinlK9s4CV9kJRyV3bpuR/DeG6eYC
PTvp2N6Adm3mcYZ2JgjJ82g2IMdX2WT4mcq7OSwYrdc0JEnwJXBJNQIgS9boYOEBk51p2QLcKJbS
2DsJq7Q0LDVXoJ7SaGllP40mr+Y7mZOk+5E6ZlJ0qI2avnfDKum7t7oTRhJneQ1gtcoH2e5KPvWv
y1T0c9xVZv5nMvj0t59ydAjB7VEVDtmsVyi1przme8o0jXNv0FxWA2ykw9S/GUtGp30yGAl9c4iw
tIDNjWZHjZ41PE5HpkXDTJ3c16bcHH1JTOn6haM7Ehl35+SROWu8OdLaMnuvmLTa2ne20eyMrkiv
pxwjSJHjDmA12hJZmC5Br47cfrCz0iM5A6Cg4NFVZGCKcfFV3UyJ36bYIODUKlNBYcITwqqc5ixe
BqmqIxsWwh+s2WFm1JWc4FrrOckjO+fJS5kb1AlaZSUvrj4ab620cPOXeUXmqCh79OAbw6VuPGcJ
b3Z00FtyXVW9e6AD7u9Z1cSvyzk/jGXO+DHJhVaGpC0kWgHlMOT+ok0O8rwkJ2PY2EkC0oiUSOD5
bKomnGqSBADT8+e2ounvhqpi9pie5LU/pYVN3mTlDu2vpiFoFEAEtU58ng6gyeoT/jdk01IVt2zk
qnhldEF6vZgcMT1zDO1XXSFUA2DQ9Luei9z0i45a+a7Mi8wKylaWHSjRMkfjpmzbH70ai+lY2TMQ
VXvuZxXXWFAf1nDA+mak1cKxtaNIg2oZSzAWCszztMYA+DbFz8B4eGGgBBkToxg8bWgGFlhpAaCl
49owR1mb26/JSHvTK3tpGTtZ60kGhLVGXKSDMz3rWVc2QVPw5GDPNUW92XULep2ZVWJBXY0ZEjTu
hr2wp+5yzpRxhQ6XNIOups0Yzu0CYNcqW/h1zcE6iPtSqS4oO2Np/GLKFY27hQHHMxBA6E1h9jzd
OaSfl8BSZv5gaaWNzKudgCprY1e1uHVMq4T6oG5xP9HLTvMRthoVkL5cW94Ny58LDT1sgOugnj8Q
bWrGeDDEgdTZtKdjMy47MYOJ8dQtLQEk1KsCHX0H0tHVZAS2ENot44l6SXm2XIFGNSR/3J5hyr2c
KTViJxWZ7luzZTaBMidjiFiFq31nVuZIbu1+rqpbq3bntg3swlra8mAuytJ+pp3S5799itvgehA0
aToPzTWcJ1HalkRvkdm/Z+rW8wUm/dq1GE+XwfDadkQaW5ud24LrZjozSlELf8u+YWXWljuMKOXj
i4V5fevObmmuB1apMy3McXamZycd+/w4pb3oop7RpIbnLtIIrdEx6qCwOX8gk3AAl2A7bY+YA3KE
pWElLusiqVFRl7OWzqFO2AxGJJnHlU1aJ3+GQbF6V9m6MvxJ1FPtd9UMmGJM9IL5hM9oRox6I0ED
nfLC8VpqMeUVw1DOoWaQQoW8Egx4E00cuqOuBOhqaAuvAL8xauxqu9XnXTok1AUaXspbkZq9OCia
p3k4185SR6B/GA3YyCXCoqIsB62BK5Bsq1GWqTq6rrBc4GHlytNQKQiSb0PqlgP1WoW/B8hipA6u
gJS0SrvAtPrqxBi0zt+wrenwy7V5Or11DvLIXcUZKWsQ/6pE/ZEJ2lrSd5QjqtvaSmZ9iUotd819
3S64ny4IVbn12skCcHRVktZJA0t0PG3RpMnc/mdltZMC6QIMIPmSaU39lgpbX275Mkzo/IiZN2E6
DJ0TzLQaBp/JOtefTE75fJsmOWAv0bqUR3XVoRXeOmRkP9GYNOAYKQhM3KtrrQQYX1hceWWX2Cro
037kqI1KqqLBMG0O7sPUy2c7r9gPfZwB0TFdMCvs4WY6+o9FU91LlzXoHOkCjCYKAkpd5bPybadv
0qjC9DDGRvALssB2oCTqs5Si8WVIWiT+3Lp2FY6W0/xuFkcnXinnpUAHokisQDfUpHzNtAaUkEPH
xF5mcupjM1mARg+q5TyoKtoPR0pcVd0NLRVsX9A6dT3Oce4vKperIUyymSy+PeLj+LUSkxssdsGL
EN6IZh1IW1oWglTkLoes1yULtTkbQRllC5ouU1bO0wXYsZUVuypzyhDk/Vn39GGYO0BqLWCfJQeL
67rVat7upFu32n2zCNP13Uq6LogNRpahfT8wY0ShbncHkkh4PkiWjq/cKUNTilfa4+hmE9agT2z8
XfVanUZLATy3SbMOXXd96YOUE/A7koGvCQBi3nXedTT92xtjIpELOSAGB4kQlYw0Y9SqkIjMqYPF
tWQedazu0/HCoXLUAIVUQk9l2OfzYJCwT3kv3xx90az+lqklmY0LzPDOAF6XRuaBBj2I9DonqUQP
ZOpceWvzRk8e62F2XTSGpW3AY1J9uB+HaqZ3/ZA7TahDCwStOJFy1HKubTflg2tTfQqRk5TsTpiF
dH+QpXdueWNpV06ZmB1yBmXwyyXjTfPasJZ1aKxivjLAtJRXUJzgu8YlmG72VINkKo3SurOccBwa
U4TjrFEUi7qpTwFfSGXuXRyw/pCmEJfYw41VclSaZTKQzlM3LwArqKTYG0LNPBK4BPp4aXhiXDe6
GLTr0ZknY9+YVGu8RhrmXZO6zZtCTaZALjD/ciLvF8UtP8sHsL4JUA8kXlExWrq1wyyVIfyxTVNn
N/J6fGBFLQ2wX/J2+JsJ5JJRraYRPXCRtHY4plmGQjObNfNZIsKIHSaAl/oS1ZbTxcuo50NQpx3c
xqJ4WSHEWEC27GvX6uxdqQxAwqOdDxWqPIfeKI1W3dGBKoqK56VBuqThM5vH3C1s58JwBwE6kHRM
CHqkEwpuhlyX7kddoJPKmDurEKNyHQAsA7/Wg3Objc840mnAcGb3Kp2Go93cc9DQ8t4i3V4fRwdF
DA5oFxhzJkZ89N762U+tSWIiNct9IWXRUHDflKgACw99McQgSuss6Nx+bpAOGEV1QArF8h0ruY3r
rKJctKEqc5F5syiU9RvZP5auWSO4MguOH0pzIYpKzQBiC9NWu9EsZySwyaDlQ9xYamSFL9qFAN5f
lqx7bYqely8zWDfdXZ82y5h6La/z4UHYRgs4GjWCrT2PkzZM99Sl+M/4opPa9FgxuwGqaHR0BNyp
25W9dzOjSvypSlx2EEwAGm4mBmiRc1Yv10oj+hjVxQixjzpXfLpTfcPrezhe08Z6rTfiQa8dPqO8
SDLSBL01KqTattuD/kH0GZXP/zRIyxKxdhXWgK5CrFkle1e17kWn46/GrmYqcvs/uOOTrgMM4cGp
W4YevI1DW8qyGPzJLCnz87yxJy9HbNWCM0zgr0RYMGEhOmwjxELnf5Xa/kiEzSUdpSgw/Tw9uzFQ
8N5Pw3VWMCde/kACEQEm+f+YhFSTA1km4thbcZ9iVhjcXae0CjCNI9uvuljzk2jxoTFyi47Fn3PD
8NsJDBNev2pD/dfgVukHARWVSgOD4JSmwvHbSfPPrGk7TfJuwqKOZeiOwcytZIJhGD21V0Igdxxg
+dA1N4FNV8WokNTk2j1mnkYN0JdpXJEOL4x4bUW6n6NViiX6/qdsqd2QtzBN/ADobDAoKFkbuvoA
TkxRTkjzF/CutET9bAcbZZpyqacD6Dv3Mbd7+27OhqKHbVqrnOaGmq8aHYd9NQd+5gpAQL3BBzs/
ngBew2CsAgDw0blJjZNWHQbhVGBS0KnYeK0sJzENcw2rAKmlcUzst+938cv42Pu6PlhYt/kDTb1H
AmlJvTG92Qrzsvlt6Bmm7zIwu1LuBEtZIrLy8VeXZFcp6S+Wnu6pth/AKJb5uT1eB0I+k9Xhv/84
11YpYyyWnskMzqUf8l39Ara+Z8XsAA2J2L77ft3bYQf4MdOhzWysr0tALmUzeMNrnVYtYqaHZl/d
NAeMal6xrIo1je5lmxyIe06DbDu79B+LuM3w3IWu4z2Lzxstm5lrSJMhHlUMAQMvRemXC9hh9Mle
2jNn4324YLOTWN4/xjbDS+DCU302YAy9ooskJjNmDhJQGcagBU0TXazICb7f0K2nbpe32dDFBEEX
GBXYO810UQ3gfcp/OywHfU8Q7S1MxrjrJzM2O5hzVVss56AL946zp0KUF7i0uzMDldvvtFqBeI9r
GrqJuYXtRSFnOo9FNUKpZTFeEvUr158zIlAvYqIS/ervd207BbM1tjl9pDYAQDAYk6Ae5MCuU2Ce
Eo3h7818UUzb2tls3TC4gF0U7ExE83sCergOsEZa+wrEFfQidPsOqntxNshznnhuhVtPbGpDOegT
eFkfateA630erLpTINe494af+mgIX+vn1FS+iBZgwYS5uKMI1P7s97eVPoa1pGq6dmxBHFlF71ar
oHosO/CLsy6sYzOAZsN6DpKHydcjEtjmfuWe7c+divX7fTyH25+x+b7UERnXhUzQxu8xcl65yZvu
DHpsVsII0sRw4jMf+sR2Q+fQResESYeLJ14+RxkdxaGlFVh3H9JnO8PgludELfKOwsOgZG+F3I6Q
8YBd873h7alZrxGo3ZuuDoV1BxfkZ7tAo/IOfwPMHre8n4vkQZ+6P07my6Ha9/Txe2NfRoPfrWGw
ynRchq9rbVZZIiFIul43PX7hhnacQ4QBc8Fv00FF2a7z9eP5ea5tfNuaXP/8wz2pma7M0hwmk372
O4CRpDHOJFcnTbiY0bJctIJca3NIFTMbq+CLCX0Z0IYW2wT1sL7/fuu29977df8ha9rsnGktptCa
wUQ6XzXIugt2kKSMxISmPhK+2U9kdVda7MzStufg3eyHLGOztGmwOHXXPAZj1eB+3rTDT2ZhOsk9
M8NItynEuyG4BJwROTe28fNn6ps8YeOINC0tAxmWVwQ4xGV5dO6TGIM0h+4BvCS0QgOA3Hvtcmj9
pvdK4E54Z0oFAJoTI5hDDJYHlX8ulyMn9t7GbLmhU3xb296OPIoC9W+nJdQr/9JX96Be7L/Ocx+q
kITqT/Zq7NBxC+e/YEQWd6CbN1eAYULQhJFZZmESqjNHdhsqsFWOjgsOp8jCsOl2mHpY1JwNE3jc
Vd/9TlwejBK1Y2maZ/QCvlw+W0ObK6BOEtdwBAwNLeb3BT/UlF3zit67WXcsbbZD4xf0p5bZnmu4
56yfOFWflrmJTOnaRqwxiOypgwwhDRSDEZT+gdCbt4rmgL3FAufh+0P2vUlAhZ+dMEGVhM4RTHbk
Jrd+9NpyJlP+Gm0Jih6HQeyXQolmG+VVbpuJhooBWplAFsFMmDCdmYHwUBtQfMNgzffr+eopeLkK
XS5monxen8j7vJ4lzQzuYiTTm1N9lwqxswbuWcDG/70ZHA4HD48B88EY9GczZdehYkSXFcya2Cn7
KCG/9SwLvjdyouBZMQBqO5Dk0E1mbxaDgjIbGZksb+kwUgW2wc/R7o8tupdauVRHU5AiMDD6xCby
I5cMaH/xutT5TZPzvzWbf33/c74Gxs+/hnxe8zCYQlAXIxYzeJDCmT2wMyIyYcADw1/fm/oyDI3H
CD6tfBP759yyO2B52F9wz2KQbP1Vk5PuwNUO6j3/Rf0ySCP3zFf9ehiIbaPpivFj4kILZfNVW6FV
Y2s1WOEkUsyQdA8Occ9JDZzYRrBLkOvZQHaQ8W0+KgaS0W0dcCCEsI5kcjAgAPL/nF1r6pzMzylT
xGWGCyvAgbeZjjnbjHYWCJe1qWOGcPZp/TpMF0Z+8/3n+nrGkU7ZOiWAOXCXfTkNQ5VYRWqZ6EI3
h2kAZJUYBK3REXT6HAnzUoKh/L3JL8qRqzlMjBsYV8fXItsMZLDQYE8nCpvms9KeGveJVyBYaRcz
DV000VWWoviqIyp/fm/5q5NQpOvAcoz1JUh3+/24rcyhEqbp0QQNWYzEVR6xtPnM+siJPX1PC1aE
DHIoW190tMGse6ZMLxgCkO33EDvACG66s6IOlBfP3dPYOrjPaFWPF5av9uaxvSmDJk4gFft2Rul5
9fuPpQH2GjISOrwFIkH4x+Y0dlyXciH4LXODgRZSYXJxBC0WvfTalwqkcjnynXRajHym9r8V5FuN
E4Ohj2VjHwC5fA47fZrSrHFbpOsY29SGX8lw//0H/SJl8W7BxCuTeJmGgtm73ikf8uV5sJoSg3Lm
SjqGUAAmsEnmgyfsr8KgmBBrg/a57QI9olB6Pi998A4GbLcX8eD/7K/H+IN9mdNKEIEV0hHdLx+t
gWrvRKv0eZVFovDJK4vBpQ/zgO3b3ZnFn/AzBCKo7uADw5m3fjYYCqEjK5BzoLvYefmuCLJoOLoy
no/iEvMRgeFjGOBe03YYVPre+NfLGneb4ZhwKYIXAbb3Gzqh0ky5RTyqoLpy7YyP7jmd4a8hEGEP
dD7UKlgfHGizt0XfOALcAK8yQdNlcGH7QPruMJj8zG190hKUK8gq+mN/eYhgGHnWGjosicXyOWv2
oCFBMeOltekZ7eQTeQFdtw0Kr+/iQvrGYYmTNFOXLti3e92fA5C5eJBBMxozWFAO8CAZEJxTTDrx
qSDVTCA8bKBsBqL1eR9bnMt5mnDR6ymGPQ1tl6NuLs6VlSf28JMV8tmKK5Fm2w2sgEDx09FV1GKq
abKLgKEl9q9975OpTUyD0MhcuilMWYph5rLzLPKLaGX8vZWvkRNMNpwqpNEMx2sLikOPxCw1VhJM
8h1Udcj0CynmvTWjeuPXtLlU3b/fwtUibnzIqLgW6pnPWwjwm4hyKQjuYuhS285l5/DYXO5AmDjj
8F9kY2yg0kjsLYOhSKBfgJSKiIKPSEKB3GYPBcYFnpNHdj3se7/2jfHGDTDcGSkN/GUPbaSrIT6H
5Hy9ij/9AGdTvBSVZa8tOTAcFhoXEIfXoVzy/Qc8kWd8trHZT1I5Si/WRfbhBGJttEpio1fkxGhS
h2dVw77W3c6KCOBhb5xsgIKbcNUB6M1tA2N9ovxrdzeIHb6oHkECDQyQgtBEPbe8rydu/YIuKnzX
wvMu28q60vTeBdMJPGWomICUtushAqFLJDb5sYKmR74mdVe2Xf1xrFunwKjwmD84ECKYwNkcmXHm
vHzpBsCnEK7RhIQWEMClLfAAEtHUDwu4gGZMIyZ8FyItEfNXeMEGPR9CBWf1/09tAcX7DoBhEd2c
7Qsy8J0JUnDrlK1T/14ANaVj97ZMoCOiG3/Gm76GUXxVEAYcdAWQPL6nAh+vejb1SljgayaP5gGq
WZoPwDMk19ql66U/5xhgTuudvePPWd2gGk6laaPhwCqJ5wAt150FqQHUUurGildc2/zBMYN7tqn8
dWNdlOImvidIc1/zqt4qZNOnMGvG9oFNno55E0zTXk+7LpxDkGEHKFNnnn5x/pt+jbufTa8/7cM+
F5XrVqmEXJwZD3tjZ+9XtLWJ+3PZ03pLfE7dXB1SsOgw23iE6ItiIQQRjdwwVt+J0x0ycx4w376G
Kd+vLs+Fu1OL+mhssyhIXJgVULL/LuqYx0NoR/runJkT+fC6KLgpA/YH/eZNyMOTI2mfTbCj/CWq
Lsjf5md9m0V2AMXyYIhHsHz2gw8CC/Rjw+8PyOkl/mN6kwD0aGSVEipa7/spDnksI6jlRM7+ezNf
L47PK9xc/qMNcYvKhBkXkj1TfRR9d+6knzOx/vkHD2w6ITFcABNTRKPMV4/I7+09LsmQ+m40Xcrf
5Fw6feJC/rysNQ58sInxhoKOCjbb0IimG4GhPbVfAwxI+z4JiqsCHQdxPz+ix9XflPfn9LdPrpmi
W00B1VJ7i/XNjSxzvqxrxuiFMm7E/Pf77/Y1kGGBHwxsNrVwemMW6wLnXrvt5mrXDdCLAbH/ezMn
EuzPdjYbaVc0k9yGHfE0B5gzjNPDKuW6rD1A34wwdHsmkJzbuc3R5qLDkOD7wihyeLS+MRt5Zk1f
C73Pa1r//INztFUp+4ViTWuo0i/zW6uDPBcmFLz/OCUPtZ8JhmR7XzoeQNPvzZ882B++3OYKsusU
dLUE1kdVYUIguyirJ4KSrMZspEFv6QBvffne5Ik9dS0LQI29Mpq+0qhAnaZGNi8ecy5zaHoQDMl8
b+GEO36ysPlqYsZzEmBnYn5PpFNQgKcfddx0jxWR9hmQYv1PbS4aVK+AYNCwBO61rb8MSOnpjtYv
XmpiINDN/bK9HDBVMBnnru1T2/bR0iYEF90iucUHzAI3b4LeM/cMWHiiI4pC6MNStsFXIkVyMxjo
Au0+3VUBXiXQ9zwq/TaQAcbdZg8i1/YZ/z+9gQhL+CaITFucw1JuAoFPbGDSvpECuA5EFkf6x8ib
M05xwtNd20AnBZ0qPLi7LflWegMmglaRpdnGnDN9nPXk1sGQKaaqrUcyToDvsiGwZfnwvTfS9ct8
8RHDcR08uoBn+raln56YI1jsDRweGoKYr2F490M9Tvtqv76ug0YibgIwpy4BFEQyoE/ukey02Lyu
jtkTCoz1aa07J9CP58LpicjjOnhiipgAvnEaN9G0WHJlQ0188SQX2k6v3Oa+hE7Yq7KG6jrLQDGF
JEu1+N9vx6kPDrFWHV2n9enKLU6bAlADrTPDXcHs4ZYZWnu19HK6bFwdQ8/SxZju9wbXELbdfig+
UxO1FLxsq149DayRqQ690dxiUNPA4CuDkJCD0Qo7Atv4CnMZ0fcWT20syjaU3nhOmOANr88hPbX1
OUt1+HTJFajpS+Ych1kfrvrK1P9m1JQXHUG/+P9hFB0prJABX9he8lNJ0Ru1x8UzJshSQQ2xM48j
1H1MTH4KwF/fWzsZLdwP5tZw9eHagsiYpk81zK2a8Utg+zN5fx8NChArHMtfisfs8lywOBXYXeys
S/HGAwO5/LNRjCtarYHxKegeSIj5tY6XynGKzQlCAd+v76SXfrC0/vmH5Q2LRWRDYGmVgmrIHC7o
6Y3FSyFvvzf0nrVv3ROvuIL8hvCHF+43YTfPLasZC0QH97J9yndtKK7qHI01HrFw7SVoBwZMI/cp
RqPece5zpIJTF8vHH7D5kh1487m9hicO0bjU3eXSPrOZJ5B0AJQf1rj5biaVOH8lTDj3UOOgz+IO
AmW+FkKJ0QwgoBwOt6h4w+4sEnXSTT9a3nxHvGOWJe+7OwQG0v0imo7k5+B5kMhBiaYFGIs8l1Kd
ctKPJjcJXSaWsdYaLLaApIAGJbnBqiAv/va935xd2SZzYw1Nl6KFGYmXDSCX44sDOCtaOPmul3h8
1xyay7OE9FOX6PoSAJp76Augxf75WIgK00/FuraOtD9HoNqp0z+1TvmKubwogd5x4ZaQLT2n0n4q
hLO14Y4zT9FX3JyRdAQ5XK4u2mRamNaPU85vreqJl+SYghmfn3vw9gv3zwYo/NHg5kw01bKUo4LB
KWrBIsh8+2C7Pnu1QITLgjYYn5Nr9newAaDKZ+22fEN74Swf9lQM+vgjNqeG5osaxIwfkSlrZw9Z
kKk91Lta50zf4uRH/bC7mzMypWBUyHWxgFIvqqiMx/UJ07O11KnqDZuKyWxgqKC/b/GLaeF5X1Tv
dgwItYUt6NnCx5hLTH9Zjwkk8vx/O87wn+/4j0ny2V/zsWsSpUEmkplQf1Q7LsiZa/f0Ofywqo1v
GnM5uLTHqtaLkGZh9zDd0CN6dV4BkWQoB0GF1oeqb3Dm/K8u+OXe+GB346IYOoUo6XpvrEx3vfaL
e3aXxhizi5orfsxCSIW19Rmj5LSr/LOfG5dMRyvveAejZqygTsX8/s4MJ+gK/rGgX4C2LDTaam+4
gt7jCqisbdnCV3FzaR/JhXbbPswvUGg49wnObcXGgUmvEgaAeP1V7dXaAH/34eGpuaJPkA7AGy/n
2NCnj+Y/+7CJ8ejF8Vk48KtR+1E5l8SZLsQ4hTzvzuz4CeB9jUT/WNqE+VFhilmuHpxc2gdxzA8s
JHt6S547b/CLS0CpZ/zq3CfehHjXljUtMNiFlwqTF+gsx2K37MHKhcReCDXWC3pZXxh/tQMkoNKA
vX1v/aRxNGstwwTSCej283kFwQMqLiWMT1OdRRW1yA4jhw+pXO7yqftf0s5sOXLk6NKvItM9NNiX
sV+6AHLnziJZyw2MxWJh33c8/Xwo9agzkWmEqn8ztZnaqovOCHh4eLgfP+d7ZzEJVlV3hV8vxEB5
OqZnx2l6HoD7pDQxx634Sk/hEfgWQRASCie/8+9ggdzBmwBJUfLFvxVX0UpYMRkE49MOANSd9gRp
31LB6QLSke999HvMvveIvIIsG/we6hbiT4SsaPRs4ILY+gsrvvRIOTY0+87QPshNJGJo9Du4Z7zx
sW/ABEUSSkWjKOzkYkkd5HKo/HNt+qwviCx54yfTHrdfstf6R7yCP8Ip19o36aAdwqtoE9+IS9jN
KcJ/8F3P3mKmnDaBjM2St/YkXe+t9X21Ebbxutsp+4/d9/JpPVrh7L4Z5Uw2SYGmjo5HLYg0N3PU
PdSw3cq1tedgMUe4bBGNkKnZC0LOmF0/+pi4XRBjEXar1TSlUDjZTQJWf1LrzZ+XagYX+q5k8ry9
6GUzmXeGm28jJdCNPB6ZipA2+b2ygwBMvBsP+oYyxbAU/S5Edksk0dRoP9J/nc8KDmEF9g/GGk5l
v3IPMDtMgUhwesQRu6cE3svDb8uOkzNQKRcZTQShAlfULAbljVRF9VQvaDfRo2R/79GS6xGEXGv0
Vhh7WLi9LjwXTszNXEZjKDpNUuoheVI+WF63a9z3UVgSu5UunIMTMzM/UUET++gO8KBtJDtx4RXV
EQLJbnpzI4q3fv/VML7EaClImI6sJanJC/fl1H1g5p3Qap1V+Vy/ipmYxmskhExSZJa0onR0CcgK
lJkLZ/DiSqfpFVoSmkTL/vQOybNIMtJJX0beUtxZSztjnVzDEkw28vs6WL+c5U9jc6hDJYVczwRP
m6PisnFUC8IKwL2mff14WRdPwpGhmVfKchcYYJsJ11W4RhsCUqiFw3bREY8szBxxbEujqyIswNAE
AUgHwfPV6H363y1j5oadpw4pPE2D3UE3rkvwgS+E4Ev1FGZ3pkuctZzjEq0gzhQvZhnBTxkJD28N
HW4cXQ/Cvf5T2yVbSABInYxVzHsO8ufBCeWDmKEtHh+a3ceL/VVzm10+J7/L7DIfetXXtGlLDaBg
8iqHj3eldqt2A1HbwQBBGuZ3qraZZKCnX2z8mSHGgoyV0/6sXzzG2JGKgOn0Nn5tWtK9aLM8UnL5
q/+5XbPToreDN5TTB/ELlFEoMlX0PxlVXjiVl933P2bU2dUPt1eEuh87UUD372fv1vD68V5fNGCQ
MtIYpzbxK/c4Ktj5sgEuOQlGeF4YPA6S4LPfZwvJxMUodmRj9s6YOP7CPMLGIHXXcI2tayn5ReVb
m0tF6yVTsweGkUFBZlaYErTks64zipdEW8/86Zbd2/9u42Y+GjbFEJsyluCUu8mC6Lbul5La6Uec
HYOjfZv5GBz1g94UmOhoC6tita7hDdKiatPColjIkLVJCyfvUq0BRKQlQ5DCxcMU7uklYMZGDWsY
bq2hGmH3YE0SJ72S73RbO8Dx9GDcLyExL2W3JyZn3gFYuVd5qg3kDTLzLZt4w7i0rd/FtzIwF3Gl
PPvrxSrAJT85XufMT9LaagNxMsowwQtAODfaARWmZ0fB+KFJHCY2IRdgLGMRq3GpqHuy3pnjtHXc
lFY7rVddl/t00+6Ca7htbidhvPw2fwEVT8IUPpeLMwZTsJj70/GiZ/7EIy5IpBjLUZB8Y1QOAuwQ
yjjar+usiuH/Kd8h8v4i6HTVxr/Qv5pwlboGhZ0KOmt2gylVYMFNiHGvKp2GNm8wIvck3AlLnYGL
qfaxpSnkHYU0Q4KyxwyggdMQ5fGb9LocgcB71yJsvh2i4BB8w4PeSuMqkYylA3TpXjg2PjtAY4Hk
WGJi3I1sUduoP4tHhLB26Wf5Tfa26au0hmXnL0z6APU72tzZGfLHtBus6dj2wURT/NDCC/xxuLv0
YLKwAG+DpVka3/F0V80e+Y3Aw4Qud9+ErN4oVbLXRfjzY9qttbqCQOaQR+Y2DKJPccgaIcpyIHT4
/QEK1qqBNrSYb5ji1OkvkpplB8Ub7Omjp31Ng3Y/iuHzX1kskxNUVMi6cddTG5wTUWxUFgtr87q/
bvcTJJ33Lw1940XeLQX6yy57ZG8WE/RRrpj9wV64b17zDUTagHPGF8iPF8fFL8yi/YKFWir0Gzx8
533dRIGhyDKwNb0Nm8fsob2LGMwH6MdrW3qRbuJv+fNSwL0Ybw3GGP8wOnPQXvRHkBgY7aMMSYZ4
VaR3rvfd7JYgqdNOncW4I0OzLweDlhuWHgkTNJwHGZSmG3SrMT+E8lMip442LHBWXHwggrL9z8pm
n86KzJLRLgwKRvpUQqQ7wC9vSYcRHRUt3pYwaVnNayENcDNbO6u6W3DVSwncsf3ZcUhKMYjl6XP2
dyTkaxDND2iK3pMVO+EuXKfbJVTc5Qv7zxXPuWL8sGbyKPzlQO4WmZNn78EWnNr+mjI9bW7Sm8XB
msvnw4SllQkRxri1WfDJVcGMoXMafoG9ssPU/5gan+pueTLkUiWREUMVa1RTpwrR6dk34Nhr0deE
eHkLuzzXc7Up9pOl6C+F1CNLs5djUUqWB+cO0mM3qCMom2YbPaMi5BgP3n12/9e6uidLm93BQsGQ
4TB9OXXbrVUn/DLVhFDUsPPbKdOKEMKVHxf88+KBPFrk7DbuTDUQwxybwWAbjZ3v8423Nn/Uh/7g
XvcO7IXriQZkIKjqS2H8YtQ5sj1zG0mstSKZPqXIa/CHzyj/Vtm5q+6rf6t/gSGdx+u6vo02i9W+
aSPPotCR4Vm4Y7luXQUYrqeXq5OilMi8b89Ek+a079Vnf/vxLk9R7SN7s6g31Gpt+dNCG6ABjfE5
TWBxMhK7hN8zaZcQb9MJ+MjaLOSlviIBesJauE8ek7W7f2tW8SNsMotjWkvOMwtuoGV8LU6xVJWP
alzDlY5clFGsQ3XYdjC1d260/3gnL0c3E6QVFGvTDMns+KdSZoWxRgInojuhrhHUvCbCrWXGVdD4
wGcCW3uBTu5rt4R3vmgaSgGmfwFGMnE3+4pxNKYtBCWoZKxQEGXaiKfrmhuMocVCZXCGSlydQZpg
7T5e86VdVnnr8fpneprprtOIB7xPQiYA4n2z5N5EL0NJtVVv+bc9qJMATQ7dXZjAnQ7e3IMMCJ4Y
wZUZ1plD+0whivuw1civ6jRFniyhj26HRcPEZCMb5urj9V26IuF1gVmKWvj5DFnitZKVQzdrj7KA
wobnXvkRSjUfG7mYIJsK1F9Uahn7mYOsXLmKAz3g64kHVEuR2oAX5xfIWvvZ7N3Py/3bS5sIootR
H01VGJ+cfTa0MRojl1EIMAt3rY6kOTHSjcESsculIMpJmG5CaM3Ih0+9o/UrWUB2k9NuIZmuPrXm
0xBVUBYvZFKXlgPKUGFUTAIhN39gVEKseroFe22eoo2umck+yfNPyrCU3J+vh0aMyCQhrxmmTued
H+B3OWSw2AldHSG1Jn9yU6+975VOfTWydLPgFufBEnPwMNCLFsFvzHGbg+sysegiSgr9uQNObavc
Wg8T34O//n2+B0xBH0a7gLE7GDZOv5TkKZEEFyimfHE3xArahsL3j5dzfpQsmWokmGNTlfG72Y1a
ZVrr9iOSu3457v1hPNRluxCNLnwfTODYsIXqOqip01XIDFzobQsDgStTcfYMGKpFNIAqHZprmKlj
5/dXpE+Nc4aqAdfMQ1GIckdiJmi0B0WzNzv9Hi7NeiE2nF/PQBEIQHToLVY1P0JllNRpA+kP/Evf
xfYhitHr0c2V2D6P6V/4QNM8Hs6my3jDbPcaqGktvYDFRFF/WsPPol9ysgslQhZzZGGW0OVyOUhJ
ioXp/ZjCH7AZ0UYm1lVQu4mIy1nr5QG4C1n5qdWZ42Wa1OTpxM5C5+shk3dJk19NokRxDZdQ5B7E
FAhR+QmdwY/dY3G5k7seVZMiI6ldngSIbTL4ZCoblzngbbSdcjnE+VBs0t5hIlmsCJxHw9P1znIB
WambSgn/2OWBoRIZnNC/zQKNUl4QzoWOeDnjuuiqR193yhWOlpvmg4byCrqSmZdct22LbG6CuOWw
zhA2UHJ9gTXswvOZdU6Ej7qqMB87P36lYPge/DHIOP7CQ8NRaNoR5MAWQINBXBzIu1D9OLUnn65P
H8feKLymh5PPUQ/yJFs66ofS3LxNvXEPtnnbz65zA0bZpRrIr+L5adZzant2NqsoMCNLxzYc2JvO
vEKEr6W8/kNEyQ5lqjUqLFNDa5omteJdD7SZUXDkOCuuXqeizWQwo730W1128KMvMDvPamxWQm/w
BSYHL1HuMu9LfS/9mseU1qN5H+iv/4XZabEfbcbsQKdwmsO+zWZMNGwSWvKRE6ynGft+Ddu5ASR3
GfB24S4+cbbZWU7LPHdrk6XG+2CHBpm3BmyyLzb9e+osxclL1xjgi6lCKRkyo9injhaqUi3LZcbH
juRgFSEs1diWWcnbumjia69FCGghUk2uO9tRBWItkkEJCpSzo1QEMBVJCfqp5WYi3UspI/qf0WLY
tttlZ750cLHG0eXZoPC/eYDq5BF2NKRsQtN7bz3zIQhLR0oVJBtNhHvR22zz6IdH5r2ShVxbRYL4
NCAR+PGiL4RJhjM13krMCJ2DFrIMIhitDwFECUi456UvrvIE0hlEfOqF/b1kigEooDsqLObiHOmm
NNpQKYi1MUefmQiqJM+65D8D+FkqcF8IwXCu/GloFoIr0l/TdTGkQe5iVJ5Tmc11ixxvpXWObKQL
ycmFZ6c1DfmQe4v8c54QS21XDa3HmNo3y7IRjCzvo6txJ967n2jwo7QS/eDFdFAfP/50lwKPQiap
/ZqjgolpFg7zuEnzLAxIVSiyCzYcRdG9v5kKl2C+3gfjsHy7XTiUCpgo2HnI/9UzUu92jBiQk4XO
boX2To4gaI5MhMC14TmvenUhkb2QK0+Lgyl9GhTDD08jQJoFwiRfRv6aihAuolsZVl3wF7yS9yaD
SwDD5bN8r1SkokwlBJa0VHtSmuSgtIpdJQugx0u+j4mJrlI3GX6bBbM0kMwYuonOzuvSlltGejr0
YPX44WOXWDAzRwWN9JjioGQxTYTCvWiXYu8U6Jx/bGU6P/M4ebQYY7oljlKcPsihRA2w0pdfoupF
qNRbK6iB7jx6wedusaxzyed0hfhE5cHAHWZ7h3aj62WN1tmCD89gKdg9goRtnG25HBac4ZLH0aRj
GIr3DEOCM1NaUsVKWZI0uqYJRQ8Cioq1+njzLn2iIxPz4j8yUnqni5iwBGRooxseGzYkPZuPrSws
ZF6E61A+a4ya5MA3QYlL+bbRhKXE/rwbbinHK5mu0yM38HiBxmXLSpDv2qpN+20U0zsGDLd5pW/M
iLir19Wb0eX7Os8WjF/yiWPbs9A3NnrZWKiUQCx4iHB0QSmdkpQ+VdqFnbwY3S24yH7VM5mqnN3T
ZZGWRQ1zMhQtWuxIG9VJdtKV4HQUit/0t+qpuPM21tNf+X5/Gp1dYXqppUKYkGi5vYVO8Q6emIXg
eimRp5YHExWDor/ur9PP13RanxhoM9riQ71SvsT3FWJddulDDmmbP6Lrfs2Ero7gieQsUsFccM8T
2zPXaaARGvt0so2cTdq/ZsMS8PPSZzsxMfMQGZKtss0wMaEx+xVqzpOMgOW4n/qfJli3B1CZn35/
PMM6MTqt++hISI0vSHoy5XQoE/kqDZvqUa9QaRMX7v6LG0gwpCYCj9hZGUkOXJQBTVIcRAdXnX4N
/HUhyF/ewCMT0xE8Wgs6tcAVNEzUK1hf7oMr/21CFqW7bjOskjfpvbv6K08pctE/lzU7a5EGB3bl
RxQptC+o4r3WXvneC/LNMGZXgw4Ohf6PjxKAUt32WbrN9OdOLlH+Fta/ffz4PaDv0XlWn5fQQsEo
kyFj7ZL1ZpGfxu3Xjw1MF8nsCj0xMHMUoR7zVh8mA6hgwYdsRy1Q7yTYZ2K1UmrUbuufproEFbvk
NehxTRBVqMTOWIrdqI6jukGarvNhBUQN2v39IVSeNAaNOwXO5alcO7tBc7+KzDaHojhz0Sjo6BzQ
TvO+j1rqLzjo2WKwRLVb47mmMg/+a2TsyD8bBAHpbNUITTcJMolyjti3az59/J3Oy2bwJ1Dc5LUC
cQAkerMwYlhUnnUzA8YSqZ9CTXDk4mcryrmjI4bdd8q6Gzp6FTzyfWW1YHv62SdOgm06LhRxIZMS
9Xk2IuVGimgpOuWdulEP6pq276ocVt2baZd2evA22eePLZ4ldsDKgK3BU61M8MW5QdFDHMwLC832
w9dA+2YIN4X/PnjGpI5oF+ZCsnp2BrBhapCBkRIzEDSvU6tqCUFQFkEthxTdJvA6Fc6xapXq7nPj
GYe0RX9yCHJGgzQgwh+vVDo3jkYuzQvaChSWz5pN44iUX5IPJgzB3b2EZlc/+kjqNrsk9g5CK7Nc
Rhl1Y21E9TaFowbev5XiPtZGtjVyxMerchXU7TrxriR3ybXPHrDARy1oIqehsIksfeZ0wmBqXpX0
pl34in8Q8xyBDwH15EIt3Y3Ze+1W0o1mIeadpVQyEhiw0E09Aygy5h8/UsLRU7WI6mGd/ZBF94Am
3aH3UK3tY6twPt7/syx4MsZLWTc1ih9nvaq8VPKWLolhl42UbtRKdNEGjZRdgh7qwhG+sJkTxwp7
qSgUE84QuWbiRTBhoHpa+L1/oEk6rAM1jn3bytumdhqd2SlGSlVzCVkkz88vA3MqOi4oJ8jMHs8t
tyEKzTk8ijAVh6P1bEW5le3p2xaPFrRcECdbwoigQ5K0OTqWCQinqkeLxAl0IcodbdQyqOoRRREX
Ulr5LHOf1LrhM5/imXxOTQt8dlKaSxS7teBTVYV2pyXSk+uHvRPkgWgrWgWDAF2JQgXay1jLHeCI
Qxcy5pVnh9S3VlJh6Fs/Mr61geD4sffFiKKV1479QpZ67pSnv+ksD651Kwy0kd+0kp/CWEWmUON9
gRZOrQcLu3LZFPc9XSYC4Lwzh4AnegshpjxZ6Nd9OG41F8mASTd20IqFXu2F8AMHIvk9SQb597xX
q8ZDIkAQDNm7HJBf+zE9gmE4KIWr2qnQbkJfBHjSC9usyxa29Nw0fLA0o3WNIMGdNnu902GtfLkH
nCEl/l2n+6jAacV1KmubVgw/F1lxNRTlHSiOTx8f+fMHB3UqBmNg3kG6TDnjMm10TcbDBs1Oi5Ca
fPNN0pVHretvY7dcmY3olKF11VR0Ko0fqVk9tTTomUQpEGLt7xsCk2QsNE/OP/nEVwsFCmGIiuEc
pYokYSyaTDrDzPOtZS5IUeGg9GIHNMXCfXOWrEzyQtMjkhFGpnznwXXsKdWlXYn2avQ5F74E6ZeP
N/f850+crWRcCgPMU+P3NFlXFD9qFTcB9u8qEtGsUJpmL0nhX7glTg1NMe8o6xpBnbjSwBORtNxf
Wc1w2/Tds5xp4VrpxYUr6fyWwBjagXwkQNN8p1NjXTTEbYo2qp1IWnw1Srp7X8PQszVSdYlh4LyY
isAmmgXkBPTSqIfPdrDxS2sIOviKwn33IjGvC93Gs7t60xhn1aZmytL85fm9hCAJFX54wfSJnmt2
yZdam6Pwm8u2oKtOUee+rfZ+ZlPh3KsCDAqq2y9xRkzR8iSh/BX34YKm1IhYyTzjSvQkDbKGjCsP
rFstb+9z0BAA+fNrLdXffST9kqpcArudHzJCOMgoCaIv3qvzdbaBqYNeJq4aQ97Zal2s1bRc+R4s
0Pko7/0igo7afwwjdZ2ryDfHSbpWSQXaNHVakadQa+l3glov5LrnvmVoEAqTVyscGz74qW8NgVv2
kwQ3qkEhKAlR2GSJm28k2a0WYv35S5ptn5QaEXYCJUaF4NSU2SjegDSzYq8Iupg5KKt+F0GY4f0Q
/XXtiHb+vkjaenF9R0anz3J0UItg4OqKMep+k77IB283lT8CR7Ts8FZyoK0UVovP9/OE53Shsz3V
xjgLehmb9cqwxRdqIN46glxO3VSTDtSSvUueNY0XIG0Kbc5ZZc7QekQ/Js8SK/lR9dLCKVKU7s2k
V5wh14fNxzH2fMJz+o5H9mbJSDd4BSIc2KvW/j2A9X7cZLnj9jslWMcbYQ374jr07D5bW9FKg6Nn
dKRxnT4st2EuRKvpV2H8gAM1YaNmLiUFppTXASoNE2tEPTGPTIQNpt2+NvfFffwgLMoBnt8wpxZn
/qS3iVx3MRbFnGFtolVR/n6CcGpi5j5xWHlCnWBCEjbmLY3efU5hZD1RSwHS0wan/jmui41/WIQb
X/akP7dz9mUDOW/KssDyxGnlu9uyfpjsBo50UH4qyiZXDrUz2Onz0iWwtKuzG05WtaGVXSKymiCo
TuuEgsnqY7e9ZAI+QNj/xekKnXcJ3SrvQmEKBE3Q+nbq95HtS2K5/tjKeTubw3FsZvo1juJNXESi
kk2HEdT/A1ppB33VH7qVuPpvJFImT5hfZBPbILkMw3AgX06N+RRaq3Fk27yGca1OQxrzJh99W3Ov
9VFbmL69FEmPjc1WJhatpkYDxrL2NRruo+B9Evr6ePvOHJASPBUmCj4TUfJZOcJoYg0dSvqDHa/i
2zqM3DdX65W9BgH2wRsN11wweLaoXwaJnCqal3R0Zzvo8axUhhSDptHuTFDuYRU74m+/NWZWZlsn
+YmVVDlW1G25n1BfynailFm87Kbf9sQfZnZm4TARtSEooPCcIHWBrTAvGDnUUQ/y5t96iEvYlLMz
NbM3C4aN2kUoMGNPMusrAdnLwlukIDlL1iYbMukshYMJxjlbEwmj17Y+NryXZp09+okjrSZEtPCi
5c7wI7sWV/LOdaQf5WLycNE5JsoMEJAqUgizqER3d7AyCJlsUxHG58DykytPbfLQUfLY852PXf/i
XhoS04gkY5MK2ulZ9hp3aIdAxfXTwEZ91Qee97GF84lhthJdPng5eOXBmDxzdh2agTREtIo7yw5b
u3gd0SRpr+LvarrRUfIFXn6VR4ABla/u68e2Lx1siptMWwIx4Lk9e1akadR3ok6NeGhUOdhrdek5
gmmU1SZKqI7a0I0G2e/vKO9MCuMqiB5Ujmafr3Hh5olkznSnlt5K1mJ1ayHLtf94ZRechOIW6QdY
2Smvn62sElNhjALoOsRcOABTetSDcT9a6fPHZi64h0qNZGIxhvvxDM08jnIg9AFSbuA0XtsuueOt
sUTOf+GoYYOoDQ4ElMHc39Hg4PtlvE7SSs8bx5PCxFa6FhbLHMhlAEc58IbSzNo7Kc3BzH68wksb
ydtzIv7hnzOOGuZzgl7w4s7OCiYsxrp8qsYa5VctCpfKEOc1GIRkePFMPMhUAM/UNwMv9j0w2i1z
uYxxjyt1PQ1Xl5+51qCqsX5CJ7lyb/ulcvuFJTL9INFEAb593kNvLSgYS4gD7aDN1mJRrHtDc5R2
CYp+lhawOpnRQ9DvJCNnqU6WSoMiF5gxJYZkYf3xhe+hrNhYX41LIocX9/LY2uxyo0baUg7FWrsp
r2Un2jUPyUHaCevmi4S6gnSTPiR3f1x1/+et/7/ee3b/70ut+tf/8O9vWT6UgefXs3/9103wVmZV
9rP+n+mv/ec/O/1L/7rL39NPdfn+Xt+85vP/8uQv8vP/sL96rV9P/mWd1kE9PDTv5fD4XjVx/csI
v+n0X/63f/i3918/5WnI3//597esSevpp3lBlv79jz/a//jn38l1j87N9PP/+MPb14S/ZzdlFKSv
f9u8VtnZX3t/rWp+wj+Qz0SzCLVXaVLuEwnG3fv0J4L2j6nPMOmIoCNKyUXnj9KsrP1//l3S/kFR
Ah1D/mC6gnT573+rsmb6I+sfUzHIYNqF+R0qdxQJ/v/6T77Un1/ub2mT3GdBWlf//DsQuZM0xeDA
ESsnbDg3AgUYbeYxceQnUlPIjtFlsRPEcSLeun7NSzGw1OQ2aLhHQB31lmzHGvoPjiJPBNNG2NMM
NmP/taks/cqUogzIPmcNUctWrdaJ1U2JYl9JTklNly7l0Goo6yTWXTfq8hcplzXPFoRc4Wf1RR1S
8C3lfak1hehkUNTVDqMV2oOiZOEekvCkdxB86hPbrFXtLh2AN6JCFNLAVb1EcNpSlb9WTGduzbj0
arp3Tdis9DiLYyRMCxHij7EtvretakirqKn0B6lV4oOp9S1S9n0ko66SoDkh+PkXqy+YaFXE1l15
XqIgaZkn3tcMlK9nK3lqPCaq5N37bhZRDW9ScZt0OVMgDIy7ryXtO1vzDGVfaWZX3A+6ldUvpVKE
WcYYZyvUG1XJLRfxvdTUnaaCvNdR0o7/KzRCCZAgkL4ZPlQTL1JXiNdV5ZFcVYV4xy4KPaywOuOL
bunq1b72emSSyiH/2ssealzAZpKD2EXevSYV/cGrg/FOrjM/twslpaBN38UWimQ4jJ7xYnQoox1g
eohXZSQJTl500spVyAbUqiJQSdlYXPWJlGzdzLSey2jUv9a0lL5r9IFiHmtCDzQnNIaNnKbBdeyK
GjmuFmb3jRAzSNnV3j6UpeguzgVzM6apfBWWqntAF11yjKAqPnsjY7yO3A3ud0Xrmhejl/y9n9d1
y/iHKe/7Xit2+SBb/Ig4rdmaVF6pRR7e97rn/+xQNB7As3RNuQ+bTHtRfSPX1Q0qnJkjt0G06XnU
OJEfm3eaJJSu3XhWX/0YikGsUhsiPetx6HtLX/edLH+RIdfYJIGQQuAi+HeRANseeFLRpH7iN5pM
wa/Qr6WxQpQqa4vrwnU7NGrL/ipPQnMTjmCUY7mEAUkO2i9FK2UOstWNA3YbSitZdh87IYUd0MtH
4z3souCG4kX7oIZdvmmMmPmAwIquqqLr38KyS36Egsq1p0YMUGi14LgKzTcpVIRPXR5k17Xoimu1
TLV1qrU1cuu99lppCqpog1UbryVCLV81cJbXYWd5+3gw5JXoe8E2ijXza1ZE6aYUVHHfJ6XvpENW
b1s5kjciMqZOXg7RWquC9nsJFsvOlET8XqfmcCsXevI51Gr3fohKcdVkanGwIld5H5NKehzVpFxl
uhnvfKC4zF3FbnIN4XBxbY6CdFNa7IWbyfqutMJsPRRGc20K8k/y/YL7t1S+l74f3am51h3cQQNZ
W8nqmhgIpiHUonWotMFVzhIY7dDabe6G0rYQR2kTkEI9CVFE/T1muDbUu3DtG0q6iYW6eUqoSUES
o4b7yMu1nwKOtILNsNkHcW5t9JgJBdGocqcew/wmTMd4LXQB4wqel9+LTdbdZLHa3rX56K510S8+
a2Un7BKjoRBu5NleAdd6U1tNd/CzSgVy7EruVy/TxTF02k7qb6xcz7qNp4RZvJZVV1lRHQx+yGbS
rM3KtFZhqafbgVxy39VK+eal1riqQ894p90dvnS1ONyooxtsJDHM7oRWoZCXtkV4m1ultTO1BohC
U0Qa7G0tKofQwyRRqtyqguZusiqqbi1rSG7jWq42VVPHh54n4gpIsZIQGpFSzcou/BYUWrYes1q6
FmRrfGuTEUkmoxebmyIZK2j3IfFEiENoRAk2jCDJVp6oMvbuydnnNvfzlrsg7W6jUGnu1EhSg11T
ZinI26rxCtuTSj9YSY3bZeuKkpZ0nWWR2BXbNBKazNqFWd+YK7k0fe/z2CcyKaBBV2rXWHn/qtex
BXoy8h6tzky+510bJfaQdkzMNC50hvQRIzvshmLj5VbxnhaWtjflckQAiSchEFbeArWt5YVBZbk1
vGwN7aPUotCnh3RtfXAs6O5IRu6osaDvZAVdSl4NPVZcK+19W/LUAYa2WNU3XZTk+04CCdXHYb3T
wyBXb+sh7zPH0PVQXwla3D5aTWw9ZYlcPVaKLqTriRY5ccTCCxtbbOKgsv1e0XfwCAh01C3Bt2P+
cNd4XD5l4Gtbwde1Vy1xi28CT6YSNG5sglUt6vJzYbjUYOysCqgi5ElcOYgTuJ4zWFKw770wVGjP
J/QNijTzlQ2S9i9FW6IVbIVy0W983wq/eqPIATEMl3Eph2l1QXoz5TAS90BIQjijM0MraXMIreBf
i6EoI9LCZSLlNzhf6vHWN92u37vMo8bEll5kpqmUxtYRw1GikFcYvVHexgN0Y/t4NPT+U9hosfTu
M8hnvGtuo4zXYpekwnMtjJUDQ113jWQ7YwkgFAkQfd85fWkGOyEVfbiVxzEUN23sAbQTS71YuWbl
qtu0DmN3q9VmGdgF/Y03I2ibr0FqNpzDMLwxo0x+Nq2suPcaq/1Sh53wIots/Fovhmzt+rnHI6qO
RpQBoiG/Hb1S/mFFwlg6LXrn3zP6sugNhlUuPNZ6McbQHI/lVakpvuvEsjwOW0/JTMEeai2U7Cj2
y8c87et4pSp+8DL0pfXUa6N3wz88eDUwz7QmG8XfVgBfDzlSIV9zSaKy0EfU0vajNtRoMfRevzHE
0NtEJInxNpXH4pGOEEO/bjh8Cl3X9VdmMeowXfVeudHpauzTATfQCj/4ElCpvmr7mLy5opCqip0B
jaFXF4A5RkG57cRCfozjAnIX1ON34uj3h9jqvE9FYGY3gh8XX6Sia77EkRE/jFAhRyupauPvNUJL
D0XayYHTS0mF1GfcS7UdUSKq7GQIh4OeJDk6CxVqtY6XJeq6d/P6WkQ0K3OUJpC2xPdCo4XWdQ9Z
XqCXWdYWAy+B4qefyFqTwvGzPllVRoSQZiLlMFCNwxjjCSLapYi2y5+iuLS+WCbK7aGUeZ/curQS
R+0qy7Qbbu69ZlQ1yjlq+tkIPYsY0VKDTQI3tFaD23uvVjVQ40MvZh2S3ryxRthdNdPXnqRaTzem
5AmKbVq++5hS3H3LUh5A3NWmRrNfkIR9340tbErKmMdbo0Sn4Cr08uYxLBKAi0rlqV9rQ68/Rb2q
X2udnxSfazaO6AwZGQKFEM7mdtZQirELrQcwmtZ+99wZcvSeNIn7SbJKz1YL1V/DROD/DFTXfKRZ
Hm/IhIcruStlR+YSXreR0TyJWuahFBCZniMPXDKGlOovbpc0u4JTdFD0UdlEylDum1JPnjUtVm5G
qTffe0ktV4YVGLJtCqa/r/pwcBI+1sHzTPUTZTXRTvkPbT3GLaqubZ5iuTIfxTGq7qLKR/SqHgNn
/H/sndlu3kbWrm+l0efM5jwcbn78Js2TZUknhCXLLE5FFmfy6vdDJ+nYstvq/P/RBhoNBI04FkWy
WLXWu94ht+cLw1ExwFvtkAU+ajtn8IpDHDTtR3Kk1EdaW+2k6hNxkK6TRWWgGcgcnXiTCAfZ46AH
z9QgxYUoRb7LGEPuADfSjUMIMd2xY5/UqYZQ1Ic0kEzjSRlbh7lNL+Rgyy1mtvckoVOiAzf5USxT
tXfzDB7uRMVqN7Nz4QxF8WrGnf5xoe0rdlmQMm30pjINZ181z36v+ecZB8Wrr0zK1l5v/FNVm/lD
Uc3zK7RLBJz+JJptI2OKfHxDvOZA+p2+HY2uY+pOysFZ7xpuH1rm4r4WEgZCZBlNKY6WlljPdhvY
Geab43iia4n7OZFVzMVrxYmgmfZd5sblk1sFePK3upVA22+1T0lDVRTZlVc9GoshM95SMFwGVtJX
GzH47De+3rmcgs54LN2GwBZwxUM3T8vrLNlI3UXMPfOadFTh0iO3VGPWX86drCN7EFhIFbAFs3EZ
T/DurC7nrG7ODQr5C+LNy4fY1Gs+DrvDAXnGo7ushXtZ6irfBk6tnXmBNj/TEfqvFQyOfZsb8xn5
WJRnLciXlnUBJcKAeQvHRXpGJSpfMJwjv5HvfWu7XnaZmSTAjOSsh4zl6Tq0zNqvo4BLt6p9igjX
FjujNfy9I0vvXs7l/IHuKfvSsTlESeune7tzKMftIHduvVirzjFG0K8xLqguylk6J3MjYIQ6ACBQ
+NXcfygdNey9xOoeh7hRO6+Kh/sgqIM0DFQfHBytT6+MvhjuzYTYcAhxzWBvLODJx4Y6dGun7bQ1
E4coxSIrdksczOjE9fQDJhRB6HWZfscMg417HqHBzo3/odLMdt9ynJ75+OrRTVMZ7dphaU+TKkH7
TPTPps+MZKfPlXZaUjc/BkFrHGcSubaJjXooUHkairG7pa7S6bLM6RoqkPzspaN/2Q6+9hRTWG6H
wqz3DreytxrH3DpFUZxWHkYhluzmyEWPFPWT4z3qhalXkVkYbhKWwu1ezUbD528q9QeEROMtVqft
g2+K8l6bCYNnWEaFObipeJCmaK612F1OhtQIbhdpoLcAv2vPqeHS2yKY8l3OevDCFN3qY+ml1m2W
Nc6NJ9vmyYqn5kp00o4qCpADLYv7qJqetzebHfdlCdfYtLE/PsxTMJ/Eto5nZtU3fHVa/tgVy3hY
NJcgOGG1m2bpxGVl9u02Kfv+MAmzvZ9ozz6OceLS3hemFOxKnn4GWILM0C/cWyFFP0dJXUPFls7i
RpaZyRxYwFK3tcIEdKJMfMw1TeBWZ+U3MByJVdZHqW8lm8DWn1XMVjcEBSzX2EvscJzJAcCnVWrH
UsYdDER/Cu7d1qwZcCvNd2GIjdl9p3napTX78hEN/PBo+nyaYTBl2Mfx0/Ab8mu90TbrZjvwZSXB
uVPrnghjz5M7gysZoS2Ltmcwarl7K25RNCLei/xa6OewZHMahCZL1yRkkyOaL6JxN35hJMmpKQYk
rIMRNwdT1M6daFPAnbCjgdqmessX+hXq+i/q98/VdOf//Amq/QD6bcSnz9+Cfet//QfWZ/0GZEcw
JCQemOoIN//E+gzrt5XWjWrcAm3W17/yB9Jn8ifo+tYAAdQJKxr3L6TP+41hCaZRyM3XGYDuu38H
6UOf/j3Sh7ML4xfqMlTB/A/G4/dDrWpxe5sS4aTSKj67rZ8N8+yFbh/Y8blq0x4MroJudt/5hmZt
iTaoS1ZtLyf9NMPuqd3ZqEOMC5FQtDKWEC6IwkKpb+VhHSdeUO75SbpGN8BAY7EOmYGs496S69G6
9bWO/hJ1JqX9BdQnI2Yw6gN63I36rKPN0JZCG/TLOnaFxbmfa1ax/kuwm4+0lob9oVz02j1ve7My
nprGjYmdN2avmwmElaZ3qVlDJTWAB8fuL3R80rD1Ui1KiPsSx8jlS7nEcniVadJYVVTK3J4idiF9
uiuGcWqvE+WZwuA895x9bU3jZ+g9ZGZHjaygG8MxEUm2kdakDOYvWWrejXhFLxfMB3NKHNGN+vCU
thbU4FDYk5x2c0VhdqtR03Z3bIx0cKGhY4+7a3pVNI9O7Pkk1OcVJ/lNCiJUP2ocWgiLp8ErM9Sy
tj3ZbFlgUuPHGBjGTICBqqDFVYJOpDJCZ+DIIJ+99wzNDhd9zoNzzXPjcW9LUbhPSWHU40OWzl6y
9329dk6MwvFyjCw1XW8OajTHcSfMYMRM16sCdYQIIAZ3U0xzXTxVsVsQfVp5yrskEatk/zfoi6ge
O5yK8i9mq3I33jaDqeK2OzaqTCU4K5RPm7LFmIdlwfEp0VDUDU868KbMn1UKZNs7a8DKAig8Lxak
urBMkrGuRlYcwvFKhqOeB4W5h8ceW9N+NmYj07bCGJPlCclNO5qnzlQU3YtImRNbmzrRMnPZcuQs
VXkstDTwpy95acFnRiGxNDUWvf3CZyu+4Eo9NeqcpQhqt5ksUQzNSbvkihLLd9VUqhDYpqNVkA19
edioxoYrRq1CZZFViSy3s2vEunFhjej2WVoI3mb6bsTmDbYeozG6+xq4NR23VVJ0qI2k6Y6A5D5M
WA+dDm/jwlr6QNzknjDEuQST8ommQxu1Hxp/ip+rsZf9FSXt2nunkwvwk9vLcqGmeJEP4HT1aIVF
7/W12JRG2ySrQQPf/BTx/MaRwNhsGNTnRNdp2LcG4dOi22Q5vyII/qQUDyWDjzJkm0YSYbcDArfz
YFO6viIly3PUJI9N7oByRtm0lFQrrEZp2ZHfIpcho9CrtK47991Ziz959IXDR99M/Pm8XWTTsvq7
nnHEf4+abl4HTOzpvzhq7sTrP/afyuf007cHzvp3fj9wNM6VNYgYezALHiec3X+dOJrh/oZyBq2H
jnlIAJmXwc6f0yWLP8LEAK4eUx9U8wy5/pgu8QPZnQMbSjx/rENR+DtnDr/Hd2cOfHoE0YaP8dc6
XXIgD3x/5ogBaTkl4DVtzt04krjSjA6gmzLZnM1UbU1jKkIr0R71pjnmDfsI5fSG9lVjJ6meibyh
pTQvdB9VVOJ0H0y7jYxBO8njArdvj+5NM7otfdxBOMl5YvpmCF7IKJl9JwxS/LqdlJPGL9Nn5a50
5lnSiXeVIqwsvS0z9bkzKY6DxGSA0lgbOfrPk1E850hHHHv85Nrd59ynjNJG+msHzzdCKoy0C+7K
qbM2iaP8krGWYZ+il9D3aSbtu9ztIFw6gfHcw1n5KOyivxxbtAROnsuPrphiol4YfV1rdRYcyeON
H+POci/HOA42qki7ZVMV2rSx2bs2aRcPFwJsmriYYLBrbmpelsjx6iwagOj7jckMZNwsqZfuUr8B
pKtLkW5JX0k+iCGwroLG5ID25+5TMjpgDdmM8VoaF+kQ8cV3yQEE2HmoXJAvfF34LVM9yENryrS9
shTg85A0+2lKgtOyyD/0HJ9nzdBMe8+biksikVUZKjOAJT5yWt97szI+pl5tdaHfVygtBTjic9Jp
4iI1NXntIp67TZZRxzgnaDBUtBc//0STWoqwpkRpQuqO+VSAjZKpBhfoAhOT7jJpk+HUnWgF0aEZ
kmmhln6suPjBGP3kxFYz+elmFx+DiXgRVy+qA1Q9Ixpm+0OGGO7op73/OJrgVmE/jUxiXKtczu1W
R+QCqh95QzYeK092dugw0szCemRwNaLEe6ydWV21onUjF5LcHZEtw3Go+IeiEtr3DV13nIw9LQGz
o49jwuRztr0xyhy3uwQrEsdMTG7U60txIp0SuLnVRX30GzHshwTAlpRUHJ2Tyuc9iVrti7onZY5z
6TwrOB+zEosYyIX4t7hZ9giLWvtYAyVGvZPRnsuMpzpXhYhax6EpMrWPjpEyvcw49bYaI4ijbc7J
1eS75kdzKeI2BCFVV2Npq49zprAVKkT8WFqz82gF0qlDJ3OHY7DoLueB8pgGlnhsAlXb1kxcBOXS
F89vPM5ATDCoBgI5hH1mT4/+kA3eejd2ElaBM1xYwlsOM/OQLV2auopnMNg2qP39rHdtvxstAQvP
ylmPXikI0AtyL5zHLL4oAQscOqHBfsmnPkBOTvbV/dhQVw0VsFAjPeMsQzUVWaqcbqbW6m7ZidpH
YQ20jU2Ngozh5AdsvMWpi9PgLm1qeaVbpXnZ1218nleTd1WkmY0Fmv3UzN5yOaBREIc27dKTseFQ
9704i+2zrEjsnTHGh1h2Hg7gZiE3CQUQWFmsDnXfG0erleW+a7z5gGraIPmrXB6mdLyYVd2wnBJg
Hw047JXxyYOtF/ej8E+drvxSKYPNL+YrR+DzXAxluW3rwd9NAIVn5WpfIpRu3Vp1zsP2FUYjcDv2
UxyMO1DQ7lDNlv7SxiaDs5Kqmpa/5/Oo45NcYzxuF+VzYiSvwgBW47JONDvEMpbMJvfuWMBOj90s
ym39utcnXL6lXp8pR3pM8GcV7Fq3m6+QD6yupxOPZWBxdm0WNd4Aszydjc1UTHGoJ573RbRNzAaY
tdtvTrs/2ArfshPeEHi/Hh94CdADrXzaHxmhcTcPTRzP16SkmCGehFAoCRKtQjCZ/0QrsJLQ/qJs
/ni5N1wIPhAmZMly3UT5smke5hvrZTkjzRtv4ijYdlvnBPTdh2mPWd/mfcroe5d/c1jOmlXZLnc7
DUFUd/bW645MFNhoj0PvHWvX2td6tf/1I15v6Ve3TG3xLUW6qcpeTMZ8bXmX8ZBvXD957x2uP+FX
V1gJUt+QsOMgBo7nrlYaO3sTxtmPasPzhAybY2b6QRzMkGCJdy773n29Yc+LdO4SWyzXGSNjlMLu
EvxOaPwv/PHPlWr4C/gD5lNTfU+TWv/G7xUpVSd6fQ+9frCyxlfM4g+6k/+bHcA3RcaNGbYP5YhS
9a969KvqF2REx/IYY4G/6tHfkIQCCq9qSAh0gCh/px6Fi//dYkSEaOLOwGB4tYwGVQneLMYMR1eo
3+ZO1bpwIotyKdvU+SytQ7BwBk3hNNkMczPbhXtLXsmUMVRN4mHfjIV7SdVZGsy7axxRTddzdYVl
nLLmfT5lTnZOibGIL5qKfWez+FVTEUEUDANeYXYuhhvdNQpjOwK+xxctFy7MTTa1LXIdb0xTsPO2
EXggRIO+dF88oTFFo/MUBM8VpjFs3cyavIPWysE6Se0sr6PSnsb5jhl3jiVOvBiV92Q6zQSYDtuW
8olOPMl2LpNAsAeTwOmjp7m9+1yW1OXXrp6Uxc0SD5QlsaiSTyrQHAYlswu2Pru5kEeSsCbxITWx
VNo1MxiWDNvc1pCpd1XrlRfEubUYm3eZLVEizIvMbuMpr+NQ8ysdPlHdDv1GL2BGpeGg57V3OuJz
lVCn+rW17cchfhnjicJqMAAGxlD0pfTZ2dPF6z/Oys/VYfAytWAMQi8Nhapoys58HZMZI6KN2QSy
O036YZSXLkU/TE4EbcMeUKS+7ZfCyMK4T1w9cmNDT4ZIUxYDfEZG1KHHUh9n+1yzJfxWY7LtmMO1
cnFsqhPIJvB7kqb+FJQ4L56Icujomu0SnAxJuUpEKGiXMYr1Z8OZH80kLeYz32vM4mxUVjvuu68t
uM0kRhabDl4Spipz4hvqOsVdkYRZ2VS2tu+quAUmY47pXk9iYapHzEn5uajdhRhpZsGT2iEiiN3H
GRILTojx5JVRY7c+tcVSJmjlG71qryy/dpIXMST2R00OzRJlXSzdiywVMbphQIwCMp3wCdgYs6q5
aZd0MjZBE1N9M9dpk0hZuoIWUHZDTXWcKzfC6AFEpnQrV5wZpCoxmBsT93o2pRY/TTGJYjvgK/VB
r3U7PQONI6Y4q4zSBeD2zHirFRXDocWrjGCzdHPuHEmgkx9nWOfo/RI7hoJEUWUcVog7PwVu6acb
lVoOhReTQleXMOhit9tCQfGnbZpWKfpsZr1jByepMfrryk8ywEWv6XZG0Po61SL15VfPhOToz1j8
hubCfwNtcZzTzWhWAf/sbas6jwOzIL/YneLLvKebOkly7vHKjwvNCR1AOufINjH3bqi1QwIHy2iD
nv5wgd75xcBLt9uCFiILVRXe0Fg5TqM9bmaN8TjvBTeL07lr9GA/lb1JRqU9eeMJGj3D3TupX6RH
0Rod2H2Xtyghq0mf76rW7zxelQ2rEHm5SaMsUl8fwizJ8pdgsHINLqqm8LG1nJI1kMIE2PSGoYqt
nRhrwrjNIpehcIa52hjGUiyfA5hstLx9O7ftVhPSjw+jQPF9RW/qzltG8yWzp0DG7jWAYJ2dDKMK
rK3qPL7dWl9m8yqvu9o+HWvDS4+x1zVm1Mbt+IA9hUeyiMketakR7tun2tBpd83MIG0LzBsgkveL
PrldkUZ5qlGGdsfBk/gdyzGRbCP1Mmneowv/Tm7bZjK9bW0WhXPBx1KKLdPOMX2RkB9zqDl5wsAk
1fr5lHFl7m20xZXeJrNqDI1LWCbZoStsNUZQfJSMbCmdJuogEz3rsgCh1HKEtixfPlKmy5NJ46m1
nh4mFYXtCePEBLdTA1RMxawTq9cIMmoy2fTRQu9z1wZt4e8NS85fMhiW7SYxY3nZlgF/BepDkW0M
xJ2QFtMKxxa0HpiwKMctsE5a5s46x5PQmj8orcImxUggcRwLCKfBveQ/qe9bI8ZkKbFrEHVhZLp+
ObNCzR1zWmJpfT3zaZGqJPb7XY49SLEZXasnLiNz4tNCW3oglDwAaYU9MM3FfilyBTAy1ZlG8h2Y
0XSyqIw5PwPiwSRPIHPxVcsKNRBcNGjlwesbTztmsxVnpwpTjfJk8OyhPDeB/MhTE1Y8BiLELjpl
LfajEPvOCCY6saQ5axuwyqhwsTTj56sgvUhy3I+iGOpANGs5JPe68lIISGnX7pa6BYfwMXS5n9yp
Y4JVVK1JktOc+4wJzWIhB6PSmDwXTJgPsTHStrRYK58Jr23PNaxILsYiMHcMs1NoHZwY27yx+ygp
VHWicm4bX07ttK+LNvJGRXs8NCQcunNz26dO8yVv7eHBEV13MhpZ9snubHWuKs1lMj4bt/CUpvM6
HexbfelJJ6VS4Vxw0i1Bs/X5MAskTl0CM6lxsruqA6qnVEjM63ae6tPCU7oZ9hV9cpQLzzqXCvi0
dAIA6Lx/tZKEaXxq6xD+GNzCU5t3jsiKi6bQkvs2LpFfC7dKLWyFY3mBv4mLCYdew26WfAp4RBcF
hm2u2alzVAvWp0Xa+EDOoMqXbR9bl37TKtqtIYUyl8Q7qVufgVkeSqss9m6pqV2NweOJHc/xo4+y
80ZjUnhRKTN3DjA6r5VVGWe8xuXFsRKO4ayrRgEDgIQN+IWeddMI3z1CxHfQI7Wp85wWw7yZrdmC
KBe7ats79nzoEsjfgxevhOXY3eaDk0eFYWcnUnPTbWsM9ZlmNOYI/WfSXwtziGG7AT/lUhrPVVap
k8Ho5SFrhhpqFUyag2bG9rFXtYrIhlM+TKqs3zJDMxARSXUQiUcXmqq+Pi8oFSC+9WV2t4zmvNcr
X3+QNP7X0td4VbKf5vPCMuDzqCFbdg5wI5bgRh4FFpSkUMcUjHsxSvsmGaTLB9a7w52J51pEPdjx
bbbwPTaQotMrd4YbERbKagiqW6Zb2KvQkOYJO29tyebI0OLJ3XbSc/HdXfgctwJC7pWva7xUL8gu
VRZkx1Z6Jl+obMNO4fLEVxeEi+VyLAjlfnA7yD+xS49PTbVEUl/kjlsq7jS38WA/BNRbCmrFvDGt
jJLU1YRqtpltqoNVZ/3J0MDaBBO0hy/LEixXcNmWY1oH9k6C+jJ7LxzjxF2AwSxI6XjYyh6/Ia2c
nKjVUncP+9KDsKQ3p920xGz1zBu22iDhdTUq5UtLXEiSUpX6nTS05kPTiJqnnFQQdDyvopVMGHRJ
MQahVTWQJp3cqHY5u50XeUBFp7KMtQk6bIqrleEZuXzt085rwqBzgVZiDdZ0vRjMYxIzbVZOnSZj
jJmyrILkrKV5fCiSOT+m+gBPgpgUoj31aSDdtC0HNLdT0Dw0ypQ1ryRJkIZXNvjkuE6bLKsWKfmu
7fwZOn571dmzdZ67qbXcuEmbU0SafnLI5m7It0Qj2kdNNQEMlFGop1Ea5YsombBsqPPIbQWn0qJW
D4ZNOXjBfQvXYJ/FDix4nvqmUkV7uoxJWof1pB6CONdvx9QqztJOmw+e5RhfPDuZIIosOjNNxJWX
CxyRhzmph9tFIPsfbwjvbSqikSv7s2Vqznldy04eY3tYrgyoPF3d6WpLvZm+FpbqX/0KZsyXpUXU
HjFAbLJzPZmY621GaBH5TZ/BStjCWoRerMDmy9W+sOpfZluY+iF3Wrjm1lB2zZYVovl3scri9ijT
ulKRaw6LF7ZSy6eNheBFbGpNzHdu0SW1vBODIPwiXdyOdiYArNrLqXTbJ2OCwjEUnRbsHaE6Y++m
WHuUYs4hgzCRvSvz3Hwu+mF5yEsKoH3vNhMkFGjCn5cW8JgtcCXSG0uMAoxfyoliyE3JTiYSOng+
iPkJgqP26g9tycQOSUi2U03mv5ipxxfnqjJrdylWs84NPYnVfLLKmbi0cMIvkEp8qcCxPwwZyoid
KJ2m/x0m+E4a9S2EZb6duq9DFqQ9zP5Jv6YnXEGfb+APEce1Dtoe2Xt1UYjTBYUsZ8HGvYdjSiaJ
2gdbFek75wujCNICxrNERdmpfngPEFnBo79gGI9mFz0rk9nVQg8J5lvjajVpYloKXuN8OSVVGBdV
iDznHdng96jLjxd5gyalsgEi5iJpcyXj03h6/QZp4ICa2SC+fZjv3cOb7t0Q1mI3uYpGwft3sp1W
Aswn3u3/7ipvoaPJaemuVGSPl1p3L8ZLvb//9RXeRB9+fU6YL1l4ZKzhNIgP3yyKxEsS2yIR7MTZ
wTNfHUn8S3H4j8I/1gX25sUDeOh4VGOc4zhvPf1VbzX1qLCs2fkn1mGVu4O4vbu8fvLmbTLOXJwP
uMYPDl5tU9p9pRdRzcOLpiZ5MgOmYL9+bN8jiV+fGiiw6TG58Ukwf2uNpUQrp8qjqhiRMvWpfUUo
8I7q/lqU2t2vL2V8L7/941p4oJFctZqZBOv9fvPZ+hk6FrMuonab3XGU3fY3+Ym2rZuQDjdMHsXN
GiNdnMsH9fHXV/7pTXrEERCH+5Ow7goIA7lWHtV4VWtFcFN606dJfFzSd9LafvbCsFkw4ATx2oK3
lmtWAXWBqjmKuy4MYEMX4j0/xTc+pX88w28usW6N3zzDHGrgAFefrW8mmDI9sY/OHiXS6btWCz/Z
Y+1v7wVo8dsLxVnmZTn3ssbNJOiEQhF14ZoBIp/e97n5yff03cXerAwkYLULeMddUbue5HsH+4js
ffuX9+7pzRbRlfWUlVyGuOWtEbkg5qTKHLy93Iqt8zu/4t8eUm/coL6+Kc4F9Mmeix0Un9b3D9Au
zDmvhvzrAyyLw2pW4Uajv69PvX1FqBltr3b1nlXSG8OgH6/6Zn1MQW0DxvI9H/MpWiLimHfmwIXX
m4TWaGLV9H5czE+eawApwlzzPggneps0XbnmGNRM94NbEDVnhzZ6kxw1sVlNYf6DdJof9xGfy5kW
VLKAgJGv8ttvvoFpmTrYNhKXrSFCGvUKdqrZxMWtiRjzWbcZPhQqVNRCN9aVcfy7WwnXNgHifSgi
pv72E3cx17GzoY7iJWZcpawTip0vgL4LlPb3IgTe+FmsLxM/GjTJ0Bz9n6RwrNRCsaAsW290iQTB
VtpFfYk38VWzdThy6r2hhePze2ZFP6mvvr/um5IDMLPwMq7bbo2d2PTn+njo8It9MswP6dPv0UPZ
abGtLlNzi+pKvmrZBa3Ee7/Hz94zKZv4xprkbf7gyWxiDtn4TRn5VR5D1bCt5HTxrPIpsOLus5nQ
JnA+AgnSPbwT4/HjfsQDME2oEIbn4iPypiiCQDC1dl1x5bgrHlL6KLDsWQ1385L0rxUH9sWYydbm
l5rn8zLxCusdM7kfjxJ+A6h2kECBPVEdfL97tIWE8+5XkcYGEzIbMZiWBN07F/nJacIhtbpu4JiC
b8nb0791lT7qyA+lTaCp9KR3QN/SRbRh0znU/y8y680dQG0BJd3Lm400343i+LH+hESgs74xrgLF
fPtBxaORVsJFz7jUgISLO7Vq7/ljDytl8YJ89+vP92dXWz8lDFmpE2FQvXms05gLaEzRGJgKhnuS
zRdpMA1Ql5BRjOGvL/Zj2QEl+CtrGZ6Wj4359xdLshZ9AOtX1Z15bmtxej7qE0lBFUbYTz00mutf
X++nN0f9S08C2gwv+fvrQUCzwP+4uayGqdJM86mCXH/uIxh95zH+uDq5M8x21vKXqtF/c7aJ2EcC
ZpYRRbLcqyBIqbjL8R3X1p/ezjpeXHc/FA9vjrIG+WXQaWVk9cC5XV7KnZdbKBYgB+//Bw+ODDLU
bibb+jpg/bbWAbiovW4so5qQo9NRaPqdFjfzF1nOzjtXWl/B940DD44ELkgeZJ0S0v7mSj5cPD/I
ogq78l2z6KrbVF0eJJETePUpwssujSzh1O/sZz95lFxPdzzgOPQ/3pvLikQFIqih/GDvrLKXbCFT
s6q3v36KP1kU311k/SW+OZZ1DXJ6UMkoz+PI91/gCL/T9793F29eE+TAZPITGRU6CWr4EbgHa0ys
KAA1fec1/eTL5VYoadibvk7dv7+VwtfF4jcySsdy2wsC90rnmCbPXXzz60f28zv66zpvlnjVa45L
BxYNKQzygRH057J5x538p28F0gDahDVx2X+jUMjjVfHEW+lUlcEdD5r6hNblvePqpw/sm6u82RBG
ZHpTz1UCU9sNY7ovTGcDdeGsaZ6+PrH/UkT+uWYfrlIWJCsYhptoITjz/z1n5P8+z6/ptxTmn/79
P0Q0/KTxq0GO6f1G2bra42CQAbNSp+b6kzGi/7YmULAJ2vjlAmaxWP/lj2Ot7RmKcUpStkdkMH9K
ef5AmH63Lvq5P84bQ6X199RdevEAz52AM+ltoseUOPEIE+NpllPtbu2hcFWzgXWvW3it5p6HUXrl
ypqZbhyHoF/NiaUMu0g3+AU0/k2bO0kRh1YzFHXzhIFSU8XhSDC7F/ExD3MSSVB/7+XvL7z/36yW
bDaDf7+Coteyemk+denLP25e6/654P9UX/7RQZDfVMwVvl1c60/6fS1Zxm8r5AXV2mElOfh1/7m2
DPM3E6t5LA7Aqkz8j1l1f6wt5zcSxAIWj7m6ePospn+trZVvv4ZfWDQ7HPMQ5//W4rLdtYT764il
3SaCfcWEifjD+IxD/fu9e/Al05eJCatpM0vft30619UXQZHnnS6Z0rQTTxvSF9FNqnqxDeiZJ1Va
Bp9mh6xRuDGjkzLsGLLW60LEtCUTOH2dfTqMxeLUtuFotnV95ne2LS8dnfnG2ZLCH32Cxd1kn6Yu
NcwQ7lKrfSHKMG/mjVGgZDpDzbLkBxTiQsDwzdGBJKFjUteosPSrCpvsLNE8wiRbjBCOQAc+ni/F
nJtShUNr2BOmBEltVXgj+U7NEN80OmtgkN2mYPZmN6orEnt7+bEX5uhokZYOjh92Q+XV4yvce6Qw
zPhyldFPDC1pGZtV5Y4sWdc1VCah5ijLEJtRJS4jf03T+6TeqqnXcyM05NJPkKmorNMixL+3w19a
FmaQfIIhW+LIoCkXoj4695JZYYgZQW6/ipEW7kqOUw7bKDCEZsDtytzCJXgdTauUoY47xXgxoLuZ
PjuIwjR+YU745EZAmJdnSJgaaW9MLZmnXaUhyfnsuBj4b2aU1fiqKPqndNv1eek/eYPe1S+T5i+o
Wg0FsWjbCSw47u1q6pbL3EmH4CxPMI/52Keexait12fPeinjPtVe4jT2nBeIYzGWG6lbaQyZOtfo
ruN+7IeEMSanm0DlY+L0HMA7MR69pUOdEyKqbrz7xRFBewYNI+8e0gaLqShXFeI9a/SNq6CqvBHO
gdTo9M4GE035GQS50tuP/pJiJpWkJqpbvc/T+QC/prJO7WLpl4MDSyR4GGN4+2Zo11ZZ5gzqMr3A
SR2+eYEXit+ugzWhs7L6rKl33v9j70yW40bSLf0uvUca4Ji3gUDMwXkQtYGJFIV5csf89P1BWX2v
UlXV2bVtuzvJksoggwH3fzjnOyNyjtCCQ+8ejN70MBx0sR/dz6NRIOwyCCo5G84iWT75vW+WwH/8
rrrrzGVCal0hydsnS8/Pvx38RiXPeTPE9q2WWgwe+SW3dX2Mk8qs7M3Stmb+dcp0qU5Lifzhh/T1
zP1S8lSqc2OOWOUCMiOZ4Wx6Qy7tBfcsSpJNHKd29VRj22xDQ7hLf9/67P8OI04Fkg0KN3I2QkU6
77BuTXttsHGUIRLz7a9dV3gTTClv9IvtVLEMCGlsPe0V9kPh3mm+7caPNTCCvIJno/LICmqkfxu7
nNzQqUry4QAwb2CWRcatPY+FfY7L+LvQtbI8t1WusuOEZN3eViK1raMPrScJEYqM5Md4YqmQieis
3fxbQ05dfT+IdMqekeKNY1A3kawvbYo67s4AWIRhJotxT5ySYkynE+gYt+oDKyo9Myws2fpbPmtd
dUntzq9CKO5kkwZmrLQIKtucV4+I1HKP8BpR4jpCSdNqZTAW0kSujLk+dvfJQDYc/QNU3PRWVyIa
D021ytFFoSmsLp1b5D/6bnH00C5Fhg06HvAYvKtxGGoRZjycGCxG9M8u4G1NM72jt2QKH7YHMISF
fcITi4uv6YXbfJSiKesQQ7xn9hv0LL177paoyR8mvwAjF1hx0pRPS1J1C0xeY26VxRGkz17IBy9x
dl3UzuO3rJ8ljn2t5vDGxB1VfHA23mgv8sZfFIoM/tI1ptqsMnXnXbaR7H/krErzr5pJVGICMaVI
83qfjrmfPqsicdNLrYDn+JvCsGNbbR1lLvprqxbHGlaNo4XZYhiQrMDcS1RSo8Iw2DG/JyZANnSd
VhM7KpiHZN1nlwKdCBIRQzpE42DRNFwUj0tZMlIte0dHPGWuR4U8GAyJChgtQM+WadPEuB+HTdfw
aSODfoh0iKyxkc7zS5abTlZjOgVshHKsaKrc28uotuwCo80y4u9zYiIgKwz0vpQv2ZJ7w1ulS1+d
fDEjxQRDh9sZV4w7Z3pg6E3raHyL/aR4O/hA6PGmzZrZP+Hy0ZcD/6uOPGv+DPtIb5T/WS5+iQoB
Mbp3B0+hK2SwjE10nzrlkPsbjLaT+1bmrL0PboM14j5O3N697ztVWWEPOQ8ewhSlB0dnp31QYm7y
7VTHInv2QGt59x1ClAETWaItq78CBOhOpVMHqNCJBkMjBdeTpsb5gPDpQfk1G6+dKvim8JM5fqQd
emNoZxFMnab128pbSFdPdK3V7QANhibldrY0gUKgS5m4u6ex9DsPmK9noQGogizpNHXy+skhjL0V
3Oarg21IJ+7NfqyDHkNF/sMftSSuNrmJVOxjal14TmI0s+aEmTrV93ah5HhqvZX5yMPsjnAuiO7A
qeDGnJS7STdTHqFVAh8fZmSQ0+2CxsLJIWwQxRsUyWx3+wTlNfcTyBSjDlmbayZkjDQ14qNVUVBh
+hoWXX6btW4UF3S0eXJ1+qocbzs3H7Q7vfYjizROs0SbuZkZAs7LeRK6aoAwlnoPMj/WIhEWiNIi
dKUDSWYhHLvR6z/4vRnZXVH3dvcBcDom5BNGltl+w6bDaGAD8FHDDUWmitV/TVOfOzJUuOf0j9kf
xgTTXpoh5Iu6PsrrgIGs/1PWN+Um5BbNLLnA+FdtcgWPQUHGd+dl4lhPSewg8kqn8rHicwrfbtBa
UJNkTpFQD5phfqbuab4Do8vavddyHfOBb3USOlvW9azQUUA0tp1DH3JGVac3+qhlBYzLorVmiEMy
bfWvUtd41pHWGtE9ipVR7ufBV+5BL+IBfckyO+7yHAHxAbs8OYiqL5YkqAdbtyzdglIlybN3Pl0S
uWeFFWz8OteyIe7PNtFzOMOEbIcEKsEGMuXk/7ZwJEXB3K8OYwshy/hlmpxFA2yTazl+6nYoyvrY
zq0uv/IoTQlgTkcZr+jQrVUy0eRoqIISjIl3MzRqZNmDQ244JhIJ2msd26MLUWUaZmyQcdIb3rGM
JLr5ciqBHEFC8erjJAoQqKvKHItQNrkZQEr+99HwaIPpExrRdfpgne2miu2znmi5e5YjvT5IoGyt
0iogVndNM1YcilmStv49cEK7unE14Wk3K+VyuePilm4boP3qx7vIK4V+7qrJZCc7j5KDcC5hMj/G
fmOy3eFj2R84g3qe79ZEBH21B0JQP1StZdnjf95u/X/Kv6X3+fdN2QZcwl9xuXz5PzqvPyAecx7y
S2f2ylSU4eKfXb3+B6MdOnf6et0nJNbzf2nrV1ouzRfQPQKpaLz/u613/hDooVDSWQ7Pgmu7/5Ex
+Weq0H83XmgETdYILuNgdnKM8gXfw6/zPxPteg1rdIMEg6Cdg3Eogw/aC3Zy2yKMd3/H5v99ebG+
HroIUpXY6lum8dPo9su80YDLiSqQtukYH+zDcM6P2r44/f1y+l/9YH95obXj/OWFao7RpOOF9Pvq
uGzXRa4W9Lvhh74tt0xut7/8vv8xLvlVkPP7eOSffq51ovfLy7l1qwHioyEzNvLSwLM4iM+aC2ZL
cGWg75LuYw07+H/4OX8bTv/TC6/Tyl9eePagsHnQxKwrxxn9M/lFxrnalXui4+4HIAjs/7ODOLvH
v/mJ/9qy//zk/OUN/m2w2yajuVQUfdlRHgs6M7XXQhlq+2UuNmKThH//s6LI4If566d1nbYxbmO5
JvDy//bDJn0ezR50BpCvJtF/DC1sYEQmAwLOb/ygbra37FLb+RmqffgZab6dZ/AeQRFr/viSNGnh
hxn8lx85YvS94VZQvwaUeXs0LlzeqJlNGlxQk3FQT0Tg0YSo+SVNfOvZaBrjNMIWuk7QpYjZ4avk
jTdVQA1nbXTJo0kz8+TNtfdIBzXeNswZbi0n1p1NDrOjCCBctOIsJwkArE/Zyh+A3qmHfLQWuIiq
B1ToI9/VN7Oy5yOs6nLeqN7MaIt8L7sO1jB3DwquxEfHNz2dMcMnN9mKZiLY3dun+VjvO4LCsL30
Nq6oOh2J+rV7fiF1JQQ6Wj07UilgqMSw84TWNT1llZkivWWnhng5mfYten4Mirap7J2d6c1WkSx5
p5U1ce6ziLy90zfz61Q7y9ny+wbZusJXFHcnE0/ReWnG4ZjaWflpezNMFa1swkJ2+VMJY/ZxIcU3
3RjQyuINJP00DfBoFaceDwffgTE81jih9vrQ+Vdds/tjAwjn4Lit/cNI0IW2sz9dsYDl12aM7K2R
9vOumQd9O2n6jINs6YPW6HHhJ07lH8DHucdxsRoGLKp80LtcXpdsmG4BJrjPs1caZ90p3eOUTl64
DChD62QNoYA0ciIrsz5F5ZAcZ9r4b4aV9EHj08O5RWG9UKpWfLhdOYQ5Csp7q6H/g65aj98UuOTs
mtXWjHulmBYj7CvbebVsoLtmZi1Qlb2e7Ye9YD3Y8/ZYNX4PwWc1K4e6vSyamr+si1zi6zlDH2jN
rQd+2IzavHHbd2PUWiMYYl2+9/aArQ7OZW7xtUte7pthiCtausUrwnahjKgskXlB2RhWt1HYscyQ
dU/x6UibklJgzja3IvfHYusnuH0x91CHB6ZmGe7OnyIXellWPMV6l+zTDnf3oFeCoL/Eas1bZOlk
z3ajAqrngH6ITw0umOFgQrG81+taPZWtm98vwlbltop05KuQj619V2rsGhYPfmWfgOGDG6eb4WRV
+Z7GNvrB+z2JvVnnxpFiujyTlNG6b3kjzPyTiqtbdo3eolOtXeC7uxwgWbPpBP1M0Ksa/Jyvp/7R
SMEwbGAiqbfWy5xjUw6kyuZi2FvNikTWtcl6wo4IazJNaDmCpiudhSJ6QI6u971Pz60bt6x9+9Dp
IAQHA9f7GYlx+6XS+/bsz451yJtGy7ZOYqTA/8yOEwORu38agWt7QaEn3nvvaGagUQUAJXJ0+B5Q
7WqYvXTb7muW6tWLZY3JCwzDPgBLsVVkDm4ap3s1O9UGnaEXd5nXl98AAeo5hPA2BRg9ppdp6Lqb
0TcaYwdPr962ZL2GzZi2L52B3RL/WS3fqzIlTKoaZzi0zrq3dBB74ABLLmYbK4pdm6iwCkrVp270
2o0zme7LMOTJCQZR8a2JuuRieZh6hnaZAnKC8k0LtuSkWbEKncElntyLqq1A5nF2uwRHmSrygyNh
5jGHLdGbtKUW5tgzruw2SaOfZvcQx3y1VVTWKYsT69Bpdb4rWHQfG0ZEOzhc/bVxpbyBn5Gfca6Z
l9F36+MoZAd8qCK8injbUFkgZnEt5Qx28ErJm3JFQQPHiwvoskt9MVdU9KjamS26ax3SHlGIrUbn
UyvhSo+ylh+WhMs+scbe83yu32yzhLLD0COhUwTGiqjm81cVYWPp1bjDYDmddIfHOw5sh9kp0bCg
5wMvqucblhzyCoekPgqTV3JWNja22uY16zUt9LoxCic4CU/5bOY3RWNp2yFeqrBfWdsAEEGbaPTh
SpX9PopkCVzZSle2NHp9c0V2Fyu8e8Zceu3FUO77yhwP8E6yLf5a68BOKHmyvbTYE8Np7o1F66An
OnjHhJWe43iJt0yTqy1DHSvUZpDioMDGU9WJ7LZsZfRe+OgEAW98zhnvXWb1STiPvn+IaK0DjJ/+
RarS3s8VDY0bNRk7nNy59B5WEj6sgM61OZHbqo2NB2/FoKeAkU5YgMgXWCHpZdyBSwcBchWu5r8z
Jynw6BnNh8hzGeIU5qYtJntX6EWz4zAjxngW83HCdRhWUHG+Db5f7BjlLAgXOvNoSXDuXcZsiSms
8a37SXu35tT+Vq8IeKtI7LBfsfBl5CYXDy7FUznEDDWjkpVtxmRBdROhDitc3l8S532CNHKOFdDJ
STTMnyla76EIJdd6zlxkQya3lYL6eT/Dg91NHvJKIyYUmowAbFR0+GG6Qu/91nN3Cbvtq9sb+Ht/
wvHNaMC4YXSXFgJ3s43nnts9dpOWsqkwkttqBe3XQz/dZuhpLgnLGGydfM8YrxuFyREN8DbxYhpa
Q2pwk/slQSNt2DkPnMuPVtgDf2z7UQdgDMdTHpdUJThYEritGy6OKD47kZhuvG6C87KDvUjCTJBX
S3SsPCmiW1XbqQCh5uF0cgsFQ3xMlHy3MxhhG8PLhR12UaLNocMJ+8qEzDJ3HuYZFWCxHLIt/fii
v/i1wOhV28aQH0pP8blUcGb1TVk3sIZLj65260OL5LjuizrHyOqB6MG7YObv2jRM6PBjw3key1a4
QG3i0bE+SiSajOXGaZovQ5ZjRotZc8Csx2c4fGBOmc1HuE3FuTd5fkwKpwaXrNIRq9v2BNyICa6I
cYVAAqzvNPSOcWiiGDl65Cp/aM6y3NKgjVeITQt0Ex/EGvsYdkStc2rwcbLZl/5G5NOn3Yj0zpxU
8+RO5GzHkbaEhHd0GyC37Y3Q0nSrQ6bazNYY7fOxGr7b/tB9EzBUcigds7N3u0nuZjE09/XiWbsl
tYfDbBkkDADI3VpxtOzSZuB2VYa/BYXa7pQAYzp0NqHHKp+3gqS7/WhNDhTkGdu+mgcGB0m0U3h3
QrQC8T6vspbS2IvbO6+o8Hj2xJJJMzHI2Kjmg4gSPlZp4r40OA63TlN337m81LknTDwmraRsr5gH
p9Ai+yrsGuY8qbScYG6LdrnBnWsHOlXa4X9GBn8SzYSJMOTfzwyeuJl/Xdb+/PI/ZwbGH6wrVgkL
0DCC4BEA/Z+Zgca6H5U6gwHfJkNmBYr917rWMP5gLGDzLxCRrape5Bzqz6gcWBQoMl2EryAvdYLF
/7OZwaoL+UsXhvYFwQNRObAj+EZ/041w4hKfASB3DNzNcrHP3nFNkV2u8d/GMP/uD2EZ/NeX+k1r
Y/LIzAsvReV49M9xSN5CYATdTXb6OznZ377UbwMD1r5QsX6+VHxY++eZcZwMxa7bF/uGgIRfftn/
YmCwLrT/b+/hb/OCfopVF+O4nnbdz+zFVTwv9+rPp+vf6tnRSP6L10E7CYsEJdG6+ue//zIe4FKS
npv90MVixweTSWY4u21HcUPzUOravF2oE5frzNQb4FFe18YBzilrcxmr5WbxPT1wJLGCaVTaoQkG
LNS02r8M/OawE1pSnSl8uu+GSyh2vh4uZEf0W7bY+cF3sT+3noVhtwAAmRPnfuvTl1BJDlLbxfOM
J53l7c5pUbh1Pm3HtB5w2VhYOw2R13Zcjz/lJc4mWo/EeT0cs/WYtNcDk6eEGige81Bfj9OVLrtb
1iN20EwJWqN19ux5KEhmzfhRrKdyW1nR3lhP6hJe+tZaT++hX9cf64kO40QEUrOaJ2c976kVPx06
SVZUVndide2clvV+0DiO99F6Z1RuPl1FJJLzOHV4uq31cuEPgjrdLdJbc718rFySQdSvN5K+Xk7i
5z1Vjun8BsSjWe4F42bz2WJmSzpwRcDJ1jO6ooNVD0496GPll98yeFcknQ9+ajFiWm9KiHnyh28W
4NVbEXcx6RDrtSpNCW+TqQEr/bD6efmaDRf3xqsoy47NzwvasdEsBD3kgeoL7xyXuI/jHB55o6Xz
3sk05Ag/r3w0JZJVRdQTCjCtVYFGl93urKgVPwCv+HhvY1yd90Q2zXEUQuQjp32bkxhCpWK0/aVE
cTJuZdRGw2Uqct28m9OmigKrhd/P6o/aRe+XNA4nqKn75c9IIlGXg/puxKyTMeMQW1TQbwVwOPPd
7BNqZCeARKxdG7tQDyMD1teQ0tpXEcnKVqd+xDlItTjtIyRJqqrvrK6Kz71T+j9sMAEnLsQ5XKIY
czUeiNIJbNpNfP4GNta2EuZzFtvzi5NYxsQkIWfprc01J9BQpC+OaGMvyAS95qatpX1HfeTb+2Jl
nfPrlcmNX42gzljp2o/lpA1wNQy274RlEDPT+FoWwjYYn/vBds7tkEdfujYqtyRu2AenNqYd4Fxi
qljSh91s5y+gTypWuaxtGzAunyi7x/e6LKLnRu/HMz53VClmzqJrEW1BZwBdArVJyx5uadIwoQMO
FhZ87WbyCJ5aMgHEplU4+l13zNVmRE+fUdym83tGNXdkzaTrAHTVKgpRnlZuwK2DW8vScnrrLBPZ
5jAXb+U4yQdHpdGWYqZm6yDa2djGaTVXQVrZU1g4mg4DuZkPKauxkEgTWWwQwLhvEicXMZ/kR4Uw
Ar2bsW2sw2gWS816acoIAnTHHV9JzT2asXfWRQYrXPfL5llfM8mkl+n30vGW59nQJvzaFDCPLfDo
lFY+a4N40foALI7ebfrILi5VNfWs4zOv/o4rtRmRoY55vdGIbjuMRe3exqUPVcbwtdcStMyXwikg
YtR5nJKq45FYBUQ59MzWOjhLXh/neRZ7N23TF3Tv2qNg6jeGVpQsn2T6SPZiuRbqYiriUGcX3m6Z
KOlwXBS6680Y1/q08dJu2KMpSR71ZkD6At3hI8sSwsq5vAfMbkKiRjLGu9ImCnPDKF1eZVRN23FI
6y2ZQOVd4dTW/VqNn2ub9rYyCozTsa7fL5qXBQqq32HsRbJH/jSFk4nJXJa2OkfplLy7swMgnVXR
u82m7n6otKL/4Zb2cGd37nhOM2Xf0P/nAR8d9tSijG+kt5AWQjTLZ44c4D72pLVFB0/lmSTj94US
YU/2ktr3UWbtc8AGj6h9/KNQY7pryQthMWYoYydY2G6A+HiP6zr/FQdO/1DGc+xw+Ebmiakm3kJg
w1/YWlpfU3rgcFrYpitkDzeszKLTnApxriffu1bwPLdlUeaHphTDA6yj8jqbU/PWVT7qsLIOalfr
Jt7ycjpmXkTT1awRypYczNDXRJkH9ez2VLmWxbwECLDzJDFubObMd4FhWeZNmlT1EyO7SA/8IWmv
AJl7DonW/5jZny1kqmgkCiBw7M6LH3FzV+aKGsxd5h+DzPJ9yQsg3Z74fOhe+hpXSNzgUbXuzuIR
OUwDrmv+XpQY+MuLFUU25OYqulqyIay+jVpKHeqRI2ipmLFWlsPf6mSz1zydUZRtE4EnUv9iG2UV
jn42goYauv5bBB5TbLTcZ1RF37iRyK2+2bKDvzMLewahMafTPVgB+TwuRGkoBsanam5TItkMTb3S
UzhImGJ1MOyyv7cGPQ3cpOp3HoOwm8nQl33U0u6mtZkGc+x+t5WhHXSiTN6w/ayThIZYjFmBc97w
uV8uBC0muwZE6oMnO3X0k1igK2ugoW/iUmHnq7yS/64nDwplTEAGcXoyp9h5VrGMz0kRtbdL7U1O
YNmVA1raqLSzNUT2J/kebB9oxZ1LbXCwQ72YUnZWuuLXQ8CZVId8TOQ62+jpZVrViRcEJunBlyqC
GGU46nuChlA7aCgn/D/ru/+RPP8vGpBfSt1/SgW4pO+f8q+c5p//4s/WRnP/QMXrYozQf248rVVU
+uc+VKOBwRfo2vjAHUSl7O3/q7fx/rBpelCn0rqgErVXnN0/ehvrDxNvMnxl9O9Y/EzrP1E5o1n5
S73Ms4MJBw8ZmTU0XqtP/K/1soW8jgy4JRgioKsUkWnvoC6AaMrdTVxGxH6gY+JMKN6mVaZ+RieU
vxBDwmKkdoYD/bP7w6uK9ilCjrePOjF8j5VoHvwE4U08t9kd00njUBBN1oYNzdUx6hd92FD4jke0
tmDQeCBeplQQdcwI+H4o+uk0LWl5iM3UvgGDM+xNd9bvxtiLdrHU1c2sF+ZRm5f6h5KZ+SHqrntT
5WTc49JDCFt6bjkEoNDcq98u2WNT60k4kZuWBdEytg9g3RnET4N49UmD/JwdH0QKIZU74vPmMAG2
sa/qVh6sYkJcIvBEXZueZL0uleap1N1623m6+KL1Bqd+XC2XBmkNCwy2NLe9MAE6xVGPq1Q3xq1y
EujMWFtQk9qlKQJv5IyrUfnsbNBBu3rUi0vh9YJBrCXPSH3E0avWNBJDRfduPOUnMnGrYEEy8Q2I
zPJYkDR6HbJaP7PI0e+KzsjOKcrPrd2NsRUw8ItDyyvzsGPgxJ6p0sdb3mb5lHWu+d1ZY4LgFVO+
GU4BdsUc3GCmvrh3UcqS0tmkQPzQVCZbwkWnUINKs8tB3r0X0hsPXm7RNVkgmVBjiO48+O6Kgp24
+qIORw1baGevHAJNBWX1rfSUOqIHrQFaacB6XDFcJ0Im7vPZ1XdpPizP+ErXULLRMs6lFNmRhOv5
EXAnnxNdIwu20NOzo83qde7deFWnpvO5i8x5q7GTOEZokw/ZpI2PywgS0BpsfyeilZ4TFw2hZAlc
P6005UOSW+NHYjTdwVhSlkbdgrws7UTPV7UpEQxZXyJ+aWRgWTK9GTJDP8MWkq9lXmiMX7vhLorn
5JzVnfgwFWUdq8uUNSrCvHDMPPs6CKfco8ybz7DnoveZqZ3k9Ibpt5mcOb2kbgvpOsax+cOVVkuN
NkaXPmFZSn6lCopGZaFgD3nJEyyUnqPTr3qRy8ornaqziAx6DBIAdqVf6Y+VLyHTJIV66RSk4w0A
qpFtoFaCEXJs7YGVWpNsJQX6g1G53tXU2uGDgE/xqNS0cFcLtcf2oH2FR2BD6/KX+rUBV/KcVMMS
1p7RH83GFlcuY+OmGfzk2HJzXzxjqPbxQgZnPqXJc+9O+lXgbLpmrBx3RPuROVckSzhp5qPjzNUe
gZFzLH1qwtjx6G76GJCMz9pVkCJacK7U4jiyAN/WZr4u8R6aRqmzPiWsgFurv61dWW5QFUVXwt66
0NVltRdIBLaT00Y7j+VMSDAGVHWbBSTnpQwyQun2E1yzjZ7X+Yvjl8OJ7LzqQ7XtEM5mPzI8bD0g
gMIN0EjLJ31mYkv6p31v5qhGLTFbWzhzaIAJzIyOUb40a3CdEaaJV7F7NQCgGVEDb16WhEloST8F
ucuMrATkzQOD0LIuYahz7Kqtx06FeC2nL17s3M6PiEXGmIAvr75T5Yzok2DNikClif2SIdWTje4R
Qagc+u9mxVviNph6fZEK1rWwvJvtSCmtb6JR9y9pKesv6QyQZ+Mvs3+mBwYbCZL+2NAC1ejJjJrV
d50USVj4Ntu/Ss319wRZX3QUjE+ufdRCEzR4Xm9kJqDhGA2FgZY5ivquax9ze0ku8Lwy62CDmtwI
Fp3s8B0t6PwaMLjNCv5mNCs6iNqGPm06AzuXqhHXRkYkNlmi2acG8LpKEgxqR1LcNnJenoirFKEx
uuMhygb/OXKj6gCElMjCcdSsM6Er0RYVQ3pnTOSXycnpt8r1o42KmnajEERvdMrA19mLRQ0nUPQH
vR+67QKLatsgNN+CYWQJoy83IhHxc9eaxgF4/xzA8gIJbMzF3WwrAhjJwA0YqIwECQzpkZ6YDzqa
/lfD9Sq1c2Ej4p+HBpZtFq9KLLCQNd59bP1ojD39EQltFnoIoXfE1flBjR0jjFGuPSDKiMOy65uD
42jRrTOAMsuo3xi2Fxr7n1b7rGJ90YOGjtXwoi3IMn1nKmdt3tCXh3A15XNFeMob+MD4OUWjzIJd
sVYGfTYWO0rBKmWk5EZfGkTM+85L2688WUXYlcty35cjGENOo3HctkMPq4Jx/7EasQnsfD2WxslL
OjhL3GGkN5O8UzEcM4uds/Tk8ZFNrbFviTwmK2mZNHfU4fVhjKTzoxis+lnmVc6vlNEV0Ldmawsb
IONiac0uYRnPqqebNMKb2/aha8v8LR7J96MXIetbGNCxxomWHuVlGhP6KofmlUjnck83rL9Hwq+h
MZlE1UWtR3aZcEIyr+1dnveswq2C8raknbvlltbvHc2prgh5u4tYzOGOnCBnIgeutW/Tuli+Nk3p
77Oqs1+zYuHTP/XyzasLovmaFTKBiSIK2qVi5KaRZXSslTmTfuBRqCfNWIP2L8TOs+m5LTYKBE2Y
8BZPftGl3xuML69eW3Ssg5rUoriOyvStLGhIMGzUxtaa4uhB+pH/NaWj3+ZZ3z7oOqfFkCxEOroO
T3qh6Z/+UIlDVAjrbRBGtBWDB5LTIGqGF83Ti2s5NMKN5YYiJZlpAbNwGQc/3gN6kkcg+5Bau7En
+bOzuLgUolWxDA6kGnQCN6Pl5tghxqV+agZJmw9ONA6G0mnPwyL7eyLwpjPq8mneynSgIWohdr9j
brcflKvqJwB/ixEsSyRoXdjy7lN/ic29L+LkW4e0uf/o67qnHKBoUDxV9rhXddKVG7IWOqYxUYuS
edGFQaeSd28z8pOtZyK84dhvXgl5j451CzcU+9J8mpFAbPTINn90NUvMuy4R1k1N+jNSDsrIN5Mf
pkTyxJPMRCe51T1OgQQ28Wp/quIAdQ1nA8DBgi7cRrwOu0x7kflQhiVt97BRScFsadT1aN8VrvGq
pFk+TINbr7Vog/wgq7KgF7PG+E4jUK9prX3WE2G/8QkLupEkuu3w2VBOJvUoNx257F/Q9ERfWFyR
DNnIYuuS+X3pPEve2olVPVqcjFeV+cT+afW4NzmGtv3ixMfZ1Rg4ERYGl2kYo88lKaNXwFATeLcx
Qw4F7+FT+E3sh4zX3Dws2jh+TavE/r7ikXgbSCV9oJLo5bUk9yl9qyIiojtsAkI1hFnkzcT1owGY
a9qkvhK4khwZx0wXvbDGi8vTTbhGBTRnnp5bP7NfzIEDcFdWlt0F7MDQa03ED6o7xuhc6Bvb12KU
Mq3M85e6aLKr7OhLCZ3OoqPDknNC9REP8UXBwPw6xb2LHcie9FM3JHH9kBcmUrPUHOBDu/4szB2K
HQoo+p6YzXTC6velaZL5OtXp1O9B+PpNQIEgQKJq0RJktkYOn2GRRbtjw2tsZ1JIvMs60twVJs42
4qPz/gzcuRiDMtJBOqdWMSDDGapQh4GXbzNkU0Ck60HsM7eMKJC9NP/meIMcNhJM17Yu1cIWGc8c
I1YTnX/YJsP45k5jNmxEn1ksSmBld8M5HuUOtX+HIUrPooaJjEZ6+ujV8avmgSUDhQxhzcvwtb4S
e1VPJ8l9e6X8UNoRmYx0N56w4ltH62K+XYWaLmms9X43GWTWZuuFoHZJGBUZMTBES0353yALxO/Z
PK7Dlk0Qw+lhtmdk9lvP580JZkMyb3K5GaazCIYnxqYH8lEv4ktxGO/6PtCu1q7eze/30cPfAVP+
N3vntRw5kqTrdzn3WIMWtwmkJAmqKharbmDFEtBa4+n3Q83udBKZhzjdc3vWxmzHrKfpGYEIjwj3
X8x//a9OEC9Oous89OjrGTNGeNF30jhCgkLRbNl0K/2XlPyaxq9nD/ArvaaLN60uzhICFkhflNrR
Enj/pp0EVJ61GKPtwd+GfAy/XgmwANv+GYMqAkhG2YfHPZvufQQvrgpFCn0nAAtanjDk2bQ7Y0/1
yY62id2u9M4ux4O6C/hhSkcqChMXQhaA0zihZuHoO7U94qy28vcpQSy+COaAALMRBNNRfvjTUzvr
mdU6JUNogk6Y0b5RTp382ff2xXDncbPWgmYl2qLxOE/ezB2fO76SRU13yawOBQrPFexNntVHZIdv
KF07wj77fwFFU6m5GNlZKGWhK0DnYzabypzyNy9qJzxhyR5tOtva51wmNqu6VmvhFguPt96YYlLk
GM8j9bdN4uAuV2zmZnHebkLnP443/56zD6dl+PZabeZUjrRTwV53B/lILt7LB4h7K63VC0uWf302
gy78LE2DQt77YG1cTUopZI7/0jk8+qE23rA2dKDz1oxw2qz1cv+Am98ninmd/BVwAbiWUJ2WJ+B+
YmEnR3HLQ8DcRI5g2ZiyOvJt94Li/35S1pbnvHc/CjsD0M8mlWI1lY4ZQHbyITnxPN9xMTtCHKPb
8krLbV2Z7Nr+Ox/o/M/PImoJGv0zuDA5mr/DEvfZTRPtwl/e7TxQVd5E2+IzXpvN9/EY71an+dqi
BREkoZUDxBZlnvfRyx7gHOwsB1bpbbvHz2iDyv2xsuMdgtD2x5l5ofw2730TgIMhWQZJE7TRIpif
jz0U99JpnOyYPFBqfGSLOIiSb9OfENO2pvtxwMvU+T7eYg0JSa+Pil46UvIt5MEaY8b5cYArRwEJ
U5VnuotpAGpZLJceTqYG2RCVTdEeHPTe3ryv6qzx5tT33EjXYBszquX98pypJEh6oqWLDJC5NDIx
OkvIsxGD6m/iCXCnGx9YOM/dl/6r2tt4qe/pP2/idjO+eVvzKfm2xoO49gNkTnDYeWhzzLXp9+vF
h0LK/Xnaqntvr+zqLcZxu5n2IZB1JBtheCgY4DJteZMNm/BH7GT593IlGf1ZlO826TzXuoz8CBaH
FHwWmRYDEbVSvHI302oiHl0DerqBE5Ia/BtS1El1mm30VO6Eo+xM29QZDzX209/6m7UVfXGbWfyQ
RQruqHb0nlHuEuxLDIGii3mTRquJ/j16hm1DFJX9gmrhnBBn0ZXzDJFFmNuOdbWbdS4BjEKo3Rfy
W11vMie4bw7qBij91oqRAtppwyca8msiwpfZf/4FJAmubohqqNpimbe9RpuyqXYqbVYb87S9saXE
JO54ee3/Lez5/7tJ/4crz1mCuegm7dsw+/Udt+K6/t6ew+X+/Hv/01NCjAQoKM69oo7CCYcky+F/
e0r6fxmSIXMB1kX+CxCof/eUUD7RTV1WLJmbNxy4+V72Pz0lSfwvU+duCfzBlMgrdLz+hnTOnFPP
9yasP+Rz5bmlRPVenv2ezher2SH6Qfv4ru/yPacLoPtHM48cnD1Wcu8yuf8JRCQFw228opb3Vgke
LRXl/I5uDeoNVvVD04UV8cH3bDO22zwWxI3nY0vjvbTYeLgkNmmV5ncUWN5yq/2kJ+pTmAtf/Aix
KrPen33rh3/N0Tmrji19Ze7AGGLgik8VV/7FNovxYEEYAhumsitoz6Nr4W9brxZfJTUWdvg8CjsN
TO/nsWitr1ExtAfckulM6xLGJJtKxTFRLsT4S10X7SPefay0sS3t1KqknYFbJ6iUzsOaMxxAnbTV
SffR+dj4jZZA1+7GZ7XNsk+lPGZPkHGjZ4gjpfyoUvbPDuI4NcZbHDViDBu9630ntQyKZZMXWC1F
fn+K917tg+2q1aRIbg1UlJ8SHDggx6kFVQRJxTZg09TF+NaHNRwgfDLqN1FOymMS6NFWVBO1sVsv
L9CZl3Aq3KRjmtcbXc41F7027WtrwYy2aG8fmyxMnXRUBFtqMhI89qzbkQbSvvBy0ZVYehEiJIa1
93IFb9JaC3+kAFRdTczVUwi9ww6NWNg0XpGHWF3UAjAzg3+zg8P0OqhC2G4bQQ1Up0trCiVanFsH
hPYidERTH/WVMQzkh7KAlNCk4vij6ZsMTTmEAL9NvYz+QYfAiaNQBwN5H6XWAfT0TJArccaWIKib
doFU4J0eauVtqNCTSGXPuouKRH8pJ+zMocd04lOe+P1tRON2F6VqeMd7V/yNHsd4sqpmou7U6I6l
YUEJMtBH/AAlmE/IwGSPEfqvP4RKAzuXYF39NQ51xU0FQ/2KXjbSElrthd/Yo9RJSoM6AB4vE4x0
jKexyBmUWV+oLZvKpuWHdwCEwSmk4mVoklYfWhVxfTDZcqiedIBAw85QYXg/h6oPS9yQUynYBTrU
FqdWs0K9Vzo/MDkZldZEO0VJnlP8m4ZD0GkyNEKL5tZOz8e0OMQUaYcNlqLmHmuoBKZ7PwS93XQt
ZiOpNMy2E8iEwBRpVHRouglMP9/P70vQZyoymd4oPqUx8I00roS9aWTVA7BdxCLqTLcLM5ZeSisp
n+VJmDZxFeDeFEK9woUHv6s2VXbZFFs/taGsnguhEU8wZMxNHIfWZ9/3pO6zEFXHFldYasQ4he6F
Kr8BKd6jSioBtImLe7GU3AEVIUhzlWlnEQWnMVSqbdnq/QZmWbWpwvZOmzCIlQdIhIbelhupSqon
bxrr+3ys+rs2MaY9fbkCM/ReLuaaUPdpgAn3gEcREhvjkO4qJFGOYlSMdiBTz6WdruyCqFNvWXne
F2y6alBcQb/1YMLvTHEYPyeZH2yVXKT8WRQeQF9T/1ElgEnlUSltUWu+hJRBMeOhQvrYG0VxVwim
/LtRM3VHOzna9o2ff0nmPlk1dng3TzL+smaLz1oWZPIjYh/Wb71GzmEDDaS/K82+ugsaROENyUMf
RaGSHyg0HwVZa24ktf45ephBe5p4iidL/jJ2qrat+vpNn2TZ0ZtSeBbAhwabcsIAF7cwfl9JCVGd
QhxPUP3dhPCBtplqHtrKQ1hc0+6NCNSWmEhvU07FLmKlHEpfvm0sfCATS8QTzKsnjJPrW0lW7gVE
MWyMIDiV0l7d5D3vn6zqBJR3emnrw7a1FSP37ak1U6fhHrwRPOVLrKU/uqA3bcoaVMv7dvg0Zk17
rGiFbEIr1g+jYSovSC0JiHfH1W+xMeM7/Oujk+TV+RHvpOmb16SBjW2H+orIHWJNIDC3wVCNx6T2
J2eQvORkAeV7o24vUz6P/d+4JfMGDKcOZdva2gZN9daX+vdU9KDrJUK7DfwxfSjiJuTf9/wSRYhE
/zIpcnufpkb92QonBWKIMb6MfinQt9aHbVYUxl6xoA120B9eGvo+t4Ahkn09Zuk35kP6FBqRdYhF
GTHTRukfVNmLTEzeqw7Br47NTbuggG4JHiQE1ZSUGddSpaJXUISBYkAs1Sf+qS/4np3Fo7CP84Ym
bd2Y05PUaflnYH3SrTZ2Cl9ElkGepx1QOtkKLbxG+CybYlS7J21IknslAexBH1gddYpUkvzNT3Ww
fnQj6i/WlPSvggrdbVs1uX6nctYYttaBlcpq7gWSjmejpGrhvsbO7hRIHdAHfjn0zxjSVCDR4YvA
WRdydgqmyNv7KgBpXzXvwx5PNoHOUCOjLlK1jbLXVciBohk9DwHv8gxZPzDSoLhICXtv6E2HOQps
H43RTS7Km6mWg3vJtNBXiXG1Y2F1PXrctf4ppu4f81H9sHKmnm5xlTcm5WDJeKXdoW1r7LNmybUC
r8pieMSPLH1Qay050n298WLSBwJl+r4ffPOUKhj2gmZHXUYotX1V+tjbRX78kwLzeKeZqbL3m7za
ZbrxWkhy+g2Mh4Z5DleITzr05xtwDvFNK/vRtKkNSX6axa38U9vE5SeUo+N7PfH65wKTpPtUibJT
JFPmZoMlxUbWirpj/aVVsdXChm3gVwHLlkSV35iTUAAGDEGa9038oheonX18X1qYNfy5niHlJwNl
5SWKEPXiqqmWIxJFSndndab/I22qvVDjeVYjFnfCK0wHaAzmHiNBJBBy2T8kYVFDp9Sj7zSIKzzb
Mv8NBnfk3VBKVmn+gbKg4qmWX2nEIvD18a+9eDkjTMCLmcs3oqLcz5e/tsm8sEpG425oBcfyfwEa
RnwFvSyyE9ne1rwf7MBnLnGH2ekd4uDO69hy4aNf4mwmfTb8L4PR4WVnOb3kHeAw7D7+hZc3d6oy
pgyFUoXPQG37/c1dgtIsR4Z15+u9eo+4ePU0Ihj/VSlEYLGT2Tkfh5OWz9p5QmafDd7wcyF9WQm2
xsxXgZndZbcNG3WQeCo8p9tgN5fbzM2AVdshkQ6etZfrI87P+8z27JWfsKy9zT8BwUeRbggqznQL
3g8ZlI4qh4lx1+2UV17Ww7b+BtQUBCrEm94xXnrMnxGy6N+waFG+fhz82nSfx57/+VndDz0iK8GO
/K5W2y8S5oKQ4unjtuXIhanyp5WhXr6W3o908XGHvMVeFHpy2v7wOUKV4vPHo7mo7S2nclHGzJWW
23rDcLawzw+YceHX7p8sSlLBYZwND7K9dvw45rUFpAODpDuCOtQfCtj5DKq8zyxhMu/IAb9HyA07
06gNR6dhcghrvmNbhFRIOsH/hNvTWvB5abx/5zKhZ8EXpR8BP1ZVbk3cf3G3RPs/TM2DbxYre1Ja
duv+TCv6N3jCABOFNPB+lfQcZSUiS3dqfJTy7r6kseWDqsRAjncLTjHfRR8+r/np45m9tlpmLV0N
pCmVn2XPCW2BjoevcDcFOHNETLNjFYX+8HGQ+acvZ9BCS5UIkilpS/Bp3aay0OeJ23nJDl7JMRUA
DekiFI9sPwbeSrQr2w0FIUSmqXXgfLMU8afbjFRXk7qe59uN8JY3OadyZ9fGSs3gyiOe2sxZoMXC
QEYg9PsQl2Qs9vZYpelvIDqF59FQyyMPTCALQmnuPcGDi6OWwRZ+gPZsRIFhe0EviLhGjzZCHmAC
ZxxCJx0sWv8bPQvMI1W4r9Ukh3YrIe9gjpa0xwEx/DqZirUrhqxGCTEBKYkAQ8H/2my1k9iU4IxU
zJnGCpoJSBZlj6MgXhV5rT7ClE2/TGUc7wNpqlYS/MUiMi04m9SooCWrxkX1BGO0uAql2m1xicy0
2C5G+enjFXTRTIQ0SggWEb1eKuPGcnckvq7iNevOhlrIqgS72J5O+o5L6vphcbGA5lgzXBoxIC6i
f1oBZ/m6V8dOwD3pXo2kbaNwtxGkXawgeyGv3RQuJk4mFE02Kr9cay4MXEa/QnWhTN0m1rqbqVPL
A0bUZDehmp6UygCMoBhNYuu+Iu+MsB7AGQ/VTaBOwWMSNZCDJgPFRgAR032dFqyr0ApvuQT6lg3P
EcMnqxabh97q5JOlqMLeEusSZK4i2j26/sn+4490bTSSNmPdLQW4zxJvIImhYPl97YZoCSAjK35G
J3X8+6cbdem/YizO0hrVRlDhhZubOQoH8NmkdiURX0n3FqRisPgMgpS1WGmyoCZ651duYbZAaEYn
9YvnpDcfP54r5MUvkyIlWlUVFSRTEURb3GlrpUekpC1dQe7rbZo0W0uO7/Ogkx7GbHwKE51yUDY+
6El2DAY8XKvhkGpod7Z5dzcCMWvz8lFs5WQH1BzHkrrY1DWE0lK4EbhlKR7oODFBZAOcKRSTeov4
HqUVmTZyk7YGSJbsNR7DmzJC9QPz5YOCIx7+yveWkKAsobkFPu6xLH/pphkpZ3hgI630jmqfQjoF
lw/Fbov8GqUkpQyoDvY/EYN6ig0slxTT5il5nBIBuJN6oEp4EvvO8QDObMCgR8g29Y9hH9xWqnTL
TfkL7o1uPRSPyaTgag8OEnpq63lIzPbfZDgCWwiCI5UOmLYosdIIAfNpl96goOYhxDcCohd2rPQG
yrY+z2fYfvLGMIOnLu4fC0Hc5WrrJuboovh6CJAy2shlA4nLh/igS0fNmIADV4dYGjrgtzHvHVH7
0UrgtLTMHvvopkLuVg/0k9XE34JKfe0zVIIEMfqsluHKVed68rF0bhwcLhcgEBPeMubhk5vq4jGc
viLKtG1wKPfl1VbPxan8J839FWlxfEnIoRbZKLrTvVhtcOCEyzeDC8yj/iy5Ah6w9+mRbtNLel9+
WVn8859+dyFYhF6s/WBS1c6aRLenlSrdIpS673f6LtmGDgKqKxnjAl/w5+iAR/O/MzpvxLN07jdT
owm96AbH9iW8Ub5YQLw+NZvpJBMR8aD0PtuvTe7F5l4McPHcSABujmiYu138tRBcwViBdq39+UUW
NCM4uiQPSra36IzjkbpyMF0+uPn9dFu4FCLXNqN33s8ZZYhcGbLJVffCuGsCR9kVD5mDLJSy0b+C
HN5yLeV0Mg+jt1Fv2pW278Ue4FiE0i9TarYMGlaL6E0rBghCVa7Hi9mMjU0iPBQBkodYQH+8EK/m
+r8CaQvcUF6WZpaLlVuWnoOR0a43nhAO+TjGtfcSuAsKKihb0M9bAi9i3IxFiQMl13xFc3iE4rGe
gFSVUzk7KmakPFZSWGLU3St3ca5bTmgZ7SmJrfEm86HNV6MV3MRduPaQu6xTvP/Iy9EnaIAr4SC6
/kv43UMn/1N4YxyKe/NBdbQ9rNF+J6UbqveO7JgTMIf+sNrwvraQz9aZtujvy2Kg1m0tuZUzOECb
t9oXwf4x54LuLt6F67obV+NhN4I2LyQxddlg1+oCViq5oLXbLWrhxwTTxZgSABQ4eQOEYT37XDzr
5kn+K6K1WGJmLySZQUSsw3dDc59l4FPl1zBWbXOAg5tJ+yK7SYdo+3dX3SLuYmY1A7pC2Khu1UgF
Z1VS9jsB7vYONtH3oYga2KERUO8c9SwFoaJNXwKxEoqx9Td64LeijeuzfyNm1trN5+ITsLmRr6RN
xbWXrvYi98Opo8c5xfdqI4hPQTr092NdqisJ8trGhtHEvQrrMZ63i9ELWRwNqdm6Wn5fQXwSpYeK
xsLHU7wWYz7kzs6VNg+BpqJYl8nmXQcLW8myHcYTa8fXldoH/FCJJw/MUfnijQC5JqugkJCKg+ou
MQ9GfCu3t/DJwL9sdWfcFckBCbmw21cZilSHAfnJ/Roc6VpGRnXU4lbPQw+66vuxJmk4pZg3ubPQ
ZcflzKsxK00BICXV2sK9Oq1noeb1czatsVDElcSGQUnBKd10m981N/otd7hduJMPhU0J3/n4Q14r
vQCKxaeFlQlseYm16goFl3m+ZCTETpnoR0UsvgUK/EE5qU5DIr7C9/+sZfkL4kUrsa9NLDUKziAK
kPgeL446HNZr08qy+7BFjTJ8topfSb7t0nD38RCvTepZGGORhVLVzJDTbtxKKrYDPIJx2kzT949j
XB0KBGcZhBxE6IuHU0YfBn1bV7G+KwqUTs3fmrh8hcHXfxIH3AQgaQsNoHmsZwuEFnlHQyq/10Ka
O1WymyzUBHzPqTGz+DjSn8L0u3squUqbATgc3IqOPPX7ULEhZ0LKCWk86ycdp5dvtTukMzILTWD0
2XbWo2K7JlBRjknztqOSrNjA6Q8woO6UY/BtbbVc3sv4QcBteDhSKUQmazF2SksSqkWl6yGSUNoK
Qml7v5YeAKBUTpVPj4mJ0UDgN/GhEjxhG3nmm0J3DZU8fQN/vbMLKma0mkIJxctQcKB030Kp81dW
9bxHl/N2/jPnpXL2ifxYMgetL11x4vGgPiKb//njL7MWYPlIr6Ca5UXpllJToHwBexAVu7+JKaUg
+26uF3XuqQiKBFyQa8A1r6Pvcvzp4zHM3+pikrgUIlWPZgDn4ftJQvqvnpoExVP1a5rv/OlLka+c
ghcvvHkEZxEWJ5Q5ig3NwMbF4/MbqhNo96pRayeSuJ+i/pBbxbRyJF6+tRYRFxumqnVI+FVy35+a
W2GDyN4vWHF2ta1v+RWOePB3a8+7qyvhbIzzPz9baqHhZ9hv1a4EbzTGOCH0Hj/+TNfO3/NJXGy5
ONXy1KAaOGo3oabYgVnYavDiVZ9n+RVQSZu8TleeDNcy6XnIxfapOY9qNUUAYZbZ1Iyd336Rve9+
IO//ydCodnEXBl247MvVg9gX4VS7hZ/k9mCl24KptLOxKDZTWB2iUdoW0XTITHOlAHD9o/078JKv
UVEoLIW+cdPxq6yUGyOItx+P7Pre+ivAYm9hJBFaAuvQ13YIR9ut9rOohLXFPv+Riw2swDuBT2Mo
FyD3sVXLrNRqN9Z7Y6/p7U+PpiusPiw5uP9uy1LfypX5Kx+mo+h3L6GIo9jHw7w6j9wbaG3SVuGi
+37xoyYe8QUN1zJPUTk4BrqZHwf445NwMUYdC19KXjglLoGRAL1yTDsat4FEt48SRLlTZGAPeICJ
tqD0+CJGbbUVaWec/FK7w8g1PGKI1oEaqSKn9/ATbYK42YvxlO5FcQD3I8vA4iy/chp/FI4Dnbcd
wovGVgiVzG5TQUKvFEZchiT0ts9rIO4FGMmpHtuXjwd39WUOml9HrcVQYUQttnaRWEEo8Pqst9Ux
3kb39FOit2ILVZUz3AdI/uufZCtw3ZDyQO1eWj6HcMp9o2/dMRw3cfo18E1nZUzXVv55hEU+BLjR
aFJSgwMs6/tIwsBuU2Nudq+0ZfdQpH7owAENHK/JFYz/ZIhEah5v04KS7gS73TX78ofuedMpD8y1
jtm15Xr+2xbzPRgo2htB6wpW9DpJ8h1ezcePh782+kXm9Gj9T9gDuI3f7dFv3E5acZIrbyXK/FeW
m4IXGThqeHSzXuj7bcdyRL9uaFyvrXYNkiGcD5+7ZsQHK127SV0dkMTNc2ZiAQGdT6ez401C7ysq
hMFt0vB7lOJLFwTPidqtHARXo9AGFmkBGzwx54vEWRRTjpQhkEe3Tp+Fhr6z/5br1cpD9urHN+A2
0hQQLxEYw9A2ept2bj1+q5oHSflHQ/jrzy++/IjjUNcPktt0FgWM32Ulb9vhxz9YXfNPhxoHcntZ
PTIa2df0enQbfBEw9drU+k+jVVdy+jW0DCgAhE15D5J2l9ypMlGFSWrVGaNsnuQi8h6QizWcFrgq
ejEdHpNlBxz0txCivhCZ8b0UKQFS7+hWdOCVX9upy+7NAK6Zoyg4VoYzqRvlPMURkMb+/PGUXNsK
5z92Me0GojxqSJXFS34Hxj1Q931rGEg0r5101rVrGI89g0SNjJb5p512tkQr2kMFuHEXDEOwx3bv
NU3AUdJFMw9wc3SnoSF68ONYp56G7YiUtoEtTTRT0e8ZDsi45uhG1s0GIBxSu4n2e0K77dQFUmYb
YNy2XqP/KhtTPlVTqtoCLmsufbV8680yhB6ihvvRKzq835RfsjZlJ6PzhU3lWwmeoob36CEhB7YV
0MYklKmTy1L4TWojNHsmPCu3cdWFTlNZ0iY3TJTOcV68QzcAAwUEjRwt5XA1RkM66IOh4Rnmh09U
ycZ9wp3N0bVQ+4yXdbKL4t5yPNrCx1yEgrrRO/OnOdTaXvaMcZcW6c+0SuJPCpqDHK5g/cXaTxGL
ncZtAfzZLhMk25Wu9Y7TGMl3MxbRKbHYOiA019joSplbr0qGo5ygj2hqVX7QdR8nD6OztoofW67O
DrZHodM30FH1jSj2smD3WaXvSqFCfbaOTGdKrHyDSOq4keUYSoJXqA+gdUwoAY2YQXWMejHeQErw
jqantj8kYWxQDfBwx/Xi/rbs5fLOiMCZr+yry/wDFZ26ElUe6hMXlRYjKXr4V4NbDMPJCIsHC/TF
x3vhSh2JEDOzGkEzGDhLnEsap50ZqR19i7tW7LcQZOzaG+2M91ZjoJ1Lgw1JoipuVwJfGxoFAbBt
nEfyxSER+pVRjS0KTkPpJOifDpO4MnmX25wWxl8Rlhf2QekEufMGV420n5Ju2IBSN12S7YDarERa
GcuS8Ychn16MxuCis2XreJwIxUqASyQgQwH3+OdEFVkP78+6PCyLSvZJ4oC/ezCYbJYTqh4bfQy2
co0mXbdGNZ7/4vvrwhyRchUwshmVNJ++Z6kL3Qgg29bgVgNGLij8iuZvtRvtVNaAh6617q7c2N9H
W2RkET2PTNRGt+MTCTJcnfhVqB7MUL5h7Wx0LDbFETMhI8pwFFKR3wQObIYT+CF9HzXRp7hPnkYl
PFSJcDSit0qHiD3p24YsiUKw9NvQmazRg5thJsbb4HFLF8tsBVt1pZDwfhSLrxQKk2716JV2u+ao
HeKbkFI3ypt7eSf9oXlax7Wr+f8lpIVKGfesK3y2auiQB2FhtLb2il7Y4MjfSztwdAdDpPSbZhc2
Z4WzkjMuz7V5oH9FnffD2eIYA0kD5z264UtXb5GSK5qt5CSOB8kVPWdg46FiT/a0bfbtjfgFZfHd
yg9Qrq7Ov37AYnUqiQkZjLyIO5Zj+HtjNx0su0UAbQvjwQ62qyO+mkvORrxYoGUcoYNCwOo1/65P
tp9S49igLIW8xkG5q2/V6bm/Tx59R/q6MtTLa+77uV4sqqq1kCGrRtfAOvV38lNKd//qoTTwJG7C
1IbkaqPx80+y89l4F3VEMQFSUpHRMC23q/zBTLWVjHY1ZZ4FWLwRurhEvyzS3FDIAT1KR8XoVhbJ
SgR10T5Qew3fTtJ/JkA6Engfi0//2adZcjy1OCmsEGaVd9e+FD8B8+4aBDxmcNvdsJUdLGef1lb+
1dUAQF+FT8cVdnla46A64iHu31v9lyjNYJdVm97IVz7+9SA8enku4FGxbJzJAtcrfRrdcSgPkiTs
te5Wk7+sTN61HUX5x6SrjYXgBTxahNTAtXhwo2ObOvJ0bI7KjfXETWPbWG72Mm0Bwn72nvTtx3Gv
hzUBZXPkWxfPoURBkrovNFcXHnAN3mB4JpqVvXa5meVxL45PWrmyAvyTYSyLXBqu4UPQhveNA9/y
iKE3xvP53lQ25kOM4vMmeyudDJSCspVO0hYRqAFpQyrcTqL+k2RNXwOyMGIE0K/nr32WrHM5FZp0
VEGh1tmcrMdtbaMNNzko1t56zxYC/C/yBsG+t/It+7WWOa/twvPoi8SJImXTxzg76lEabooWq2ER
Ad2/m0zgrsAlxlWCrhfkzEUySUGhB0BRXATwih+ZMvPrAr/af7xyLitv76MsoSdDCXhuUntXeY5f
mlsMUw+lY034khgn/Dac7G5N1uZiH84BLeQsRKSo2I6LYXWYm/u0pFw9b9NHo9PSU1OUMP+Ktqvy
fzCFf24vs/ct5ZRFLG9AsbPPS7fG3+GXrwXhq9WP0kpikefD6t2tkqsk+ORZo8eaG8jztjlbiwNO
5EhslejY6186uhKvRiOar+oQpN9KsumMGOrugWzm21DJi9dEVR4qHA13kxHlt5ieic+lPoRbJVLy
F+hTsHGaJBydXle937qnCJ+rOpRuVGlS96rfp7+yuBCwF/WC3y070p5SnKBSYxx/fLw0Lhb5PCzy
iTprAlHxWpzRKjantSyVrqZ3UMkwJWVOVr7P5VoghAycHIbW7Di82MVZH/mCaoG81XxcRozsBTHW
Z4jOdx+P5FoY3I5hrID2A7O8/EAQDxqMVlypi9y8lu5zT0xQMFHWjs6LBw0zdh5nntGzhdCP6AxI
fQaQ2M6O43ftUN8FDpiJT8q0ke8lO30Y9ulzf6M9hCsHz8UBsIi8mMgyLQMkKTN37PVbHxW+XVSg
8Sv2mbHponBNvuzPil6ueDrZosim4pG9fLmlhanXWl7MV2VH29V7aJi7dtci/BLhyrtG+7l8D8yj
Owu3uLfFdW2GHeFQh/2Zj20GuVud5ezQJlXT8iY11Dt8yW/TZLqdpualKjy3q5pni35IVFVvPPqC
tfPn2pKidQSDDWVaesaLzRFHlSSUQeEmg/U5nfXOUu872gaOWI+f9Vb+1uvWoVOG35Esv+Rt/Crl
44vQFidp9rZQppVH2rUMBG9I0lVoWSpKg+8XXiRDbUi7wpVMwKAp0pu02JqCxoYh2bXy+e/vJuCg
WIBxieIisEiqqt77UgDyYSgfh/bZSoGD1s8fh7g6HpluPCbM0IWXp7tGN69Sjcodkq+NNSbb2mw+
j0gzoCgVnywUaz8Od/VjzmIs0ERVZKgX+UGysjSCpeGWOsodzej/BqF+E3Qo8P9ncRb5IW+npA71
yq3LH8nANa2hApBLK0EukSnsFngZM80TEhBL4v1iiFNrKNFmcQWsbnfBhP2NlmStEwyZv41S03qL
6yREgMFXHST89f1UJOXOMzoEkzVxuu1NMws3ljpUBzrVMcZcCbY5lZprDqw0YQUYcS1xAYcyRHge
YASXECIVM9BqbAANRLWd9m9BM4uDHNrk9eOZv7agqCUA1sEcQru4LuItpuseRq6tlCBZAUes8D5J
k46kq/XVMOOV9XQ1P+qKZeDkqZk0WRZbpBdxCh/V2p2vdbcxqM5NmTbl3ugQSa70Xn6QEUkxEZ3r
RNQKm0FyTByeEaOAl44uevKM6L78Dw5bOhmgtUDB8khYJolciJR+1DDq5OWy7RWJu3o50JQoILJ9
PNtXbg504yi7Gii5gpBaDD9OkTsdK8kVB+qTw1c1HbcfB7jyOQkw/wceOrt2ke86tRdanQBCV95E
5iyd49doo6NMohfxfYzP7cfxriSIWTqTb8L/My7AXqHm5R6+4K6WVD99SfKd0BjkXavEfz+PUxUn
pap8JNCdi3EVPpoCsd+5AHan3vbQa/9VCK1BCyFFTS0efP+31+Hw8PHors3medR5j55dW9JK6vSo
7VytDnY5FDiP8qP4SYu3+AevnJtXtjvzhx4hMHzQ5ssPVxneNKA447bFg5p/B2Fgy6golVG5kgSv
fTCTFqTGy4kn9zKj0wfjsl4SJ8WaPhWjHsDV+Jol4u+Ppw7zl4u7P8wMCZ9YIM5IYi+ODh6JbTiC
S1SSTil2ZiCZN6WW1E9Fo+mPmViKUEkjdStVGYqaRixt66LUP3ejNbltBoY49dvqFQGE7rsX4w5t
41ludhgdFIKDH12CSwCoIx6Cjc193LTNOk52Jc6238EKWttWoQoc+9NvSe1wgp/U6ijDNcN8zsxO
Cm7q7oAhO4hkvfqdRkNjfzz6a7PMGQC8G2mFWWfh/cIRUHNoY3M2cRR2g8gFsLZ2ANdXNsXVKeYl
QiS6RheYYBw9RD/uJDfEbxsp8iDbKkL+/eORXMaw5mY7zSj+D8DsvEXOtoCACFegT5Ib5OZRSrzH
Ls4f/7MIizss1lpmBxnJbZRfShNgkvXp479/2W2AZgBTiNWoY2F1AcZtc4uszxcXH5FHql7DaoMp
8C7ceo73SXxQH4QnpKDuzE/zPd3aa3a2TU4ISFFn3WPM8vfRgH9+jkr9mN9CDWOxMcoKQ+pck91O
0k/alJ9insN/e5PPI0YGFNDmLM353+yd2XLjSJamX6Ut75GNfRnrLLMBwFUUqV2KuIFJigjs+46n
nw/KnE6J4oiddT1lVmUVJolOAA734+f85/+OAp1RzKfRF+W9ivGTjsuWWjHz5TMKwM9znEHmDlT6
JCjoHe9lAVAEGNvKPoXrLQ2v0gCosjjnN/15BWYQVCVYlGDW+kn+lykizUiSvDfLsDmIWUDrR162
wjLmnXCCoBtWAm/h7dczhh350+LFsBYmtEwYjdDg6Ab6qhfmEttaAbTKqaUSVmYl3aTehNt+GX6P
E2svpMZ1XfjXgmHdCLSaeaa4LztUDEjr6rxxm5rWmbgjyEkdQTXsTNE3dahhsFS4bdsjmPyWUWzz
ymgJ2Opa8BMnGCXc2oFcwk+T6/LQlullG40kmGtMeDPZGZPcs4sembfad3TneONtJ09oZvXyVWzo
iS2tWx+qKzNikU3DtZqNh9FQVmPkX+CQJ9gJOIG0qi8FMrB+AEidnGiEjwvMWBda5cVkfiuiwsFH
/gZbKhx+mD+N/pj08nevyg6Ckl3E2ug0BicP9Pq2NlhbaPY4UEF98i3rohwFavvJjTizO6aE0np+
IwikroHPLMHTkhPs11ar30fcfvxFykvYOhcdQvEx6B/6jqoSnK5+SC61SrptS8FV8gqejhxecvPX
wZRES0zjKQcG5W3Tq/JSD7N21ybt3jOt7SDCtcjiNRF1CSFcuKXFBlB5bSOHccQYy30/W2txdw3l
OYPXiG/bRGQJK3CRGP2uF8iDldqW7p910YPcTAxb9PtFUiiuaKY/a2m47LziCe9ibPrxP9UyO86A
0UTcwmJ4Dae2p+TY3YU1/yf1vEfYlLsEQisID2KwzDMfh7Fc0DscunnGIVmeG+R1BfaFum/6eslm
6eaY8YRsbuVQ7crWc0A/OuR019wpJ4rDJUZWjlH6C6nwluyhdj9zhVrvwtfwKRNE3D8EeWv0yoIy
K0dQMzxXMDgVqxC8crxXCOQ/mbRTR/aNwoDq4XOXQWtuGkgsmRatsjQ5s8iAkzvxKr5vv5tf1Xcb
UKmqWSCH0UEbskWWmRAtYQPk5rZCiVmPyRrfz9hp8X5yyRyCIFzkTNoA7y8reMFSCwnj3RjexV7t
xFrlSPS2yclrIvW2MmKDJ10ZeNgPybDWdHPX9MO2EOJVA9Q+aXiUxXiT5u2PKuhsAY6yrpIxgvRK
d7jirzrDWEHhoPZpMFUabaOH5aOOtRLSgwLSiFi4Xt4u807iVNVFzqgYv4o+fMaYJV+isNzSCOGO
hgUppd152hW+CBprQ3cfiNod5i15vMY5ZDU0FMiFzMFm8hJ+zqKLB7vhdJRlD2IkuGq71aTISeIO
AiuiQsEpRzisEuDZmvaLetOa4sJIce3u7SnYmzK4VsWtYNTKAv3kLAJeorh9uKnGbVOtjeROyu7F
5Ebwb5XUbWuTRqrRlbpkoaHwyv3WHQtq3QHtAG2xojfdodyz8/raVpL6Puqe6g7u3fjctldi4tl+
D0k1vh69l1DGe7DDsyBY6laJ1ZThlr20KTt4D0Vnp81dWtDbro0csTOe3k6qccsscYUDMlXfy96l
118puDEm4bqQHkw4rRmeTJeasYVMZef+86DdRsCJsG5xdf/Oy34UVuMG6uDSJchRazWrhSr6W+G3
3XaN56ZRvpBy7SKpdn6lrnB9W+lmsQu91qYr364l5UIMfspKuMxNBMBpYxcypYZstIVRuki8/Jun
UsWKYJSAvcUps2hwNpUcQ5vuizAi7JR3WTXghlhsC7+/jFN5WXUjnqfCTQQEO5ypvkWxq5Wd1yo/
Ygz6RSnapMXojsjNTSHHkE1YKtprIg53vWytUit1cktjDU8cYZhs8g500WAEOekIAPzHtn1QtJ0V
4TfZkNzPgsfYki/wuFgMVrxPqpEZ2Wk2sXRkiynGCAhqntq4Z2dANWj3VU3/tCGsSe8x0EyGMRUX
CLzu9FUcrvIMiwUkFa+9NtwmwXhQzGlXg9Im0RU7ibiRjLs2znnT0h2O2Uj0s2LVmvN2Tdu+NSR4
PohLDGPXnh4+pPJOGqbXrtJ3wKI3YLBzJ8uVjaFclVhAFk3OwWB8VGCXYX3rKqGIJHieuuIl7+A3
z7eAAN5rg+YE+W6GwCgRYgAenlre9SGoc/g1aqDbPVA4U3eDqrnAJbZxpFJ3M0m/9FNlq+IFCr/H
lhWIsNiyBfHkptoPqxg2gya7RtFdILa70JXODSdzPbWKDfLbtuoBp9rI9oZ0UeswV/LJDjTPNYMO
W+UHcljYmuQLP4tdMb4JTVhH2L3lpepoGBlElrVs0BVLfo8bROV4ZXMVZtg+ag9W9+g33mb210nL
XwlGgPUMToLZ5VmCHeT+NgqvNKlx9DYGVxMscgu5WlwABZJ2Qp9eWW0U294kroA3b+iZgIbMFdYE
JQNusOT2k2/sMZvYSG7VKruTs3bRsffEYrfszPRW7qRHtqpFBDJ4iT57qwUWaHMAgkswY3NJs9yO
zJQo3Zu5voingVcVafwu9vAIDFrSzKVIwqHdNOg6oQDrz6XXu1P5pBW+uc7DeELsad5ZAs+Zr2iP
OT7phsFpt4ZulLl6/qNDC8T3XH8d1J0KV9/vI0dhtzVUea0N6SHP+1+ilj77YuBaeB/9O6PMXikU
b5BSHR38pkIDtxOHB1OpObqXWpBuRLVUb8xaLs9sjScKlLMBwt9jHWUnYGoGhlCJe1nDPcVuQnsW
5czO86W66J/KTbOKl+dMIz4Be96cKlC3ku5BJUZX2MftGDpm34qWQnnZeEIZo6mOshvvyT3vtctp
W270pfGg3Hcxb57dXApnQSOnzqOz6wI6SLTHnypW5HdBUesqfbCwuaG8medS3idSlFgrvRth/gbv
Ag5B8kTTG9S9ZhNS3GTLbm3emjYQVQfD36Xmfj1h5ozfx4IRoykGlmM4SXDYODpfG+UYApVSaZ1u
NrTYroK9tBDX5+bKiUrsx2GODtl4VBcFGRPOwJO/aHYqxv3eZjwI++CWQpytHuAVXKWXM0RFJ0LC
ZwCi0GW7tnbR93OYj1Nnure6qaSS0fskagliudDCgqZFQ3qpO3hFya05fEsnNbJr7fD17f0EC5jn
q0xMKGHvSDL9OOGc1p1iFb20H7dwhJbDWtxMjscFIpRbnVNRnXw53g32Jr59N3WssBKkKR7RqUlL
qb4zwNBbCvZfnq0AgigW8Z1ZXQfptmLxtopfYWF3+zJbVme9XU7d4vdf5Oj82ndBIYsCff+vfj1c
JwV9jdgEIb2/0MfhTKHipO+ZjFXn7E8vy9JxQoOEul/BQNwX1lhtx4RknJ6r5VIsm/7BgLe2kbRk
YGHXJFoF61G4Jwj2gJVZ/nAm73FicaCMPRujzQaFn2Q47YCwPfLF/QAW1MMnXB3PSVfn9+TodUW8
NPNi3spvx4kBNa8yU6cd0SsSEWJZcGHU0Q+l9Da+xLqX4zdbiETYZybxyetCFoJsykQFeTyJtXaM
pE6d9n7VhBeSEExriLbFXS13nFHCoOdw0qUX/ZhYK1+ss4dEwfvbK/uBypFi4B9NcJDgu3fme52c
ZXBfKDPwX6rdH1fKiS/s6ayUdZxeqMYu5EDVDM8evcgwjP9xRhXRK8kmNGSz8uI4o+oVURwFlrin
hGfj725H1U3vf/v6Pp+4zThb0p8uIoVgHh3tbcVAWsTr1D1YxZumKw+Nfk6k+PY1j+bPhyGO9uy4
TKzYpwUIfXrnigsEApHLodZaZL+0RXrp7UrcMtQlvJ77/HFcGQiNUldwtatz/bvnrvVo35FLM87C
nmvVAnokniIyGV/fTOlzloAn9u5uHm05rd4IPQewfeP2C8z+1Ifm4EM9M5x4Uz3gRoDfN5mr5TkF
2glNBOPCj5vNg8mBHr+igFhLOa3AtS/VLZBzursFh6V3k2+w13ayy2r1j72g2GPejyh/fA/MUimT
xFP21DIqtwzbfuXrneXCJ0iXeizp9//OnZ2tQ+fcC7qGo9VdF/y60BqRCGVaJqpT/Ji12GTj8t3o
Ak+4rDcNu1v+8vWwp2YMsB2U5xBOqKQfjVqXoRlWdbuPx+/huPbafywR5i6+//yjuzhKJO8kMTik
Gr5TkFqL8vnrC5hf3+N3j7KTidqJrDhNkR8fkzrE+gyO2/d6vTcTb0lT/Fop+ut/YxQTliXYRxUk
1dEoAk7KcREDlMRVYZ1aZJaMNJMJzy3R/XqkU6EjMhvceGUkLgz18XqwURRDv9aR1Ibr9rJZz55U
8lmjs1N3jQeDDAEVjc5O8XGUyk/LZOJEM6XanVFpuxIOgm/V55aLU3uJNYsFMbU81edcqlFOcvMQ
RXW4iVuxdkyMMxZYYZmu3+fLCK/Jr2/fifnMQo+2DskzUshjqRYyrUQnM3JoiNhWYm5JcOYac6zP
bFyn1iNiov/evI+DQl/AJhFSBOuRt4L+ccDSH7s9DCe6hbos38Bs9+d04yfuJmPSRqbyvyewqjhJ
kUgT92GZOJ0u255wTbuM12NE+89Vq/TkzPXk2ZpZxOXi4/xQzNDqCy86tOI2TbeadUHX3tcP6tTF
yGBa55ZWhVjlKMwwiySslBq3JR21iKfZVbyVymelu6+acyvryaGwX5913JR+jovWYZxkUq8Hh9n0
kaJPvE7XkTu9mG7t9i6cjnZHzpj+C+tMDH3iVaYl7u9x57n67uBADblJPTrivXyP4aFjgIQZqldF
bW2p7hdFeeHp8pl5eeK9ZlbqMzqWY/Snwu6AapeWTrIHakv730DQ1mSxdNC85FzodupF427OpTS0
AJ94bcBXEmwF671CGYgtZKkX1j8uhCOSJSEgoqyhf/c4cMuSfLIsSkA5Kbk62w04F3w9BU9ewrsB
jsK2UU/NIfHSQ6W/4jMGf+jq688/9TBo+FMRTOJE/WktUiI1VQcMxarGWubyuJ7Iq5oQnb4e5URE
RsX571GOIrKi6ScQXO0e+JBLanLRhwXWsQCCgp9fD3TilIRfiwI9jEgBUdV8ue+mc5pir4Hpx6Ei
eZ0Nzwi+8OE0SEwOU+XUOSAts4rPBO8nx6TgPQsw36ByH8cUetjdjR4B6o4aY7YlbjeaCB2pMGS4
G1JrPYlmVnl2P+lPX1/ticlBZxMpvznFwDw8WgE9fMthmdAHqIV2XX7XhbuvP//E5Pjw+UePzfdx
cFeCfi95h8b/ViWb8/6fc6hwFBpxsMJjBG0eco9jtwipMb1eoXlqeAU0WzvZoXiRD+XOezLX8dJb
TGem+6mzgcbUmJdZOgM+aSCsWg5pcBXYE8dFd5Ut48HxXJXkk+Joz9m2WAnL8Swf81QuiNnBBRIy
Y4dzHMrEYeWBthf244qkNzy2rbQ2XeNSfy1AiK7PpblOvG3gBGbvDazAEVYeTQvKFIbf93TyDYbr
Q1by/HHTCO0m96KbryfIialP1DTjFFFbISs5et2USisKmbSTMMEeS00KYD9lqs1h0btF8tBFyZnV
8OTjwyKDdBr//RP6+P79LmWh66eyIlSvC92uWyu8zqLeuy61NnelsUhZVzrqfZddrkXbrEny51kk
FSK9FsAzF6UoXhiDGb/KvpRu9KmyrrI6Hs7MMqbviWn9fprNb+67dagZvKzXJWGvDJmTTOWyG/F7
07rLmm5g/MLjldF334BagO+bHOQ0V5oK921otmNfQuh5oXrvNFW0KQtlFeQivCpvVRexq+XBRs4L
WiWjTTR5dhTf5A2iYQiJXVIujPjR8xJnKgeHRXxVWJD2pMHG/XuVFhaKAZKvIZ4QyaOY1UtdHFcj
clMUO9SU6pUkVXuxD/Yt3MpUbB3ILJd9TIEz87eGUl5GRnEtdNJtGr4quXJdxjqSh2yleyaUk2Il
ZS8+RTaLinHYbo2pccPB3JXYp0pCviuF1paN7qaVc9c36V+UiDbMYtEGil2QGhYaCpvG6IBJcmFi
uKr6AlFhFcj5ZpJUNwlAv+fB1hPgpSvDYpAFIILyNrVUN9S6bUNtTA+aq0H4lWrBHYu1nWTijdj5
m1A3L3zRI6wfloKSOL73NETdjtPAjqRW1bxmsr+Kx+rebH+1E0JS6RnZzLI1Y1RtiR2a4qoMnvDn
WZqxdwnFz4ZY9Wzh/5Up3coSIkeh1tcCsijFdC3H4a/RJ7dc6stIpmJe994i1eEuWwUiCYpOalT8
9DTDHqQfZqffZLXvCPkTJw9nkksnbBK7h4hYiL9kOVoJcrD082pl4ILXlbgDCdVjJ7wkZbxVDR9T
2krYgqci8kC8PhWOj6ZGrGVHiJ9zb7DlnpCRHiEIkKuJfvY8+yHGPK6y3URhsPYGyykN3Rm8lE+/
GQ0M6yMMmERlo4x1gQeStbXy+CAMP6Q+uJIicztU0W6iJ1mIxqvBWtWa8NTBfxkaZdsJzaLyMMmX
NacR+3WsV3Y+iGx8hq1l3ioCiyiHjY3b1Vr3n/O6d5MwWQz19RAaditcVd6LNrxYSI6G0c7CJ1X9
2VNjisQFIYpjGZYrd/VFad7GQ2grdboa/MBRo4EaXgbj80E24kVRZW4aQ1IShpUuVG6vhc4IjDif
5Ot26LdSbi1qGgOFUlwS06FMKNaB8FJjNxK20iLsqSfnJn64WaZtSgM/dMkc79nUv5EirGyYIXdF
HTp5TCwhzPy6ACNJInPNPwSx6YR5OrPfVmaJltxTLhPJWCD2cUcohanRL7Hpt4PgSswke0pEVwqD
S5nnM2CArDQFCgpzUc+JsQkNlPGrDb75BdDzJpJtOl8cFBlAlvXLqOrWcT45UW8ukua6Ket1l7Su
MfJXIYaM6nNtvhaqskINugzidjVYwRpW2dqK83tNB6cgUUET7o0sXWt5u0gqcdFatTvG7UFDI5L2
+5pO5oh8Mz26bigPy4Ayqx/zFUpl2UqNq9HPUqq9G8SQ1fxyQwl4U3vdg9G8xuY3bwCjWQNPtbxN
qZeLEffuAtdDw/8BtCV2Zfw3C48CQTx+a7oftDtuNECLoTEiGWxwC77tlUdJemjn507CR6sOMycV
a2QbGSO3cibk4dGMsygyN9uEzVXgJWMbaUIgLmUXIxhR+hdVd4iEvdEUjz01H8vA7i4cwNYqVbb1
0nE3SODJY+J725qNV9Sgve0CY214rVsi1pJSGOaW901Kol3QQd9UO+PHkErXsl+vm1DZVU1xT/MC
VkPNukmK61yi/l41O3Okf8BK3V42v4sETnKQOjjeQ/paCgj7RlpMOJ0Qzg+bHFwFptf5DBbU9XU+
bHzKNhKH9aYRvoeN5s4t8rMuy5XTp64gKGqSldx/T5NNRhuIXlRu5perQkccVAbryBO+gQ2aho1i
ee4kPKTVNTGPW3SDO1TSOkPAhUSj9QC4YrJBYfyQd/laCowzm/Ubyu0otiNlR2vp3EwifXKQg59m
jKYh70N1Ep4CPCgvxEn3dr2sekshxhm2ielCjrvu0mtY/ZEsoxPws2oC6IQNHjTYcoeyqdrJTZGu
lDDVWR5CNE1qFCy90ohdJTWF66auWA2GeHQFOW0dBB76coo1dZMlQXmdKnV8oQUxCOGs72543ume
3jV1BR5kXPRdOZ4D15yO9t7FmEdRkaHVUtQHwltlVbzH0Mip3fguwJ45dNPHryOwU0XjN840Zx7k
b2QpPkYaoz+ZUkXXdf1XcTV3hAXoRHf2hBbc4P7McHPS7eiZfhju6EhQoDnKBUV4y60jxtqa1HCN
VbQu7s+5ap+O9UgTzD1gaHCPm11Rh46j4nl7Lc32Ss28EfpveCZjKVWyGskuXJZnWetBTeK5kgbY
gcIMPcRyNCIzSiB1EMcsdMM7kxQ6FV3Pbj8cMymLfYKCaZUu+cE0HbKoBZz6IEnNumDIAPPAr+/1
idOX9n4g+eOTFdU8UIvM2kc1XjyxiDLrpVXO2e+cuhpNpXNQ1ebOvuOzQiDAp6QwdIiEbaXeF6Ji
59G3DhHjP7+W98McTRtf7lOF6sFBj9ZtVLmatfc060xe6VTM/W4MfdZzvou5A6RahZL5h9Q0EYv1
+tA8ttFQfKdaKD/2qjhdS4TM93Hr92dGPvnG06hA7ZcMsk7XycehPcQUkm/5BwRuC+GpQLkxrcI7
uovx5tDPOC+fmhbvxzo6WkxKV5UF1hXRUKaPA1A6IsvIN1bToEnLr5/aZ7e92SIZ51TOrRQvPqVT
aBJoI2EMDnrQDztVF+rrRB/KVVMbHA80vJR+Wp4QQ0fytDtP7DLRAc4sO3Hhs7npaKZ1x2JhLhDx
idGTBej2oGW6ttVStfsOhXXaZJORn6vnzEve0RrFt8bJgH63N5vqj09DrMNmrJThoPu+tDAnT7Y7
b/QXfh49S1EqXxWWvvn6Rp14JnPLAydg7BOsT81oCpI71WibQ9RUL7UqPRAF/kBgfWZBOHFdOK7P
TD3YfWQzj5b6EOo8xnfNIVGmg5WhvZQUoqysS9bJJF0Y3V+OpP/5Ovwv/2d+9ectq//1X/z7Naf7
L/SD5uif/7oMX5Gn5b+a/5r/7L9/7eMf/etQ/Mxum+rnz+byuTj+zQ9/yOf/Nb773Dx/+Mcia3gw
1+3Parz5WbdJ8zYI33T+zf/pD//j59un3I3Fzz9+e83brJk/zQ/z7Le/frT58cdvZMH/8/2n//Wj
/XPKX/3vzM8TKnx/ftJfv/7zuW7++E1Wf6e/fjYqY6GhZ24mEvQ/559I0u8UCkhJzIYv5LVVHk6W
V03wx2+C+juNaLpIzgLFwrw8sJLXefv2M8n8nbbgucSFrI0sHn/3f7/Yhwf09wP7j6xNr/Iwa+o/
fiPr92Huo44ll0/mRyXdipHHJ0tiwQccIibdC9XbIF/lbVsLptM1hVf/Gj0L5m6g9mFZ/0zackjz
pzCBfGCHiR8Kv5pCzNLBVqi3yb470rAXpm41YK+R8FrLyuTQZT5CXKsnpW6WWml4mu/giBbd13rd
GhoG/9pUChzG42LQxoUQqADWG9sLNWSzTtHE3Hk7xUBF0mmjaAzOh6rXDOVtoIaqktio37vYtzO9
MdWlJ8tTcYd+vW9XnGy18blKJg1ArCxVQneRy52RPsO1TiM3LDFFhhdsytT5kRdwOuTA703fGimm
Km9LvRAlErplcVK+AUGzgKll6CS3oVwWXKonDX1gF2qNFnusSjwM4q7uh9WA4/ewbGOgzSNkU7aQ
EqGYzGJkC2aQp06dSj0WP5MQFx2/IHSke6x8zJK1rxoDvsxDpVgX9WCMvSO2anGHNCFR1kpuSP6q
ktMBX/ZB7srZW9lSEjSioYiD5Jalpi9pM4okwIh26stS8pylo1e2dqULwoCTeyn64yVQ7txsX8O+
q5tLXAjGWkPLSu5GsX1/UvOVkmexPF14Mr1ujhETKF57pSRHNA6J3fTkGUbjr1XVFwQ7qjntr0dY
xL/8eFCTSyGtBLmyM5Vmjl3uR5g7rLwwlPxNpMQmOO9y1KR8UflJGGwpntY4eKUkw5+iVER/7qei
HNgGHUnk+aO4kSIblrnZroUx0YILaayDYTnJkzkc0kGNAafrTdAsB61oRltThlZZcJNrzlxCOz7J
+IN+N4rCeBrCqsvdwqKEhKgrz0l96wFBfN2GkPuANhWDG2hDXLk5LcnYntZ1ySHeMIXeFaSyJE1j
kU7Dq0JBlxSQIA1JLxieepdlShAscdtSK9vIQ9O46CuuyhaMiAyUHAjtsBnzMRSXlHexOw1TI/wl
ZU2L16kuAZRkFaJvSGytqXPrIckx9JfjDKlx72mqG/lFVi70PFfv/EqXW6chp9LawqR6uaNNFbmi
3lC6R05lAQS2CfuiXduGiuYIpSL2q6HVy8IRvJSsSFrB+VQh780tX1H8q7L6wFoOsTZ9V5ohzl0Z
ub+00jRhop2jkNUcqbzie0ak8sb2RY/Usm8Ub5kFsAqdQBA7c2l6khkecIm1RkdKm7xzYtMI9N6N
klDsDkIV49dpdEFGhoRpAk/YL2PrUqsTUd/QnZQKW57bZKxA9CXNnRxMfgnqXdEEYeVnuSBgGhtg
FTKhjBQmu22NeJwWrWzpub6yAh/BNzcyVNKLGuteT99ovZjRr4ixR+gvAjp0X3KeE/6MacAquLaS
KjFteTRD/MmjsRQ3gOdzoJRNZGJrj99tCeK5T0oy0oY1sCpYGd0Qbjt5g8+L1yfjpRdYvfYUq7FI
T+RIQ6hdEjRarVtjUBCS0hITdRUNAVk5GRu5blNqBSgjXoDKku0ym8ii9UkoK/SOlKXY2AM9dV1J
9TRKxmVSalWvLqPECPUtnRqxiUZ69MYc31q6Cys7zL2kuUGVOhkvZJ5gT9ldoxVhudTHWME6RElF
aphuW4ZV7A5dZwokJ7o+4uyrFLHwqxLCDqFdpYzcKYdiakdXkFnU0b0+Q22e8dUTPIB0Yxwv47jI
zZ1CBEabC0ZWXvornHSk6Xaf+3n7KrbYJKP5N/vcegiHwJ8WfVnTySJMVVLiihCTTPtVRrlIRGfF
Vf/qVXoBbFPPyQQao2IK20zKYusKE4bK+qZWvJg/MkIm71tTEXU9i6xqpc2r1Rf062NKkJHrpKHr
ezjoubyWqYFXDxp+wNmvXpNrIrciSar8lvUv7txKFHNKCkOEiy4xdlxr6DhHOrrTrZRKOogiKfKm
W7xnrO5aiPS6VxdQMTX1JbByRd/nXakHWXUBUqizAlLKBTRbl0V+PtAi28nDS9GLjHYp+IIOyiap
1LblsgvRU8ZF2dXZuQLbHKv/HanOkqYZZk1kPWsLwRwdSVz0qO5xW5IPIBgz/VcgqbWxtnxqymfE
yJ/HwRQGayCq7iBsPp3yGnUcei3y9ygZHZlVWWu+v4uQ/gpE3gceb9/045V8HOHogGclAe7Mob8n
UYltP+yZydZ/1vfmNx2jPZJoLoCE7/pLRbsqmGtE0MzpM2fMo9PKfDdBINP3T12I6OeTccnQ+qQH
tHyPI8NKcXnrR92ZHrsXcdPBr6ccdB1cmK8KIM3Wxiv66ztw1BTB6OiuqIRhfg4H7HPkNWVJZIVB
dhmFtr5VwEGSZrvQ3daNfzSzgP+sdebRqfPTiMf6nqQdS8EQ0stZwV/f55fWolj4d/qyWAX38eOZ
y/uYKJgHoyBCM7RB0AtH+zjPlMt5C6G2BWyPC8q4pQXVCZzolqY/yjWwnaQFbKeLYPX1sKdGpdgH
04nOVjqrj488VoEdi5xfZh6KzfEup5LXAssJznS0fDy//XlxVGWxuuT4Rp12/vm71EHkWZ1a4acG
natmnVVqgFH0Fn99LSeelwIudC4E8wqqNNB8HKVplEjE3/Uy21Wb6ClcCE68Myk8h08ZetuvBzt+
4xFbYJqAswzCFxkt4NGNU5KsNFrP2BSh55SQe9vk3Cn7+NG8jUArDhVt2m4+iQBJ2gXjaOqbQKyu
4li6bNPQnapo23vpmdP1qWuh41ezMNKk+0bl+PT+6dQ1Z5gpNih8yoRIFkDi3DfPrJBHvQQo1bhh
byKEGUaK28vRFBiydG6rMjaS6n1r1aSw2w5ybCF4dKiKnASyg2Gk+JmF12M54DEWrL9+YMdT8G18
Q6Roj1jJYl/4eJGT3JliRswT6UlypeA5c5t2ud6QZTlfRZ9v2PvF+s+x1FmLQBKTDOvHsYZeHTC+
0Dez2GxyJUppODnTAbvR1xQHzyVyj1qAuLUggCi40j3A+syB5ejS0ixLSjU0l+TfgbdT4U0CelTV
ONWtC8FXkviCt7LgDASNGBGNm1pmldHM6seVdZ1l7aQMriZlXeloXico+1aMzGZZa6ky7jqrrNtf
osz5TabZYz3mSdjTO09byLjuylKheb0efIpRKLOjfaxGOoXocJw0pbSFUOrbG9UvRO2i5Ngtv3z9
TD/tCSRpkPJx+sc22/xsQ2llBra0Db23T7CAHMnuXhpbW3WOtWqceGm5f/V0/f+MzW+zJ+n/O2Wz
Cp6z5/cZm/nX/0zZSL/P6y31gznIIn0m8jL8mbIRlN/nytRsQ0rkhSmYSNr2r5wN6RzJmHdx/gPD
StH4q79SNurvs8XevEugvGJPZKX4BxmbI2u4OePDpsPqZs2+cJ9DQFmu2yyK7sQtvA4n1HHNLZYl
HpWG490Gj/zbhRZJGvXKO5e0npPSf68Cf41MQgpay+zXZR2teEJnhqk83PaOueofQImuZtbvlNjk
dP4n0crHBe7zcPN+8m6PRSdRdupwK9IycD3HZ8o6BxTZOeZr2xIfpu55w5uj4tjnMY92Qa8MxHqY
buuFt1JJAnS3LC4ELPIyh71Z4VmvndmqjraRzyMexcGlr/aqL96qq26T3WKXYBvXyCicca3evJvg
JyLuo7Xl80hHi3iUYYIzDm/XNt5Ly5lOP88aP1kaKwwrVuS+z4z4ccLgAo6DEW2TsJ1Y1jBeO5ow
DXKipNG+z3ezXc3hC8Xb3Rz54cawGM5syB+ny9tguOBATDWxIPxsmTgVg6KP1fPY3vTxDzJ6Tqud
KeSdGoGoEuTSfARDh/9xQkpNJaqT9+x5t2JJ5Wtjjj/O3LCPgcuf14Cb7hsxYbZdOhrBGOnkV5pn
mjKf+mdsQLbQw5kQxnbczMDec722nyqmPCD6o8FI6TqeeMaxmNJoNA/L2ed6UWzERbrOkWi9sRJm
RAKpQ+8xuI5W5pl1hL34w0IyXyYp71ncS9sTHSHHsWZHJFikyUvINrvFJyR60Aa12da14l/oTSeN
4O4CVcZPJzBd1mf9wmpV+f+wdybLcSvZlv2XmuMZ+mYKIHoGe1KkJjCSktA6Ggfc0Xx9LWaWVd28
WWZZb145zUtJEYxwHN9n77VBNo3lvV37y0+PDNgHnEX3pPO5+AjDIfjImccePe3jk2A/gXCHzEt3
oJtmRcvzMzer9237Zqq2fQSMz9+2a52xw0oWMORfkSPsO12O9sdkTQL4jmnO8jysY5SnHeDh3dr5
7UOT+xHUzVzbWBFYuDxuBg4RbGWL+QHHZVSx6AydxWHY1WENg8VwIUo3ArRCN0XFtbXdHt+G2+iL
8maC/VTvfjU+7MrZsSlGslvTRv4AAhYvgbbKtxAgbOpUM/8itpNus3e33nyes0bfLW7VPCLQRntY
lIm7Omk75a+jQ7AhGN4mMvasEdRlaswmUQFIB6MJh1S24/wjo72OhiejqOCdBPz0JDZsjYjVLV43
MkDMdxlr8morNFTcMjLLiwhlaFRIPUZ2kLMzt/tCyXW+hz0Eub2wqRbcB50f/un8Rv8pQ5/sMM/J
sUDuXRj0LZPFwjEviiCK4RSiSrX+6L5XTu9nscRfdZTjZL82m3LzpJkLJPWhaaFLcSCLDXdL1+Jd
Y5swp3au/W/7mgMuUmfeb39Yi5/ER8ycYnaHK3zZZCQiqWi95JklftHys+J/pC5ywlfyqMHs7gsx
+knG9ndgYmcSiPHgkEVbo+aRvXex13gob7bR6Jt47DFGjqHEjGdpM3o3pWceHau+qSJI0HDFUFsL
lu2WuR2iyW9uHYWHytNmmdieUA+rXRUnlLcIdtM0/Vin3v40Sn96p79vfCE/MT9UarHo0po13U3T
7NRfXYjcmDfRgOCeNzaGtlJ96soAExKhKu02KH03XhNN8cCReB6a2qYUsvHBMFJp9qwGElfAbrSx
aynuvOZbWYJYwklXgs69EPJxnqW9RZ/zNG47q13LLdZKD2+K+pqUe9nXCpTxiQ9HWZBSsOY5NaNM
Hgw0w3Pu9c6Qbp7m16IYFL76ztK39N3oG7dyMzMZ1NY9u5K6ma3iq5aLTMYelVivfTBQZkUfkaIZ
C+tNDRvMgv2U93xl+OJYcd6jmPe09C0xSPHvFlXji2G+f1ebJ66DsPVjZlPH3BWEFpE9+5vvz9hF
mWq7DI00rk0vpnM5ZiDzHOH+tPNSgov35ZORWc5ZDaHhxWYXqMep6IofW8180VRbF4fWaO3lMm9V
zFaEkzYzolNjSfsJKKQ+dHbenWrNlqtybNLaWq/Zfh4FGv22lgMSVcD5FW68GGsMr1hWjZjqJTMh
I+bdNt06X4pOvzgVnm62VizjHlBj5adequISoZx+DhiUL3k7+piv7SmJzL5IBq+09gsdjKfVCKtk
Jly9GwPtpoioINiGJjzg7ZM3ghA7XdWruNe67NIxaxfaGqrx2n7n/uJmzZf7YbTlh+vobklzSy77
1ZqjrxouxVfQWwDdZNWRccX1l7+vk9PTKZr3mC9D3ffptLlBsZuN2tiZIpx2WrX5WzePDsCcaSXV
aTTTbmwGJ7VE0bwvmbL3gamNU5fb4hjiwUaJLYx9Nc2S1qPMBk01WO6WY/LMp4dRkzLOtCKpGfnT
z3yJaO3J6CT/Rc0z+emxmc1zaG1yirsCdlRRVDDYJBI5FcXl+OTXU450V9rqNORjcJ37vn/ajKJ/
G62tf6kNC3iLdvLwUtYddLgKCzImg2DfudRbor9DV55dI7zdwqrZFWZv0fkFLfy9nCm9Zc+WuZTd
Leuxt7/PiN4y0S1sDBypy/HM5gflP23nRT5ig9nusAKGe8ip3kcxh0OVlKWiNdQ0RxhFYeuaMGAL
1gKmu6yfWyem313u1R/bXIBD92qlnsdSBxf4gWTILF2uO7Ps1G/TKFYeVdr9wS3W/mnaQ3NwaxXt
hS4LoHammi+Cj+VLJtrts8ks8/fAvuRCAaVI1OrVr2tTO7sJxETsddaylywnjh7/qFTqOntjVRVe
qmUNnhuk852w7XVNGmV1HZ5BQ9+FWNQIVPI7WMcR+J81yuKWhrr622rOjvlQYry9r+2xA52Fqp6x
yuxZoFSiDquY2/7whLkWOabOvfV1rSr3pe45DXiZ7ad0a3KTZpb3Bo5KippwYg1nQaL0z6wz42y5
c/uHDbfA7Dk3ag+Rb/yTBU5VP5VFMP/J2dDeRVthp9PkmeWucFV9Ew1tuS9K0z5B8Jjgsa5RcXK9
Wb2KtcI3rGbdJbmfVz+lM3tXnvLWqZ/ccO8Usr6j6Ib+wHkyD65Xdfd9V6MkOm1b3nQV7YARGsEY
87SqG9y56ABjvfnvBvCtlw1U42EVhbkHCj0mucqsLjYcuzyZmRIs+Nz2EM6tXZ83Z2rjoLEzOH/4
qIYhmqE12Hkfd5uz3g3sT8+uv073hkPDBpyodoIIN06/VL4Y8Ypj2D2VWSUOUsieR4e1tkTVWQSb
Nz1ImvV1cjbzJzN/JtMNdlUi+P+rZNxwnntOH2Veogc82Hu7D4F4x5U3AW7Dn+MsL421OqeSKYgt
oFuz8i9qOqxygImc+t6Q39t9GzwywlrcksxueGOb5hnoJPPCQtOI8KaKdX3XqzthKmhmHL1ia3gR
ur/SI1FXOyaE4cvBEV/HXtM13++jwiEXNBJnPm6P8jBCIrpfA1Htt3wTYE5XR81pMLne3TY7bKFs
dxaAI8K5BtPbuJdGtJJyHsNfD/gTFtIOurJPGJCmKul9ibnbCiR57VaI6M7IXeUlA0fWk2svowX1
a3ZOCy0eR7P/1tA2OXg0hY2RT/uHk3/4wHex2HNQxbpkRZOUwWDQYu77zwU+OycuIlfcRgXU4Hic
SqtO/N5c81hZYfe56ZAaQewe/Yk4UQeEyljf1tHKb21jVGNiycDBGz+AWymtLBuxteqxQdKazJDH
ItD8xGNvu8a+EXrwtLSUGPTN0XzvxYZXuPfZdsYTohiDxLYKA/gaVL8gokOeGIedJeQSxb01bvqp
Xxq3fO/Gxq4/V8xh6rqKei5O0GdL91z5Sie2zpedzqfid7so6M6OOxfBbmwH9zUb8vDc93zNjJl9
cmIGDLV6trKAeINj/ppsK5IkN4ZiX2izCfdyDQCDKpZpv+1gMiChdf1L6XnZyYPJxfxsUNm2AZi1
HVa9AAouzrAswWmpRcV4LrrSi8fCbc24n0cadHqZVWZKJN7lYs4D782eN3gt1loX2Cp1YPcXWWp1
Fxhz1gO8ZB+tm0xeVlmwbFqNKvpJ/VKfbPm8/oj4F9yUts9th5SP4Irfwtm7G3rmoztWRzwg8qqx
j+zT5XbLeOFFPxY6LBzOSWOjLRYpkNHbW3g296MVnIrWbi5Nnk0JtDvmnCDAWzgpjDlxv4z4Tgns
ELjJ3SVZuuVu0HO/C8uAb4mfuNo8leWjNa08pRd8OLb//YvTob8XQpucYXW4lDdBJBaaqXjW9sx7
ofVqdX11DSvD2i2yZIlMkWritaO+WrLLEtF3kjogvvTmOKu06trux+RYI1GvKPpabLpB+8LOCTkY
SDvmmCU6FGaae8zg3VaDhezXPnbHob/JFjCVLJabF3yAWdqHiwJNyE8AQTN2oZDOEdb5dvbn6Bux
aaldpJroaLNc2IdtAbrSpGIKMdvYRd0izkb4qPx1PxM20EPnJnhZzBtvaqN7xndv42EQ5bu2g/4X
CjJiCZPT/BkqjFWJtQwFgI7AC38FkrdvBpf9xiibLyBnSbGHL5Hoy7GgZ2Te1JNh4cNJQ6kEuYhK
PteMmrd4wSo+6tx8YokP6WZkOf0+uZV9/DZtEN3oiqvhMf3EnTlUD3ozurNVEEn9b1/72fGgGQYo
6/zv76uyATtQEUy/xl3+6L+O1+j2W1iDH/qHCPdLdPpPIK+/qVz/vH//9e/7m+Y0iTUn0/GrfF3s
2N4NV+uxvtmS9pbn50ue/qf7/r/LJv/66v4uajhWPqnpV6bo68GEooJp17v/yS/8b+yCb03hL6/p
76V6eWiIRnlfBkMWnNAi6R79szoAeEz4sHRUtFPie/h/2Kn+61br395L928qZStLV/vbL/OwJpnY
zQ1ou/Ulz5MoIaWDE2ZDHg3rBMXrnzLK/5fu/weLn798gb7NnP9itzyosv39L+L9P37gn+q9EfwX
SzeQf7DUoGqx3UfC/V/yveX9lwMa/pv1D/Xk/0j39n/5ASYHEzMm4jps2P8t3QfsAuimQPNGlMOi
iYL535Du/03dgzsFlwQQDn8aC+q/rbWcunXgSrdXL0NLZpPVBP9BWfu3z+Lf/oJvPfYvinnusboy
gu46euveogN0sC5+axwhXu//8ob/X7Tk737fv2t4f/u7vl/sX/4urs5FiQdqR6nCwCNqQ77OQSz6
VV5eiyos8z1qCYssuY1PYWiAZS2r8iSm3nkpx4rrcVv130Y8g4gjRG661Ntk9ef1rm4cAtYesNva
H+Uct7ZZH7+rRl+KvlqO7ibsXRNm27OfSftOSIbikhVosro2kdJS6GOOf+2qp6Jf0BbGMXFqz0wX
hwFimLyGcLoAND8LN0t6UxpHZgEvDnPRuMfG24obVZXTUz74kLvX3t8N1coIxn61f7W5wkChAM2D
uNyE1waTWHai5RYSaN17f8yq1ZAYc3ukWJfE65YwXDlHvG1dkWR8AG8a0eB2Lbw1NoO5enWVcNCB
uL5GyqrvAqvoPzJAkSBbHXMZdrSzexBOK1+fC9/Ldg0m1Wfhi2onPR9GrVnp/BEM+sZCZGucMvF5
aZfBljOFw03xahirpihZeLsI6StPmPmaL2c0mmuLANvHVbh4t5RMDe9tFVK2TiYVxK8KcIHxJYqL
0giwy3UsJ7Zqu7UDtrANnYl7uAj9IXJN+WZ5gx07OgrO3D6285wX+SXrA6DVXb6yRS2ZWM5wVZ1L
2HXVa7F4iqilvZmnAqnu94K6dNjwLvOrIPU32SV1k8ryPrDsjo9zoHhet9RE7jUxrw8GbPm+KK+9
NWUXPtqDaSeeqNadnTdcxLe2rX4WsN1v1slCH5vU8ImQBh+5K0RDy3rrIT/hG77pCXte+JaMz+Hs
emnjizbxhwnUDTi6pDKN8EdVDN7V5wJ10+KR3llzW+wbA48tVQnloaqWLyyvxt3a2WCHKZfBlgtW
n89zf0Um7h+GXC5H6tzmn/UwumfTqQjxz5g41zUvLytk4TQfXT8V2vV3/cR1fva9+RdtTnJf4s26
BYbicPERv4Vnlc9ZY3S7GpHurnAkvcK4HfeTmYMRV/X7bKxnLsaXfGnnPRc9h9xnUf/S7dYccWWK
vSMLvIxlZKRdNmaXKQPEl1u1f546t4Axma98OBYdoHx8y52/w7Hc7gCG4/yqJ71dStTonckt5CLr
eXnts3k56QX+eIzFCW2aJcLRLmq5H9y8fRKO4dUHcl/K/460hjeuJWsutfZMifY6VQG7GUevZByX
+VaozPtjKEc9tNw3zq1d9K9YSLnWNYu8WxltyW6tFRngHJQrGYmT0RrBTjWueceKvvko9cQBNMNh
RmxoBq6JZuam1pTziXC0kHfKnSMmVCnCfS7ajuvQYDknD1UdH2M4GzuGrwx7q9fyrph2K07ZSMfs
NBbFQ+9vuIbVjGQ8S+EmhiimJQ2EEVW7aLCI4Q9exiGknSJuI0GgHoPxb7ruqN9sXQtgP0akNtai
se57ETbwmMEQmjss2eHFKnv4574g7z2O1fhDmbV7do1tfaoYZBOpDGTszXLz73cA4yHRmfFtLdf6
UJsVyFOSii/L2kxpHkzbm11ba4qi15xbXW6XsdvC1Bh8enhHjJFnBzfDzpFRf4cLklrmoiQN7fMK
urBix9Mho8rMdihvGKIL9DHnh+ahyULjm8S9yGZvzn6YutB99lWk9Z3v5gVcf5URobX0qUNUOThb
6CFTFyINMEzsDf8boY1j9cE1Ikm02O/pSJ/WO6uahmdM8tNlCDrjhmQ0S+SxIkL/fXbG/lYUJ11N
9rVwRHGEO07SffTkg2tLh0QkV+mr6kx9xeoRpQG0ln1k1/OnEW0Ef7kzPPhtk5WxV4Az5qPov0z5
NqZhP4vzViz+tcAU4iXdymHFFSv3m9Q0C4CGAz5KtazeE5OCc8k1/l5ek9aPq7XZR10pc9fC24U0
jedzHOGHk8l3SMqqfv1YjI4O+DKsbKoR8IofLK8hgb3xBbwAR54+22iOdp6u0E5J5qBQ10b9UKpC
oZeU3UVvUp42swXwMdRksqNBfItNRvOIbNySM68bI+6DTeRxIaN13LlTYJB8xQlaJbzT+jHCFQpa
OZuaJtWOnZ8W9gg/+yFs6HNYRfOttkXruxE4050Em3zQ2ggOGHD4njpWa0axDMzlppnI9pVmIM5F
OLkZ1UvbfJ0ck0ITvwDYvgu9wf9jczWE7E+rz2c1QyUJGgt0BkLxTyer5JeekXKRQ80bt6xn9EL6
UW42LlysQrLgIhpH3+VRgOFRfbd92KZsP7aabGRcDP5EJUGVrzcYbsNPR/ak7zVLtznNrGx9YUrr
jpmpWi51eZvC+3TOo+6t+1HljpsE2Wo9TcZm0wkix5sJ3/LFrRdaFebaEjekQBqcunQtUWKSZxzs
RXdXzpF8XEmCXDnsl5e8ClCXinAez/kwUpq3Rr74qoTjnbxczCJdu2F6zMKwAhTZ5e2D5EJzX+kw
e+miCoYG/9jqbLldMCZeMC4X1+/Ld+n4VRVXrgnMw+V3ZjfFjHhWtMFB97N5A70B33m0gSBg5PlN
08P6ZNHdcjuIJnJitc3ZZcuV+mQPhA/QD4c7SF1uSumGdTR5nKdTpWQ6+jN/DHu0GGqcvzfmQByN
cNC3YWHTSd+X1AgibKbugnedZcqUjCwVDvNk8Wupaiu4kcLsnFiPfiB2BtbGuC5957FfyZLttlWR
0NfGsvJU5ZSqE7t2t8u6WGy6ho6MGcGZ9rYaKue0LuF46L0gvBbGyuNKjZD/hzBAtcDfdeGU5b+R
tXk1VzvaI0fhmcYOCeSJZ1TR+vMp22qjSeh7z8+D5kY+LbgShdH44MdCM3H6Ur6z41nTjq3YXTS1
QepQKXS2RiPfi3wQ71rk/gP5N/MgZnYJeSZgHNC0egnXqKegwdn4YRoFz6s36dRAiHTZtrXeYcjN
7rVxoVRsvTXpg916RrFrBtXyhJm2ka/UPLuvLI6Ap0fZZCJ4F5uMMxdmWOi14iMYw/DkjIt9mLQI
nyhACM4Ttki2qAGOMzeag2M7WsPDxFb1tmnG5pz75tClZSP9Q+kZ1Veb62IXtK5xROoveDvy+uBo
Ci7zcVqTyhvGNBIbBeV8h9LKzKMzkLvuUlXaoqKY5bbcco7vzSOggXGObd6k+uWWKXC7Rn6RY5MN
7MS3h2hvlrWdUq9QnmeTqZvu0/pH8Y8uDQFSAaD+dmezhUt4s8w7XKtl6rt6eJijdUBFNtpzINzw
MrOcfXGGwd6PpoAknQXmkxmuLou5Qb9pI5PwQzpruzWWwt4tfE0OMvRUwmLVfjPnrbi6az51iRMN
xmckUPS9jDkzDjZG93iLRsLxMoRtFzrewaZB4OCT3m2pAVpXsYsotdlv1pr/sKdMcy+Q4TfHw0Gz
ZuLbnh2jHdLas1BitZf7P2Xfsn0ujQoWylqM4W/6gbpkHslr+Dm2Xq+VxnvGgLKXhjKeF6PQj1s7
FyJ2+tE4DDXO9Qmg8b3JepqxO1xvXEmViet/U1TIqd4Eo+rqOMCJXgMDDMIHgk7NmUF0uxaEK24D
87umhCwOfSHd4JyzctrSoSmgF0QTzQQ+amjumuUH2boBzbNqF1qQBv+qy1yXaVFE66+tWcoSMMrU
1/tx7uRJ8Ww/LUHeX415XN9bqfOk0tKOGxHh3bQifUMPrXc/Qy1BVLU6+YHiaqR5Q8iGCqDxIcpZ
bdIaUlAsaqx8xU2KQwlbcWMIWD3OBLbitlHjTo2D2HmqGo/I6+Vv1Tv8akdf7bWvhyl2pMq/BrSz
nnLMwkWVyWkIkuaysMjcKJ23g0qf8FTad4W9PERNVTWpLMZy79sd8qAvYP00oEeEpjaKS8U6G3dk
KSVBet8/FO6Y7QqCgS91NGKIM83hD59eUx2hp0gVs7iUtHCMTmclziDypylgzMlUFe4sjekADMg/
kvhDxDg72N4ui3pUVmbQ7d0iJTTve/TLi6doidiZdR68tHY5/6IMkIMcnVi/mWVruLHJNHoH5Zs6
GYym076JCmsfVmvgEnkL21+BGknKFXokphXW4/TiZ5l5Q6fO8qx4NN33JJ/3DOL+D6PI+bByGWWF
RJxotzkZ1YGW/KYQGbN1EUSkHrPRjz5ksLlHiQP5MIDt+oqM0O6TIGi/n/p5/xDkRoW+WdRXIepM
JFWo8hvp6zl1DV/fNgiAiSohuOShGn5jiGxut+Y7BNXXf8Q6rDhm7GXnb9R5rLNuif/BqKlbACG+
ObXfTgACTvU6OImx4mqQY2OdvGhbqCCDnRFH24eIevy3hKpSty5ZU5Q2ffS+jz3RdG+X0nkHaFsx
XASlw/NXlvNvSsrV0fL774yyabbqbLFITII+E2zce5R29GFa3JzG8t4GWxEUBf2hvibuhg92E1CB
oyVMGRKROU+TzkfzYy6e0f5viI93X1qq8lpjvmLz28830arNx8FhqUf+vPFf7dmMrjU3aqZJsyf0
E4pr/328JFPjeSJm3BJ345BVJ0r6Jp+esCHgzbErM5FSYayLjM5OR2GuX/NglCmb+uheCI5wVvBe
hSGj7qKjG0g9XrexniW3gIzr/5RRhjSMBnevtYpODi4Pvo9h9NgNppGWRNASFtEZ9SpGx690KL8M
mmdf5VJmB5slZhU3M3/EIqR9sL2p3/EL2na2tRrJSBNTSu4Uo1REvGUsZu89sDvvlnGwG2MpewRL
pXRHaWWjNJnTgW2JWwTBUfKs/cxbh1yOGvv1s82/z2F3Y2hiDzPhx+ID1zwuw0aIK2I6nX6IjhTl
wSQhp07ZTHYxrhYYO+ns9lZ4XIyylxTGFa1137DU+d223JXl1hThRzB4bLxC90/eNNzvlvwKfK2h
nLXCdONjcxlHtzqz8v9qWfIcMnwpjNd5lXpD+TH75tvstb9X7R43Y/u5dCT2fXbd03CXb/MfgzSZ
5M5ueNNhsNobZpPnCpXsHzHMcOFKumZNTDXA45xZB6nMFDTowWsZr5QnfsiZu1gjtvm4CowEVsDu
qWa/LUpOGENvv1xfb0kRbkWqxoYLnBV8UG8m08DXV39R5z7znxuRV9dMyT6WFQ4o01763co156Yk
ysI11TxsLAPZbs9cIbJ1jR2unJfWi3o+YebvxqlYh/bND0uxHXabotjVayH3NeYxgp/+QiJb/mwN
XvWm7DKJwu1P6XK7cTFwkRPdCGlvpyyyOdwy0q65t+9r8y4oupdgoVKLfdE3Y0db7Vktw1HQDeTR
K9Q4dOlMw65QHMh+9JgzgWY1eo4iNFiqhQ2fu9yqabnpgwjcmt1AbPKX6HbpzXOmoA7NXG+eJ+WX
EKKGn9r1lk/dF3PS9cSozaW75eznCTxq+TRBJUsUu52P1XCLUxAuVsJ3sL3SqsyqF30wXqXHvGlB
xOsIK8dTQdFaPwVOkmNuSGodvlhLwI16aGiSymcyoohpiZVRgNDTT5viDsSLELR1bNcV1Bt2xmnn
e8Ol5C6zH+bI2Plh8ARgiC1y2TMKTItPyLDcnhevYEuq9W5aabm2m2VEUdyIMZcr9udQdueIKkuq
XoM/dlPLM9PUvJ9Ksz2ozIkSLI8QlC1fJFPUP5PE+VRcyA8tj9SEdjci7IF8GpXx2RXDtzdkUKke
Ro7HGoarEOIZFYt2DodxRQ1DR9mV/cuqzB8Woxt0Odc+DREorCFklcWHS5w4VSkCtJSf+C5QDYDl
X1NAZ+loOm9OOb6HIvrZreJisHdGMQE+JlZf7qaylIxCFCsOmfkWwlePLVlgSLbXJ0b+YR8Nm5ei
FnjXtQrbdCtw8nE391mxiAjrxHAbNeUbk4SZTPbgAW4la0v+rj6w9m13RO0jRAqljpg/+mRsFjIO
ufNgSaBUI+Yj8taEQenO6toZp4yIJHc1eu4IsTd76WksT7h8X23LVBemJpEUIvAvC6iOY7UY99zo
wEgrMe2wIP6sfZePmuurq1EU06mZRcfmdenSddjesczt9BBcsbgkJfPmvhjsl6wdqKigYzgh//w0
D+19MGYoOdHj6rGd5iv9kG3B0XCzl4KoeAFaiN9KuW/ElMfOtL7oyX7UonhzK3kqo+XXonpAgoKG
BNNF714X9vtV9WfueHCq8vj9s9usP8LZwWjhu3dLV531pDBGdNTnGYeRkGu4pia76TiYJIeJuhF6
YvXfPfvdRLPQog9Gkz+2E0d7bh6cQOOntI5eVb9ikSWvXe1Xo6+PXKP3Egha16NVucxifSke5Voe
baoiqwkkRnYr+iUJXFnRNSdBlG1JXvfHNSJj7LpQBkM+kSboGAi57Y91ZQ4uO31ThFHa9J9BgbVJ
gylQhXuRw3TkQXDo7RVdM5h+ZP1mpEAMD5YoITb4vbAefTWdl8w7Oc3KBVIUO8PHp1hl82WCB7kN
3snlYqqDipR3p1/BCjANikgfMo8eu8mnaa2o2ocyw33ZwykLf21FcLHY0saKG3RiKuMnc+TVCyNK
ZavA5DiaXvMNRJ+HehVv2ZQfMrm+Zm0OBtN4zitGFyjybAdw9kAH47BV0vpTjzxNVu+2Uz0csghB
3sQfbZef9RrtQo65gUDwrg37X7SPpZYTvpi1+m0N28++1xHfX+M2rDfeZPW0TFFsd9MNMfD3zsPP
4YLHM5zyQITcikdJYZxByRtNpWkHLK/hBr2xYY89ozNSZesf0ZyHcddl1yjSO2UsaPxWajvNR4Oc
OSI4hEbNJKHoZOXeMtXhR1FF+4DwdOxjTUYr+FgHLAfh9DY69sHyjRcLZzHfQhBzZciMbXUBrlc1
vfDZGqE79SZQxlWQ8I8SC6ToN2+v19MMinv8tCb/NTPIevuZez+6/EDguf6+c5xb9vj3yuVZT3mI
BqOBY8bxmycbar7gJHLCPGWfH+PPS+yC80Tv5jw4qxrh+SxtG+Rffud2kOzwMv7WS+aeLVXce916
l9kZYVLeloMblLwj/u0kjYs3O8cZIAfguPP0vdIwe7oEh1vPbi/bUp57jA5Wpb+fIk/t7KV2sKRh
oB8EwgI+MS5oY3VjbcHzYhdX+NMPJVdpsnwnv7ffMUOwwaIft++r3RYQ1S/KMg4ZHGRWXjoneqGX
blcHIl3geoW6PIoBmibSkPrlb/SPPpTNH3cekzXrD6LCUQB3sOU/l7JOgLSZVA3NARy7IIzx4qQB
lNCsbtAaLI2JZTL3JuThXHR3kP9vlOUnARuNikv9pRf3o98cozVL1wC3nrWzLBZK7tOQbXTBPy9g
PdX4Vq72zjIPQSCvYc9ahTsp50AtKapfTrNbplMZprJX+3VTxym4befumQa6PafMNzgCwwXysv2y
eEAKw+YZzYj72fg/OTuv3biVaE0/EQGGYrptkp1barWidUNYls2cM59+PnqAOXZLsGYfYMM32zCb
ZLFqrfWnjcaB6bfNKuFso5h3IMjeoaH4MZGoKQN71VjGYrgpJKjNinqJ1fFptO1tp8BvVYg50dqb
NjccTYb9wNEyV+oBs1U+BYogX0KHKkU/8GB2GYJ4NWJDaJyx3zkF+2UgKq+W1VXRYVRYdDhznpcU
AZTenp2wvC1Sw0yYiYl6Jy8L01JeqsDeFU2NeE9+6hSxzuIYVgxrwhq3aJX9jp5y8rThomk1xNLQ
C0PiK+35zooxSokLJ4ZcJyUThGVZeESldXBQUS0A9Y1Js2+Cjn+mWU8U59h1kowo9wUzvdw1h/tI
onAxmerhVMpV5xJcIKmf58x2G9unT6mekyl9HQP9ucV0Qk+Sg6T2t/gG7sNMaA62B4fR5GWMMowC
YxVF9+EE92/bInaRoRwk2ISqW3n43sWwx8W3rqHiek4ZhCjdvBq7SxyQJKm4FPJehbGOqNkUyuJ7
wjPEBminLi6PQX0e/PWoRHiZ1sxq7Acp0t/IVnxG/tKRalBs9DhsANuax2BQ7jvNupnG8HFSwTZo
PnCKJU85kQ++hAVKkRz9VnkoqNw1OztSYHvlGD+bHDEZNwvXrfHAwrDHHByOXbfVjLtgZqPQR1cd
0y3eF3jWSLf1/KuH4RrW1V2MdeUIdxjwhM3OOGC1wJzLyo6pH0Qctfldr6dnLFQdQloYqLBDZwrc
Xht/VONQTcAISR+xw1NK6tETrifcLaBfq7zLFc2NnddeUylrNKjLTQKAptY2UCwn4wVP5uCT6lrt
RI2TaZxTzHT5wazp1KdkPWnqepDNZ7lp3galOpVNZqzMur6fZbbicsQCzepCb5x6ZoBgI80YeiJs
QK+0dUEBjQPOumrmXV1MDxnJma3xbM+7mejnEuJtUipOYrzrxG9qVudiP8ExGjgEl7qjTneXMbaL
umdV4tkkhEuXNz3ZJFrzPpCcORO5WoXJDfqLs89ftGr+SEGppugRJoXb+a9tHj4k7QjjPN8GWnxO
esNRi/RNan36dX8dVD64DispHgAMYH57meR/i8rwONvTAabcDWjzphtlNxritUGf1sj2k6x2LhT+
tdKc+ei2iZBo2H1AXuNSWTyLOT7mAaIaRAlneVQY/WnhOTWi22Kui1XcNj+0oTFWegM+HTW4IsdS
Y+GGUj3QwXhyGJ1jWa7Yaoo3hARMEgNKLBAKeEC6dBu2/ntrKg8Y+7iwlYljhjyZWcZTrDPuHLgc
yuI7zEAOeqPuZpNBQyY4JNVVJ6dPWaj90Hr0M9gbipK5naTviyw/Kd1wHzSqJxv9D7+o7gICgs2S
smIYiUOuw3fARdPlZy+uwRG8PiNeN4bxvZvIIDVi68ZmprwRGCmuJpzY1vGoPEpJJq1pi41vi4D+
NjP0bBfnceTxoqKd5uv0663U2z+qqs7cWDVu0MJtZoHxsJ7Oxj2EedQ7iaBpnd8aH653wjAN0ZTi
YSqFCoAu2bfiG6K4GzfLA2o3Pvt0Ln5gDshdT2sdp9gJBq4uU+1ELA8l8uHKjtlrb9uX0FKf5KF9
DOfGKdqGKqe+WKbvxo11icYKoEtkhlPbwVsUi+eezHsdd55xbF/8/EdPpF9sJ7cB458q6w9tP24s
xRicqu+hUz7ZBjuPJu3HaP7VWGw//rzVu+ogldrB5wyaFIXWJaAQpIGgNm/LnKlSpzlMGT1g0R2F
B121PcfPWWi7cU8UOQK9UWY4L4UIqMvGDdvA0RsIxqWEv1+lbut43M+xesNc0DYQu/kkuA+jG6lA
P9KagSstrgRR+t5uStobfF3w7P097scEW+Z0ZzK9lTm+8Ttb2eTdtpnpIMDa1IrsYVh4UFmopi+x
XDRrNSa3Os5idtPcRFbi1ggxMin2dCNbdRNKzHqfW9gHAD8IvG7C4iFvi1UdGEd5fCtG2Kkpn7Sa
YPdNli9FUT79yMaXhMk9pucMRUAtfvTARGrZup2h73J4FrVyKabayTTKWqZg7mj+bPz2B/5ruTiW
MXuwqXutlABFnk3jfZC/q+VZFb81ciyJx6p1bSXArqPExZlc6ENmMkkcJsewMezu1y2zp0o+NHRq
GCk5YdA/Gahm/Z7x8zjiJaYxHn9Lw+eCpyRkQsvhVgt1Y1vFCiotleabwGSY6ruHAiNTbQ8Q2yXt
vkw9qYC+bSu3SGQcdYLJ7K/r8tgXMD31cVUkjxkp53WznlMUejoloVe04Oo1QrcMTVM47RpLXZmV
6vZLvm0/4JDFgVGYpavjnG4gB9RhVIhHUVZbgz2jjky8J0GaYfvkMqbcBFj7er1dxk8hFfiSxwwa
z+N+NYJLqJwy/aiH5Flbk5MA0E616qSpdIeohM7i0iKqibtNV8ZQC2qVk6Px8vZuoJCmEICUa97K
nFdyT86coRES2K9SuAmGb5DyTFtb7iZZX4Uap4KxzvE5bvPXBe8dKkqN/KH1IxcAYKBczPyjHGyt
GAf9hyZ9lGfXFycza7YmkTnpU1RSo9h82aGTdz0bqWcKzrNDXp96IlykmyI9ZPUSFJ6xsG7b6txa
zPXx079VI499SqaxIFMRihIvP/tRSzc6IbpldBMZKLQgSGsQzZXOcuMxd/P60Z8fde2ZWBjZfwub
8AjjAR6LWEkY+eO95Crx0s++2OF36kg8+v1DbTzOfuiWyNgrbJaakCJGP5TSSRo1SoGfpgmbOpDR
L+Tr1pzXYXnq/V+6gGcwJB6bnWPm6B2xQa+qk88YA084p4/u8FVDA0q7KuLTFAgUWhwvyyYyn41I
Bei5rcQ7oz3YVKWT+bd296YV3VrTMs/H76dD3CJh+mfzhE0t30ZGALeePEDlO6f1tuiVdWWR4d31
XhHAL6imGywIMydRq/3YjjvDggQSacy4H2ymbKPQ9i0IYSi9Klm3CtPkrAe4W/gPU8fWFOK0pL1H
oewZzUvTnPrh26TW1Aa4dvt7mFq4MKXNcyD0dT7THaJEreiA2zByy17mI028SJv30HIcJZKWwmcF
pQkEQfbmCC+vqN36GQ5khnWn17xeHT6/umW0ewcXxGlAZUX9q5qb48AHwAa9BSJw53w8zPhfQIRz
NKlcpT3qGlPQA4YHNKeXGpVjBwvQyHO3k6TtMFYMq33UhMRDMSm1pHDXDs3OwLJrEJdFC6RnP+yg
BJdPN2bKqkmk9k6yjbdCGm8TLd0h+gDuly3OINQyZv+UDibYsfGUhr4MSb9h6q/c5DkLrwyg++IV
uTXCBjwNoVM7opojs7yJwAmAuZkeJO4k9ItCMZPr9TGpoXzjeveixjh6U5FpTHdzVf1OJBQdo0zf
QZ8NnpVV7LXz7EGYK60Srruf3rZKS2gP/1KtN1gO1jLMD7E3W/tUWbTAVd7/MOPyQWNEjxBjx6QK
QqJcbmdqCLaZ1ZwJLOPn2TGwh8de6DTI0akNgju7ROSpxGL0oiZ7gf312E+Z4oz624gEIu/1rToX
BJUMW4n2s4No3MRiLZbOQWEmp1LUIE1yfBOsQdLzX7j2HzmpdkEnXVImLL0SZmdDKcdVmNMmmrXO
uRiQM8RJ4Uxp3Z5Rf3JGdOGvXMqLUzmCWiqBvxvm7Emis3QGy7qJh5o6CDe6VY3iAndMEa3w1n8w
M8zk07Bld2BGohJg4NdRsYnT+inrops6Y7LQ2DTPfabskTJSYGnwShiHmg6Mxjt85e6ZX1feGGUv
WaYxSuqYcVhgkLNQ7gZlsV2ECrmKgxQzKfaEuAEXR9xYrWuRp/uGlm81ddUe6mbnaXZxlgNYf5KY
Nrbpv0syUtVc6VRHJUIADYKJz6LB+glt8uUDJpegH5n5oNhxukuGBm3Y7Dt4YP+K6qlgqNrHKFX1
5zFRLvHk36R1eA6n7lssExZllDayApPU+6YiN09tL6XNJ1nBvXjLyJC55NnBDqo9PcK7MnFgZuA0
2xipBxvnhMmoGRRPAq3RPjL0FtpFreZsWoXigah+M/p4qzOjaw2YPQn8xnzTMHb+FosyeqxUP2E+
q3b2ER0VWJNslaesailEDXb9iw235ab3OaOQmIe7SoMjIBjhlU2/ZvL51k1xsdGS+ltcSZ0TDvkZ
A0BHGwaNM1Z/HcPmArpzQChYe77f7RqFqUYD224s5nJlGcMazPQhLVBcRDR5fhehRy0fOmIxEecm
6z5XD1JSbfU02C8+il7fiwO+YBynGWd6egr04Yjwfm37CKYJt2gJdDOahCFtsUDuitMVw2sboKsP
h24r24arEBft5Jn1Rq93Drr+jWivcwve1KN46qJyr8Be69AGoV3MmlVkjluqL28IxwdTABzpGiRb
bTPqWLrV3Q5fQNAXoh2QDR/LnikgrMiVnEyohJvMzSdGinH6iimD1wgF99aEOAkakYF8EEhfr+Dk
e5IHXHI0fCdFQ9M2uWvxUitR/TJRmMAsOOMof8PEChhFk3ZSr92Gk/BAL39UQt7mwn9rrPA+r4yD
mWjbXM8vwWTvCMS77XJoiTmdjDLHTIq1/WgZTmvFGq1x4RWddUP8xIbp2DpmnCWP3wbGvAYMhskK
b+RowQDV702BNhZ59GKMatkUaAZ/NUzu7OanZL/oAQBR3mDKWquXrPA3Zm0RClS9l21+S3HhtYRb
GGl10kZ5zafvaXn8qw7H2yHQXqfcPPSqfhtKzTcFN6xNO8muHwnprEUIPcxY5QQzjxWmpQAQ3Qup
EfdqXqHS1b4HNpJMScG+MjGG8sA0zDKRUWMWAEG2mSxAQ0H0TTogmnGiSWbukedhGLqFYthbeVbM
NaTLDnFZkhZHVG7QuUw5f2wpv7wRbWi7IR7Q/gUnRwldATyFMQQSvLMIx4ZaAZH5JkhCajcOBMrm
cBD5ti2HCRKA38JMmFSj4InpcePVwp52kDeUxzrBR4JeM7A2UzHw5NI+fUx9KKtyXssZUhP6p7bu
1BOVoHW00wo/igpg2Oun0o44dEm3ZyualBupAwjyoWqAJpWJffSbXslWsRZgqFPkSnDGKdVc63mK
f56FlwXenu2tDASpetAvwp/01gkCezX/Van4ta0gUym3lE4mB2irOYlsw8Ua2kDaBWVhOiIvVXdq
hcCyAMzB1HARKPMuPlhhor3NVjbt7VZglgtlQKFti8ab1tARq5ex1Z+ClvcJMQ8JTz2Aw+dAXPfM
u6cdNkrV3ug0SoIuy1ykxMa2EVkjrUwhxF2etvKzHeX1UYIE5Yo21/ZBNIN1W3VvuAl8wr0+AgBP
izXAApDda5j+bIYhkOmEcCsmiL0CLIU+WLlxbo1vBgTvszmb0X6qkrJ0ZJiA34uKWjYqgoRSLoSh
NSb+EmLUNz6ISK0ynDfDinCdTmsu+aCOTAUN/z2Txxnfi9iAVZPhFYIuV1d89NFSr2rbuM+ouSS9
Ly7lXPcPUaxqh7rI63ob2BNUUNJEt4rZ98cETpKXNGp6IQcpn2hPfGA0PYzjRyWZQYfEPO3TsWOW
LzX5eqh75qSFjlg3EnZwJ9dqfcjbfNpkRC6uwbaGyh2M3n7H1KfYG+Q0u1KuB97M73hW+pFJUybj
yRCyb0I/mCBl5dVP4avToURCsPWnsmaYb6bWWUPi7tQpojaO0GY8GZGpw5ELFEex5ubi4/f8kPIO
3SELpdsESv+hZbp2LIjcfs9NM9ii+I82huLTIQewvsJeme9DJdZdAf1uX2C+vJarRvNXVKHSZho0
Ui6kQfywhg562Gz3t1gFZM+CT0FAF4/mfUWOU90V6l1bVRaVRWYesG/r18kQNBEa4yEUDm63Q+SM
ZaxDd7Vw5NAzCvlJi7TRIcjI/IVBDwy4VO5/ZtGgvU2WHGFIZ2TohHWRT16l9K6BtbmbRRjKIEhX
X1sx6QNjNB16UrrgsZU17LthnDcWjhNPckGWUimNOM2kQ7GvYAdfSlg8kOhY0KsQWtNDm0shHhAS
ljRNYj6Bhp58f8I+QRMCAbM8HYdKN9Y1VjsnAQ574bEKRncS0xxRGM3ijGw5iS2jgetU4ycsv3In
OhDdGS+/Q0NmkGMVdbXt/VZ/IqFZuZS00eoqIxTxm9Aa+CFdIu7LTH1uVSjDKyPX27Nmj7VXxm2G
Z0Wv7nRtQnTaNEF6AcIBBckHIsNsE/w2atjcOccGD98HtrmoTJhawNrzoXVEDfW5HGBVIlpFgUM8
JV7XYdAMt500IEKU5GQNsWr+VbDFenmnMC6B3XOMu9xUMGovzDstg/Yz6k3/Fta9ukUjIf/sqrx9
6ELmupaGI0Icd9UllIG4+mGwX4dJti+tXCiuD+7HGN+Qo28Yx/eqN89+vWzCeXOhJIzeVXue9yUt
WdATWJNtZjuZL8ABnHGFb0yrAGuaXcSwLAL170PfKWQVBiAowJZIuW9ROgO1ozbRnwfVDLetH6AF
tmWdyl7zMaCFvX07YdNy1HGBP0ka2GoE/gVHv+1ulFYBGbQg16yLEUQwZMwj9z1hU1lumMe4wHFm
1RH2FK4Y3jJ67cciQ/Ab60Rn1UjQhYJEwIExl3wbkSZfonaUbpUwoKXBRb1cDwEIIY9I7vZ51MBU
7KzxIQgs/VeD1+i2StTi3PtWkMJQE5AlpEkJEU01ueqpPkbFjPiRw7l1HCVPZV1Ue+Ab886O6vGp
UFq/dGmtqp2lTtK90qXTbui12jNsbARclbxBLKyzGaQjIceOwKPqtUC4shn5pl4YjGIHzX7Yp+BB
Ji4pGpxvFqXZPQaVbD75aR49t3B7OSwrmhARpKanjIYXqOnK13t4YlMs+++cXJ2rwdh6SDCOhRFV
T3s1VMstL5RIP0NSL6KaTE9iYTjmwEx9zBNi9Si7L0UZtGu/KaZjHuEPtapUiNCrvOgjDRG6RT5h
TOP2XIdqvDOhC1NrhYPHVs6UQmeqjpNCfBtiu/6FfPda3/o7bFy3DKy0iMTRf6tt/1DCKa3OKFOu
92M3a3s9aPQ18oMa8/yiXn0hu8NE8A8HPgJ3FeTcizukRV2L/9/yU/64VNQi8rBiYz848zrYJoix
HM4ht8eUU3gxdm5YpLDdvwnMOTkf3KPkDWssexwoL8G6I2rgWG2n56+8Y5VPf5fQ2OQ0RcYV9co2
ry9CG6+g5XfxwFc4R7njAZHSBkf+b19dzLhWOS4PAXNhaJ5LGLQwr1SOPuqW1DQlzsXBv6+EVv9I
NL5YXzyFWZTdUpUs7YqBfRqsv20/9dOGsdI+jSQmY0RneklLe6mlgvmejcYdoXyAAEFl2OkPE1Nb
iGt1nLBvRIBI2G69G7q2V+cRGkSJgVNfr7t83MYSdUbXyLccccZG0/yXSvS7pqvhpWhPi359M0ri
Ugi98iB8y2x26c9sHn/QPKvPidGKXZqCOscyUrK5AxEKcEKpmJ9ao7TXmnTT1bmnD8gkJWlGDtY8
GwauXKnin2D3R6+qLHZjsxj6g8Ws7Imv0iLT6Bwik/Qavf1dT7/KgF//XoWfPX8hKwxqsXAT4jpm
K5PrLAhHGPQq2QxVX5V3/Ebhdn0tXkpYUF8sevWzxSVUPAQtBe9JQ71a9H6taBzz4SGCCHNAMUWM
oKqHG9/o4Z/NAtkXE18n7Pr2aHda+4DpWO5OlREx38k7l+0FVmZdKXdBrmckKUTV7Vhz+GR1LN5N
Wc83MjIz14hFsha5Nu7+/bg+qO2X9UrOs2wvlu1YKlytVwY/MJplfj/UOq+YJcABpgmoI2rh9QoN
I0lgyWaIc+AivFkK021MhGDI/yiGulb+JZH17v37R332Dol9UdDMYzalXn9DhjqRd5zoe8hkGP/r
8jQ6xENJ6wjGG619KYqnf1/wWvu8PAQTV2nDxI9ZfAhB83ED0ptK349adNf4xZuuhMoX6udP9uG/
LrGsoz82R10fQI8LsqJSiEP9iSpzVefii4t8sEz8fSP6EoDGV29o6tXb1FWDFILZ2Ge/mBick8Pw
mG3aVeeKdX4TPFQ7OEn76vnfD++3Mfv/OK/+330f3sz/u+iV2HrCLKWvNWNftyhYlS55BaV8zSq8
meq4d0QQ3VtDvLVQQiLcCB7/ffVPn+sfF1/+/x/PlbJeiWLJ2EsYbnX5ZUof1fqLG1zOh+v7s9hi
NUXReazXRyjW5xKxQQRqKE9JdUkaAkbpDhR5pYAh/ve7sfAklTmp+HevTTzVyu8pFXDUDB4s/10v
NhnEhX9f4tMvniMKof8SkKfoV2tk6pR4FKW5V+/Cs3iqOA5tR9vYsHpxyo2+9vX/5Gu2dVvTVFaf
jQPq1fXyQQsU4jkPyr3xam2WSkBy8gNWT5wqjTu4i7sr6A7I4Rc3uhiFXL23vy58tS7RKSmNb4dI
qVdE2S42vYurbLGJNvk2fUqAtNLVYlifuYwev/gSP1kztqGaFF2ybCkIMv9eloJuRlK0+MCIgBi5
klDV46gH8xGBmkCCg1nUm4zvz1dJ3R/umA1MxaHKwv+ZrezKwyFF6hTQFB50uxjOko0yKxgt+e3f
z/XjYzVtdmZ2eE4ODS/0v29NC5takVpzz+HUr40GlWFXjGPqtAXZeanRNAXMfgV20YTz1b8v/bGU
U3Vcr+kTdB4tERVXj3UY2xbrL+Wg1sPg6Y0x77quIo4YpeezmrfqN7QMXUkTZUOnq41Kd7omL9fl
QPE75Ll9/8Xv+bD7/P49lsoInypaXH+vIdlllGXtYTHHgboOkk4GbeTZRKQqzpBhToTLl9u9zV+8
6A/vgOvS+ZGyZmAowuv++x1YtPy2H2uHfmyXQHMZ/8UuC066HMjb2pqM0q3qPttiTd9+8QrUJXfy
r69qubSwsXrneCHE4Mowp0BI9HuLal08KSN37c9Owx6CmdXwEoBcrjCqOCXrcj//ZJL3X7uZ5eL6
kinAJqmywv6+79jMuszi/RcZlgIF4F6K6PHx3y9VvTYPAZH6/dUCG5uWpV6XdKFetKY6ygebdgeV
3miy3xsCLaPte2BS7bZLzWo3dAptDCP5FfE/LTQGP3D7Uio3QzHW7iQHplMqjXoXJ/p4QBRXrKuQ
gq8qVO2RrDAYwCU6768W5Ke/nehOtnblk6AMJTXAdE0dO7EKmbWtx3cF3Jz7xFRTjzMhd8zZaMBK
MgZM0GicPgWEGKRm/uIhfrJAddnQcJ0nZUX9sOmrSjlNbacdGOZZBJvplOBqJwm8jxr5gCMmE78J
CHUrsszY//v9aR8OHN6fZjCIFIpFK6BerVCpNKdOY2wHaTnfohJ/mbFDPNkViWR6JW6ETesLzAVq
jqGpllNSJthqrsbJ+hUiyVsNqUYLG47mpjQylEFkw9G57EI/frQ1rChwsckdrSfzXMtDUA7x7DOA
xaIUwLHRXoN2GT4IsLkmLIDOfUzF6EogWsw5VmECUNWsEDczbFz/+85/NzdX3yZ3Tu+JtxDb/3W+
TJbmDQFa+gFdL/Rr4uYwm5S7Ox6RuQ7N3t8wKcpg8Ef8/jqV3L5tygHitqlup3o2vG6BFaEGw/Xy
a/NGCRd317D7z7Xw7xf0Pz9zWTx/1Gx6rsiRgY1oUvlHIQDUJXLHK9v64nHoy27wr8dxtRCGTEv9
TtcOptRBcI5uBlSWG041uPwktKd29EtDL4+kSX2eQpl3XmbwwervVdW1q1rPixUO5C60m2cYBG+M
895UHIAlq770kYKgV22eKD4fIqgsoCYQrrHUgH8oHv3J6t/NPjJc2da+a4HWOIjW0UKqytq3/J26
AMD2GN6MabghMQ6XXRPNqhL8kkr0/Pn8bGDGiUUixJoif0GGdobLcYxs+nnGUE6BDMGZSgR+1jyz
ehPxEhZoLzDYab7opz+Wi7wsMiUYHcGBpyy92nJVYptxxDOQvOcMNOI07xG+TNCsy6B2MSA5NrW+
am0rcJQixBx1yse1OicVvsfZkmqdxMZ/PwT++kXL9//H8pkbLFBjzTwYDOVqRPVJKe0M6du/v6VP
1o5JO0xDTAO67PR/X0QtqnnMFfvQJPiqwI3RoTVP9he75GcP12STVDhLbUrx30fRH7cSaEGvJHV4
XEZTipu6dkntwFSATDFymzBwdv59V59sy39dT/37rjIfl8CQDM+oE242jM+pDNHPUF0b4ALl4QZ9
9fHfV/xgxcVpyt3JBhp5vPat69SAjhG1ZTOF124ZH2sv8AYJOXf1hvHIKMheyNfZpvTiMfN6g5O2
ctIDbCy9x+F0ZbxA4oBbcAzXi+lg7+EBeCq/9vz/uE+Y+HCYuAGpiqC8/PuplFi0arKhHEcVvRK6
0xl3LVxp7KMtuhTpRGNt4y4wv3gyH1cYJ6NJXou6gI2MH/6+ag5ZIDJFcoTLs7LSQ2J62MZ+0QN9
dY2rnbYlTVkMmnZk8mFtIT7H7FxTvc3VXtr++z1/eiWCzWx5qc4+tB4kslaxOvMMSxEeQ8rzvTyG
/hPfqPTFGv7QWqk8NxaTSunLw7vOHYtaeYwIwzwqKhdK4XJ32RZJuidL0kGR5N1/vy9SQmSLOpt0
ww/LtzZ8AGwMm9tmo464/Atj1ybR/+I9IaCj2gRD1T54bAZxFeVgTEc4+j24UmtC58s65HGhuvn3
/SgfK8Ql9o6gsyUlxxTXjy+rbUkZSvWYijTAsTnRzbsBBfm+ghR0kMx2OMuodNYMn+WVWgFr2hH2
wzbE/S9WzMdhFS8S10KmAioPmDb56gPAOSzvF0uf3moOUF81t9Ta9ja09WKNnANab2Yb90Zodft2
aAocyWQSljPwxnHokS6IhvhlX6RuJ882s+3yf3H2EQetGYRd8TNVhE5//0KtCWFHjOMRvfBGoa9D
J7XBqW0z3pBc6xZfPZCPrRWXY/iz2DyyYV7PriswcfYpCtOm1bYmXsPfpDKIXhFvKNCjYXJ8l9ow
PekiHm/mfigfU2JZ0y+W4idFpIErMsMLYlD487q3REYg/CHgXPeqp1fcXKA+EOXEuVR7wdkh71Ks
a+7+qwCnTzYQwCOeMgvC/NhXarMeWIBzJyMl5BhnjVo1dgHxxl8s/092D0XQHQlDYZAgX8+WrRgy
jt4rbFE+3DhJkbPXRtWCkw1Boab0L6UjjunjbrQEjGpO7KNhJNYOPe18NmsRvDESEc5UgJEPJdy2
noyLZNU2EBa+eBGfPRBWAi9cMXBKuh7mGNaoNokenLAm+QECXOO36JcetBf7i2eyuIte1cmwG/64
kvr3Ms9FY+UQt45WEBJmooocAqear0oqZajzCuZ8We2v/ai/7bvQnTLkPOPQnQl6OWlY9ji93dzn
AmuQMSabEehjWKtmN65mwkSaBAl6J0hvT7Hoc3O7PedVt9EwGSMQpVqnkb3PR+0ZXSiGASUfOXHg
pYLXXyD4w2jSN1/gv50Pb2HYnOH1bfG4xzzPUh5YRziizWhBQjLMTaXb5mF/BqN8qELpplzi37EL
Y5OzfYZ9SLRWc6uuVKiMHvYx6DzwRULjYW7VYtybozH+7GgRvEkob8B05SZZFOph0L2PZG94nYko
slCGnQjT2TVVNVj7ZXDKzPoirBh/s2wt1xIeI7QcHuDcV93MFy/pqkgxe/JhSss8CmxgnmC+8rSx
yXwwMEn6ojBZ5qJ/t00GHSRHHagIPrDXuUt5FRbdXIanSMdIJijySzkGL//+DK3PLqEQrwROQb1w
3aLnlmzY4HSnTrElCacWdBzzIIXrQomSO6Z1SBDHXm+/d6WExu2Lay9t3/X9MSLR6WVkbHM/FN1V
YCaEXJ+Yzux0s4USScxnSdg6WL6R/MDpEucSeW3Dq7OlZu3XnRcl9SpGSANzdYWOGB/3ydGHE1Xh
ejCHrVa/Ut6v1HHYWvKFnJ5tm2JB1UJwF5hzadh9TXiCNEjX+cIKpUGiLN2jJUoQP8zSRpY6snTC
H4FYpD6Tfsr84tj3kDDK7ClY4uDFOFykJdI1rddzbBxT8ueYUcCqnh1zMk/hIkdregdi1IWdjcAL
ZBGj5QQYg2NsEB0zE5YkQurimGfIjOaW8SR/XWEiMcUkZuNsKuNMKEFuvxvy72I+D0Ks7fzn0HX7
AKuXpB9XBjB0RRjIStf5qCvtJ1EJt3aBx2o+H6XACridYfpie1rauQ+vyzJ1g+XCf9dDjTLCBxIL
QkQVyVFWiw0ws+enyKa0ryKXP72STRAi+RP8ox8m24scbjRj7MAWa4JAje4D3Hu8eNJJIo7S8ouU
6c8+Ak5YwXG01LPX1UVe0F3MQ3pC/J9ebNOQXs1w5FAy0sD+ZtvB8Ii8wn6xIG9+BRR+suNTBZKg
zcFi8hFeTUbGRjZiBNwnS4ZaPeP437/lceX9+0P79CI0OIgTAAmx5OXF/tHcRrmpDkManxSjItiI
KKjuuwxCwUgco87/RQWNNxIu9UJl7/owGW4TnxCTMSRoQF21iOSk4K6NvpqFLAfh1VI04DYz06QT
gE5zfUdSXNTzZB7VO9CHtbJFhEGu5f8fgvTJbMD462JXpzKVmakMWB5bMxeL1DPJIV7czpsgg5pq
iX1ghzhwdo+RSu8zqGcj0G67GaXbf3+LGJbDDlg2alzL/36LoCpFjrb8NETLTjNssziAsvlVm2V8
1pcwszU0eDMwdYzrZ4vXE8FgBhpwtPZxnUVOGsnbkLSpoLjB+RSilNt2m0A+1dKen+pEdrUiYwtZ
EvZt0f1ABcC8bCMn7+lwHp7yF9+GOPZoM0Fo6//D3pk0N45cW/ivOLxHB+Zh8TYkwXmSqKlqg1Cp
JACJOTEkgF//Prb9ntvuDnd47170pkpFkURm3rz3nO+cZu15xOOC1K5hR/fp132VUGMR/Y7vkm3Y
zl5bD9KqyFa9do3G5yR7J/Cmcs+gSRcaXpBJTajanWWKYyGw+dQF3pRN1r5o3Eqidh2LpTMBjpDR
dRjIXUq1RZ8Pu2ROwqGmZ9Z/6ClpIjWElKwKY7989jjR8XpqSEu7tZE9jNbFSl57Y6U6sN1hv2Go
RvHlq9CqVn7/NFdhnTJLXGUbR66aB7ff5tl2sj/HcRU4a99LlqCJw+wrgJCYcrVbyuxFlj9oGCbW
yW1OeqIv1UfSX1WPzWJdBqz7iyM2vniIIK04pM2d+L9nrMGx8RtMwzYzQv8hcnE1bZyTLZ7N4aBp
bz6WCXVO0hC6USHXsbPxkkUFXce8Y/yWpb6uyN8CF0gJuE90yB2hNB4q+Bjpzsv3cwafC89td2zs
qzafymrTujsnO1jqQUVPotyXE8Khfgn7YBxWES5UoRNyuMjfA508kg/gFlO3z/B1p6Bn1w6I1ujo
l7seIllzcbzXbqb5vnDdvV2gcL+2PkJsUrv2AdghICbTWj6Z9qI/GOMyyW8esFmwO+2+6qAYbo36
JulIOZcJRR9mfTessA/G4Lw2eEccb032GwxMLQeKurczpHULF/mV/T0GNJstS/Xlwt3pdr1+ctq9
m3CPXSLAJW4JjdcYPEXmGy6JKdv5MGMhertwrNpQ994iuQ5eCRaZ5ous1lm8KsfN7F/SBo4uVChl
LSotrIIlIl1+1DAWnroJgpOqYkW6G5CUEHhNmlrrJP5ADofuEq0iXf9aZ1AHLe2bIXK8uvUwwDaq
rn3HIzFWt1zmEiPyPC2YiPi7ynG2kEDf+rlZl6Bc2rzeYvvBD/s1eYxtYAQMNYwJQoLWaLuOrSGR
5Z4Ta5+X3bELlqVH5pxh7yR6ZpGhGQVHB14SFzKPe/6i++U66s/YybL89ityj+i2Fv/TPF0B662o
h1rPCLX+W1Xl6wBied4u52aLJLvpf0S4d4i10maHRXcd5I7FLfNjrF9q/To5h3E829OjUR/lGLIo
YmsZ4GnGg11eivgQOLAkdkr7YdVI6RgUB9u0fMLlG8WvRXNQxg6QE532Qn6p4RHhNrtHOeDYFbu4
WEf62bbDPNAWVGFm86TBPRgYJkW6gLJO8GF0yIKTVkL7kdmitwGMz1CR5+/FCK30KUlYcutpODr4
B/2BYbkJrImKkg7jMsJ6605wWp3vIHGD8ur6zwrAYNW/Jc5TT3nXK+LTU8htIBV0+l3GHJ1p41UO
xeExqJ+lfSvERTRHwtfhal1s7a1gg+mKd0nTFWEiamwZpjit++51VCcInn55nrRXs7iJ7Lmfvnty
3E8+Wthp0dXbonwFi6LHF+RXcBWifGW7zdKd11bFeNkkspPUpnOPCjDATXDq9H1vrmb2FAuU/FKU
R3BNGgJpQXTrfBTpGtYCkNqGW5RSW5AawLDAS5TaEn89vn3MvLAyIJ8ZZ9wgKaZBMNSwJDEzDwJO
+HhAZbTIk7WE60AJjaVcZGWYg2KZfIck1XMCSyzPgwXaCxiP2QpOBrupBZ4ar3evu2soFtmwd3EG
t6OGp1ZuDITWyucmZ+/q9Dagka7AEVTkPkkCj0+xNBd6tRL9tMJcPWi4IxD4a6DEmAnGLDZ02RiS
2+wxGVZ4CEHSI1VnHXffguYZzgV3dzmtgWUuHJ2CnVZBHKFu70NP+7TdTaOvHdzNvO8JDNL05nk7
bz7P9gugQ3wITGmHfldEYZ2vW4MeRdj+kPWnFMjIsYP/kEUoDMwt9iPCUa/cZtODmW6T7FGLQQKv
0mnfjHvVgMqzFwqIoWKt0LsxNpmLlXDDjGnS9i2oD/uo4UJPblq3mjZ6d5yAoXqkYm1xoUHs4ds3
FhOH2Iejdg1IhfisexfTJeHT3xPmSSAlsBS5iauVan7YhjD+5M72R6UkyVx0YFkblv6vTcvM8bnH
k3c0SqpkS5/A8kR++mCPEZiIf1/v/MHt1zWR7aArNAxSL35X79jZNM3ZCdAuxNt4zA+JGqL/MA46
oHnNkNaHgnHXjv7rxKGIAKDmPlfQmqJO9qU6QESzdrZliz/pX/9Bv+ufXun+dn9ThDdqoh+hszyF
xW7cJD/w7EIsGyTK1IkVx5D8Tz7AP/quaB16fHoWQ/h/lU8oz4za1qmAZ2oY2rUudOO7e1J8/Pvv
yaBJ/Pty3LsrkLjGMA343dzGyV2jMNvk1EQUHQPUqYzQwBxXaxQ3R834COx8WbZPwewfFVIO08UG
Xn+0bssKcxdzld/6HgBCItxbLD0qjrkONh1oyJ0P0JitBt8QH5Id2r/62afcZb2Qlxh4n5M2ciBa
w9LQu70O29jJk2ZdNZxHjhFGFRBbSJdqpivQx85OtJhkkiKcS7lNqq1XY/sPTlXwJbNtrF1S/Oru
BqKrhNncNJRMG89ZR1p8QdB1UNqwGuZTYaxjPwSpHA2Y8NI3HfQCGFnoqIgGFxbxMtGVIL5p4GTs
0Ygv52iF0Qqoqp6B6Vlg4HM4K6BU5c1eNpughgi16j+TT4VrNdknZPG4m6KMqGZCgPSQluv52Z1X
FRUeyX+ev6tnLFsrPVpqd0yox/WRrJfgzQqIQdvYoIJxV0lCC1bAX3yxpVoZ++Z0h5IL56c2nXvV
M0xduihnvAgGTvpZVDcd8IAGQuA5hldl8/FaatO+jPPL1P0MhmxjN9rGjl46Wndx8ZhDCY2zH9r4
UWB2Ypq19NJvprZzyp9t8i6AoETQAzv3jeYhbzVJHl3YCM5FlQvHQ/wOiOGiHTkQ7X5Z9JfkvSPI
ZV9aiBHAlG7m7mAlYaBxOO2DV6E/+g7GIr67kEDnBq4ZFFC6gJAK6kWg/AUABTAHU31KgHRQujXi
WpXL0QPjkW4hiC9zq0BZQkm3TildJ1jgb2StTAHso2BcGVa8oHSO/G/cExgwLwFtiH6hK36/IJQ1
TAPrqFnH6rvIHiJq0BwcjvDg2QwwFTaxeHeAOCXGrsSin7UrV24naHB0oTgVlGRI/zVTWjbrntQR
lb7CVJCZDmJ/azfJtTRf+uQyDjsuZkDx3qU41J2+7EvuHQXGDevmkH2nzAp1iEV8Lh1bTpCi4j4x
2GsL46PpjzsruLT3mKOg29RmGZreG52Zs9W9lfMZEhAFV7r0NGtB5sMC2O+SzTc0pL+D1YbH9hao
E9f5ZWF8a8x9L9c2BmgFDAa3+ouYdxrJHaIG9a1xnsF0TMqW7htH79jylWa+s23hgve9E+rlHZw9
v8XZdFFutBxxzhfFVno5SB5wNA9OfBxLyD07ZTy2NZzzI17FdMLTNdGDtK+6/SLuPHHAECC8YYMA
Rqnig8BnNsbrDjlfmbg7adUkG/AUpk0D/AAWQ4ZpETeaec0K4spB/y9qE3xo6sXLpuiXJRC5pCd2
pBT9tdcpggSkgj67ozew17L4IGmcRf46gvwfzfysphSL+3GMd1p/kukm1eO9Mbzm9hXY9epeV0xf
XgZUnfth3Xz59bdYOyUUS5oJeeU29PkyJWl0Emvf2TgpuUvVLoEuQ5OyPg/BsS2cZRLdfOrskVtW
ttB4Z9WpJEdq3GfDqwZZIwOodq0y5EvyJ7zZxAF1kq2ScT8M33r/29DcKvGhk3mT7BXvgAuPo+NB
2wloCLqxneVJdY/wEfHHbsh7mkcINa+z/Jk41K8LVW6MeV17X5bPl5P+VMmt0T6j+KVXT3qMfwvj
LKjK8jb1u1r/Edi7IDrk2tZRIGL6U4u/XXsunn0ZFs7KbY45KmlHrQkKl3JTY/ceFh1u4AIGj8+F
aV/mP9KY7Chga2QpXmfvceYKGHzVwcktD7AXwn6+dHYXNtrr6P6sc4ciKd5G8S1LbcCgx6l+MGCQ
4KRdZmofNDd7oPF/hRbKm3Ec+sO74LXIaYDGVvJTpM5KA+NQOBOPAbk7nVDYQl7SDq9NRbXaLeFK
hx4/mKXxpuJhqcGaoMxeaUGGTrBYDB0QJa0PTZtTrSyWyqrDNqU57H6S/W7GPKzGqmuJzqyvHVEZ
c32WxqYst0NLIoa21WAo0uBdqHNTnwNxdP1bEocWMEj8QxA2Cx/X1XNx/8n8O1allaLEtpvzkGKk
7D7ogm5nJzkC9lqAJwiHOVgbzaVOx30LGM9qnyhn11Wvnb3RWeCLQQj8IhL2r8gKEbDvukQ7giDo
xou0aE2Iah2QcOR4LScPWFF6EzrjGAhKhVp7oFmamkKd7soIDwh302LgCNIf7ZrJI7AZ+eGN33OM
1e2VBNwd20IQ3LKMAvuxM08KflM00PU4Vd6p7zNMu49z3HFVOcOb2XNwwEg72v4uNq6pS7Ynm/tz
7sI1XBtQpjRa73yJz6BH0vFYVt9ssYytlVs/YWwXxar46ctNsdPsLfd4rtoz9KoryElZAm7cpPY1
GrYTN4rkVdyK5mEa13CdaHee7e6te7Q4oLxV2j7ZzjElRVXoRFwHXwKE7EeHB8QGIvnUIXUZFsOn
218ZhSUJEgC+9fdavqIsncyN3xDqQAZwgifxmA5brYGoRuRLxUJdeh2q609o4BxL+0J/ENWzO17s
+uxJiOMXDOQYFXAzYlmHzw5Y7cGY1qPXLvDsKvaolkSttABL8GQaPPIPARDkeHiHhjuQ0RZ7i5wo
W708FNHZkQ96c7XZ7XN3M9gb6oeaPND00Lg3x3vMqscop5dW5G9DtS+qeZfrhB0n4gn7BNRe4i8y
CgMIv654TjrC0+1lBU4xAloHKc6NCZHobk66baB9RC5BxeIdMvci1vY+MMg827EHdyJf0ifyUdDN
2icgeQ6YJ5Moa/vS4rlm4wmg7EISPUTFg+WeDO+REDWy6lP5wF4/xt/glgIBipsDgXkEEhHPcgJd
Es5dt5wf+umQxU8OD2dUH/2aWLlrPT0RDj18KuZC5VWrh2VeE5rdvUmOalqhS1g16YQDNozzK4gC
6GfODYGVTzJ8RdCyPQK1SId1n2MLBi0ziOCBtb1TqXWd5NOQgNCaN6K/zM9WFYVNApA0gRabMZsx
rma+jiEF16dA1mvhv01u6EPElc0asGauXcfqUNcROkH4sQMuYbBQ9GuXOS7+dHa2BWDqqOEIJe3c
2N2R9Vn7bcTHNzD6gV29MKb3Vob0mE0jLLW7hJUFvB0ZAnNDYWNHuXgtpkcFZKxOnmu5MyiZZxSw
AghfZj4UNCSBlZTyeyP3AZFhTf49t0gnxuFXHLP6IQJDG8iP3Ia13xBXVj7UZBwUO18eUhyGJaYT
YtqNl7Z+7QCUNueOYN46rDIK4A0DWPkN8OBCRdcYjmG6Adehk3vvHN1mr9ptZYfFuGFH4Hym7qXZ
tLC7zwGnZ8N6uFpRWICzanyY1KECZ2bxw9R00fggravFNM6a87BvsKIQXRWLW27emuDb1K9dpOXB
rqN168LdYZn4cOznNxms6ul7a7wU2boi8yowaQ0kXKSK5UykXsoyxrVpjO82kezKPfGpYoNQ6qjT
K/ocB8LP6dsxnaaIZ8s1IcoFT16uoPEyOV62xmdAGLS2jm1gaiCry5uXwbHz9hKonXihpPXFOiAL
wSOzcU9tM3Yb+zGaVzOJ7+qZMI2SxiYz+SlkoEMynGyeAjOMn7ti0063jNTuhsvFbpwfgeYwhple
GxaDWLnVEd6XDnpJDwXJ4qzCLhTe0jFO1S0DGnO/QIFYpuDfSR27NdUFbK+NmnaRQd266uJth/qf
DEKPxErKClEioiW/7qnW9rEP0fvqDDfX2HNFILMiLD/c++kCfj56ytWZeE6yrISzT8XVFWd/2lM5
N2pYgrK1tkFz6ozXWF0YVhmsvrTYYwSHxIs6BbMKDbGPWPx0UnKs06dGqCeYHYgJnYMYQA2iOHiK
q/Hd83Hw291MHgwp4nx4jnMIHgPq5cS/NeR1LfIWFII6qGDfR1/z9NEqVtdXramVyVGvI++fActP
gD90iF6zf7VjpNXKWxjQGcSq0Vdy/m5EdPHprBGEtJy1fVaHnTxbtImsq7Sf1PxIgHUAoyvBMZJc
RHS2870/0OJfN+VGBu3ChnE3bjqfB/pHo+9d+tvqEMvQTFZa95xrLy29S8gbLNZXASk0uOrwymB7
xVcISqwK4hgTtS67rWKNGjvVPrraNU6pXDZgg7WZNC7y2+d8F4tHWX4Hk7xB6TzLG2FIQbwa5YOf
HO4rpboqfy24WrfZrkq3fvvDJnAuOxTtZWzfKIkcZ9W9afffgVZVKIjvGpbWU0bpVj7i8bIorccU
qhINEcY1EaVfLwEk3qOahuW9IH+LaUwa5xxgjQN5m/iM+VDmzVtQDF44EMMVFqCt92adQJA2zYq7
W81cwqSzj1tvQ7zED08GjLOVzA9MzHhNYCF/MgQz/mBWS6shcO4SUR2l3r8MTPOgNKeGC3q75+Gj
I5Cd422wzlcErC5RA96fB/alj/soEMD2n7z6H3RUfvvizl039pseTuFFQ2ZZdFTGG6mAiwhqqf23
htR/85r/alu/6Sv9Lq758bPuf+Tpx1+qr790yedfllUZV3/9e6Lz7uf//PrjfwtvNnzCmwPbYmRP
/hQqTTqDf8tuNoxfMNvcvSbcVBmnOzTZykp2yf/81frFY2AM1A8TTGAg5OKH2qq//5Hm/ILSDwOV
byMuRWhDp+w/yW/W7wPhf0ynmXzj+aA36qPUZ0z7O/mCFLKscoqEqW7oLsxzWbD4STv2jlVq64dE
9wYGdvm4Jnix2iRFCZjPIb00vtmjZKdOjabllliBvZmZdgqy+wjNW1m1gdho1kYHvRzPIToxt2vb
NTAb9awLhA3npA6eY21W76bqin3j4DRac5NoadP4WYaEEI5TdhNTRdyGBpc3XrRVyr8O1tbq4pNi
IpoCHW0dm5yEnNvX4IxuupxIfhUhsQeIP5OCVNItu5YVooVp7bCr0/mbSbOuXM/AWSGaGxPTFhXL
Gg773QgZIv/jd7Z6IbJHs7cNZki4kUrCXyNRbNJ4JIXmrnebgULHbXbJLSOCFoNORi4duDbaSkk4
zysEN9wunYFk2Z2UbEebOq0I9nVbCP0hm1VhP0hS66kBlTcHezGbmoIMZJSIV6g9SFZ8HOXQuY8m
iMomXka6tIprLEpLe45nmitr23ay/AAKrbZvKcHG5qcQXgM5xrUIY/pJN0Iz4RRCdaCMN0dA32eY
U6QxegOqlSVXWHZapHemgSDUmaHLwLLsJJcbiEh1fWCgp8O1SjwljQkqdzGgk0gQSSXDojBq0MII
LiOO1CaykewzZZ59Gxy0aidYwlbaR5wb8FEHoFP+PGaA43Nbjgxou2FwKm4Ghedf/El52Zvu4s/Y
lnpZMrkmNHV+EmlBCyazDNbMQi+ynKQ3XoEksDjzDQ0LHTwpkzECoJ0Ppkyy+PALV3bveG+AkxOo
FDQf9mC1xSlTTT3f3DlPM5y83RTBF763iGGbMNxcN7WuyW+DC8MytEXPmR3kvlbc4CqJfCPlZOtL
e3LNXW/G8TZtgVktPC8bvH3TCZFuQQEQqWL6sHho1Jakb1l9GrXHWSauHhaWQYjBNFZNH8L1g3VC
hO1UHQttbq2ftVOYyYdKfHIQnUEjtblLgmR6tPKsJ8vGosV/GhNGuWAEzTzZ5XAiC7KXe5IYfZXW
2KDrKKEBqleSoT/MbCPayFa34AjXrWLkaGneDP8fCBrfuNfFOtTyBF5vA9TzLbGI211YkeUPm2DI
IRPXWkpB73UoiFaW3eseugDPmZgzyNi4yxeMmJtR4cgeZYdoi7sAMzKfUr+sDTKnimkS8FL83BU/
5tqVxhXvJSrPVtMKooasGR69Jblec3dsy6PCWzLAj1XuaqxdWJJSZfOLbCeagoMHYyS0CQ5b8ZU1
jJujuePWXgkkmKqqsp+F6bFk/Am6w6boaeNFpWH8SHt9eIq1hnSbrpkjhulNZ4Azmc1u0zqltnJM
ZbbvmCwwr4jZJbAo8BIH5mFOxHL5FPc5GXRx7w/FwY7NpnsJZNTNYenqXPr1ZiqHq9vbBQx9UH3s
OEbd2Wt4QqV8EoKo2zV27cpe6gQcsVU4YDhC8Su0xxuFW9P7zOgy5sBRyc4rI+uCdoiLaesGgbet
uPkYqzICP3UyVFf6aNRH5gqVKzy6JFYBaLpI9NJ9Y1zswHF2YzIc5oIPZWl2HYHVvTtFGKnHRH/F
3uV8NZ5bjGBF0nY8+roc7BAMB6PhOfUr45UIFGfeknKqbCDCPhIBpH5pHPaJ0xQny53pvg9u08CJ
KtLOik68qmWEUtNJ/utwgUEeL2pyGuzC83SSnYQxq2WaqzFlfpzmo7rxJU20QoJJonBhu243idDz
eukIk62GgJ6UcZmNuGXpx3Yi4b4MpDHkptmRmNOa0VZUOrjRKUAbUGKV40b2EvlTWYR2X1UBgoZm
ZrhZxjNVZ94r1DVdAXe064lipmvcZM2aTvAQbPO4qN1TPMCWIh5AN+0DYU/iyR45JiBqkkdL6HxE
motDuoZYNinRLKgi7Xz4dLIRCGkr3Sw+pJDuOjiXPi9oaSqryZ+pPHUp6FyTl2nxUMPXSm0f/f19
rEkYOTc6N51405pp593SJ6bzyzY6BWd4TgO1qs3YlzUPxWjbh7FzPVoi5tB11Ytr9aYPC8ae+pdB
kqR31aJuLOC/jEFHEBAh5Ru9saLuZM8mcHkjL+M32cC7ZfoeqeIg2JiMXSIARu0tDefYMupNO3jq
4b3BNugqPjzLSQu5BCGjISCa8tjYgzbRyTLw4dGtFNtSd6hIUOIJAmudBUvir+JpP05NV53FWHM0
LnxkSsEyByERE+ZVj6xXu6a5YATgu/ZZjoUWzlxmTjvIhrI+kcU5yvMwAdY89Y7Hnzqp17cnI7dr
6S06S3jPxF6lLXlxBKorbaQZWTSwcwDq8TKh0Wrc2yJDk+lOubNOnyaiV7ED6uq09LaQMq4GTwvi
UNlwao9q6nnezMTo6hOfecTVs81ktQHRR5Yp4MSOlJ4487Dh62ZkvASt0FKQX0QA2twXVQ0zVCuY
tzR6ZNAPCgjFxkfCpkEPatLrJktWZZ8CWk8DTsWVmmrbPU1zwd+N9WA45ZmekHhBMUBW1q8F6H9L
8b9iSv53tfjpPU9/W3r/+tf/Vnvbv3A/vNsHdRt1YMDQ/P9qb80wf0HxeRcmMkZ3YSFwdft78W1S
YfMfyC8XVSEenn8U34b+i4H36FetLzZPH1vrf1B7m7/awP5Re/vYw/jNqPJx3lOGW/a/eFIpYjpm
pO3abkfd2faVMWrMJgSEj8ZLA+AQQV3ojx5Rqm3IGnSrn4WM43KXEladPDBKM73T4CiHkHWnN8fv
KR3J4EEFThmvKPYGTAl3oFXaeFmwl0MmiD6K5whA5VBFxgGOZlK/ZZaWtBdjsMHlLUElBdzx/cZw
sp++Gu/ZB13n3p/pmQ2K7lUMtvnVyZqBtmvextEhntNGpy1E7sY3dgjKYjqJmfvUEakDMK2JXggp
py/RRiVjOuNHO4o2Wo1+NWXgt1XOWMoxqxYxS6xKtR0tU1iMoWtroAk2e4Kk9MgCzL3O67qLqUmV
0X63NaHNdOfI8n0b/WS4q2qMap5OFFlFmhMZQdX1rWq1qnmzCibxS+Gx0TxPrh4P58Iu+uzYRzDt
2O1sGiB+FozGJqptYb325IvP3MljMxEvcy66aOs1nWf9KGqCwbeFE0NnTbI+mI595bjypSJUzzxk
CZK4756ojOk2+HzWDW1il9aZbGAqQ2T34gAJYto7ufFJXdITODzJNpDnfCz0kmO0zpl2LnUj4/Ta
WDNeLrR7rTHDUG49QsvmhWeKTGe4RXPkAwazx63AV1Q6u7kBz3iZLeqIZJ1qmkA9R8tcop2TQ1UO
m9YPoqq6Z9x0lQV32COqqZ/R+sm1NfQZtU8Pc4YeXtEzBKmzVnUo3IgLOKOjECYNPtn62U+rj02U
/5B60/ysW1MVlGufQh8NoqLYW5AqTBazsawtwu7n41w5PMhko5MEbC6mLKNx7xTODM0c1CFMq84x
mQU6LnGUxEeA7R27JlB3lH826kxLg6SUxEhnTXnRCMgUQBOILXhorEAYcE773N8Z5AvOkIAmb8xu
VHZD/dh3gfTWqusjwT0sCJR10lM9oftbCwKdFq2ppuEiU02NZ88nzzCMjNIdvrKYYvnY6wmzOOpM
jSreGBZe1adTK9dkkVaEyZBwqdlGby9cym83fuv9WMI2Zljr5u3R6qc2x7xkpWkSGQxHybLrFELk
sii9eWn5IrH0VePQ79VvXP/NVh93U55AL0XfLqZdXdQTfjHDc6P32KjiaVhxa8wI7agA1yjKVUad
KmPaLTsfwKYXyN6G0kwi2btvD/SkTTvTK3rWPQc8bVNpqwfAAzwgAKijokGiEfuoQikQOPvKZKot
5HBcsD/hO+cdrV8m5jeDSHqLAdNsJfoHKcpVsMnzPMu/Ys9vgrcaeX7+NaS+rl28Kc769exMeXFC
tWNmV83RNIsEqzo1zB9+03TOaYpk3F/yEUvxcy+G3HqyhxHrC8mvwMpXgfCREY9JZYqbRk4KUt9x
cPMjyFOl/0wbs7LJ+6kyMQAnT7GEuRFb0IlBqzVwY6fKOmX1aGgbK9IIrSM5vU4PpXLrfNcPDC1W
s140DmhNzYQwtCIJJ96UhdtuaXgIZjOaNtntYwknwSZoXWrTq08V4V+MrmfG3lSJIu2+tWtut41L
MvuR/U4nES+qmZkunaEwhkdyXyfmZyDr+10mnK49TQEb74VirieOPC5d7aBNdWmQ8dEVNqppCCre
0VI+PYrIYS1eC9ux8ytsvUIweVFtHT8kbT94P5WYhujZTyp6sWYwOv5aN2fT3WaMW+xVWlFTMkfS
SsW7MlR2ZoFQcvdWPYDJFcQPq2VHMzB+c3Qlyw1hTgKMfOL109XLm1EctDsA5ly4SmXfjbn1EAPF
VL/tZRCUNIA/4JDuSHQVGirODEL66JJ4vBxK1TuMCPjqewUTfyZ7Glo7+TS+dbJdfI773LHQx+Rz
O4ml5li1d5kipBjbeihTtu0uNjTkhvM9VPW/JVE33duLkB/+XUl0TuNP+U810f3v/70f6fxC8rnr
4gwKTOR2d1Hk3/qR1DauT2MR2gK2ZdzkdxHj/9VE1i/OHTgR/MrRuttl/r8hSRvTDaw7qMGCB6Bz
af6PaiKL3+w3/Ug4EwFVkY+OMrhXbXjt/rltnTLpT+OmCiN2kuFQiJlSWeoz52jRaI27brm3eVur
9OP+5d6FyG+52yTcpKVtm4MfmoG0hgwqqq7i72Y0CxvGtl7q+ToC6M+2iS3Vm50Q7rOAPG24EpWb
T968XDuBNDMY8YWoj21LCjq5kTXGnd4uM9tB+lMzeGkcZ9A/yyYPmnKt1wTmNRswLimAaWPW0fCK
aIy+p86o5NuYTPeku24Eis8gfpo5jO+a+TZxFmwvPRiWupZ5s0mGvs1ujXRJrPbcfup0fICylmrn
G4l5K6x+0BWGCL9FOSU9sx2WY+opGpFFAXaSMImizpmwZtDT8nQ7x26LMMtpPAJyKUAjYxtkratf
IDqV8sGBfM0OWiP6W0Fx7j8UAG53M81dYB3bXNeQHEYxIdat7jjvDf0BoslGWe8d+EbDLpdp9zBW
U0K4d9UbRD5qToRyqEgDBBpGSrhmzRgm2ju9KL/s0g+A+AcJ83tL1ehrst5jAp6N9ptVOikaF8qt
b5SM+g1PDZtEEDNMWYik6w6x4ydGWOUOsHKpFfe8MM1r0zWp3dnPin4U2opab74oS9rqSBGZze8q
C6jjyDH1i3Krou7e5ptG+gjr2NUn+xkYc0a8xKDfHYxG6fNPeLpWfVixWWphrtC1LIOEWKwXcyok
91dHRWP2Q6f7YCDzj0yvJi0MvGhXk0BRkce9NEh98r0nxpeZwocfxKlYlV3vpO4DQQfs2Ws+U6uv
vkwacAyxSSzsCxF6sSFxfNZxRdCECjyv3lVuw7F9Shy37Q+23nRwxCJZjkgjgX8FOUFjdZeZ5rc0
pos0n4uc0hmSDvES1auo+VgYRo9Fpdyj2Qra33gPgg4hd9RMQfXTNyZXewp0o5Ttuw3eu0UnQRUc
eKFHCJBM30hzJi1eNwqVaxdNlmVGukzXmEO6NtKib7ywsQZTTstgdlzVXTWSNrXof9k7ryXHlSRN
v8q+AGahxV6CoEqtM6tuYFkKWms8/XyomplDgjRiqvt226y7zbr6lDMCITzcf3EfDmMhxnim58b4
A81qvcGTKialM0kGlTHVFFiwqARfq1oiqRWFG3eIHoosloRuhdy0rtxyJ9TalRHpSn0rMqH12hrj
pn4RYiwh61WAbleIx6/nluuuj8a22MiB5sZb/LRbbGZhmnV+Qv/Yz33y3dyLe7xfvcyNoZTThut+
kEkMwUMXmX39kaeZr2y8Cs7mdeHzTa4JT/UB5K6pS9lej5qy+sJ0UYgycvIVytkDctBONZA3rYLW
QhPMp66dYWImKEisZzw5buVBKiCjaTVvkBUOHxKmYm0CfURHHMERmD5YD2qdfEvJa0BVxGJVVkBE
06ouEmrvGSZv99y0bbORmlTv9ooRFhgsaV4h6d8DOQgptzZ9FaHJ7+HD0cHmzocbyZQ6bA01NSjX
YtLkJciPpDPRVNY86b5ShBIpZgpdkT1W9CDuC1dqud/HGpJO0nfZL4OKi78K9OnuTrDbvjMxQeiB
BVOJtm5zI1ATb2Voolx8lDQa1C9+z3tvG49I7a8o73vRqq6yTv3/NzjNhekGlxXu3f/738WDkwbj
y2c6fqbB5+El/vsf+a/ChvgftHYUlAYteouUW7mO/1zisvUfNAXBLqD/QDMP/uz/3OGCyM2PDCL/
llX+SYob1Bv+u63INW7odK0sbRLsmjqLf3ON0zo8usYn1qekKhR/WeOogpyg7NNe97RO53jB+oH6
ooBOTLzJc62odm3Sleq7bgS1Rt065yWV1jgSOmqbGW8CMnyolleGN6ytWFP7H7jbQ5zyyh7fNi7w
RnhX8RQR1nR3Aqhw3FrBs9UaSf7VLSIv31lYOelApHCSUCFKqrULgaqggOiObd2uCk2kZwjiqTTU
a4vn5LfRsITsRoSABvK78YKp0WCN9XCXTXrWdCt0EzuCwcuS/q5oSxqQGGCklk03zlXfUwEwDxRK
qc5RNy/rd/AF+UueB75+FUWpnIH/VYO72JAjrCzSWgQdi8brq6BhoFJ1QxY7gmvGyVatKgw5e6ls
Rdv0RGTTFDcr0QTwqncNrwN8pFpXQaIzkiBU5b1gbhCchrMYBL2EO4BGY3Twu20SJ+VbiOcYKPQB
ql+WuF96+qM0ssDLrSCeao+8qhvswCQTH8Qp2xI3iu5RsB2FDj/Fuo/zK+pQ6WdTqOoPXoXeo+Gb
pBlhm3W5XRu4FsS6D3EVabt0lWgKXZiBovTWSEZc1XXBc6LUpAvspZhttWNl2qJfxPus84brKq10
R3XV8sXL4UcN6ogiMmWD4JN3XPUEUTsEKGxV9beiSBHcHXWTvlCfpTJwo75/6/zQvwsKYfw+mTXc
BF2Z78QBDQ4arxbO0GZc4W9l6UKCq6QrShvDaxQQ+KXQPBiRgBluXJYtYCfZVNVVkOrqt9i1xDuy
EaAmPVJ0mNhggX5fiEH+iwd2Cmrfl0Wgrl1PAjMYHTAc+gMtagngxh+gFqlXfRfi8pUiBfBh5npI
R8AS7svO8D8UPM8BrRcGHox53ndXEsN8MKhm01nhtYooKVvEbuUg3ac0o66boosQxY+T3kP5c0I1
8ghb0eMYgcpY2DgbfsvzSRppnOm99VT4Q7hPqRvsjUwSP3iB4seOsTxORp33RRsxknLNStkIXW5u
6ZL5dzrq/WBSRms7apYBMVKwmiuJMjtIz9BLv9MB6NptnejphyI3dHWEEocEu4J9NDitmnBp++5o
6le52UDNr4qyRJGsD5C6LJU1uqc4TsZ9+5UKZwvmNQpkf2vRO/1GWgA4VW6C1LCFNqp2qmD6V6Pr
IiWBPFi+qbhMgls5UTppgjIrmtN0ruLvDasv3mVjVMvtONJtt4POz36IUlvFE8K/pxHTtt4zr1ga
w9oYsG3ssq9x0itxf6muDNPHY1WqIwvkfCV0Fh3RDBBRP/WV33j8N94LaREkXxnDLrzt3MQb78O+
4sVAKwu/+bGI6XsEie8CUc9N5WZUzN74gnWDLO4GOvTGBlSECLdYhtjrBGNqNWSGVtEhBBpG1TZO
cZJa80HFHl6cmWY4YLl0RZxy0IYngefLCBCxbdsXX1MbdRuDss/vTIO6q23hc2k++EMhwMkNcdyG
IUki1n1r/ciHF1CN5huQUFpi1KJ0KreSkH8a6UhTpcUBpYUImPRA44QA/y677qQht8U08NH2UGRJ
c4CI8BbX9Fj09laVGPJmaHjp2JWbYFDGShQjujMqrlMt+lrmSyeX0t6ipmY5RV121laiHQim2AzL
oJHvgqALMItIhtYTddpAUmCsu0LVPE6EIQ42DcTXBm5L08GhMHvfQAk4dvuVFPM2e5PbkjwIkR0s
0DdC0FPs3ZqUWuVJTCRKW2P4iuAmurRr4BGRHu3cDrpt9NZHYTmumpxjxE7iupV5ZuilUkTZxkzD
1nwYsJyUXmUMCvRNm9fhN9J8xYCsSyobPOsUAZVtG6gBPqlxrDc/itY05L0HbqH5kqIoln+KQyaY
z4YxJtreCHs3ddyuxa+SgvyIoZNAqc6p825C7putukNu10LvMulAVdAfk0phG2Pp1+/Auqjpk+RH
HhyHBFGCWjTJrclBm+gJPSEpvy1r1TLfpKHCNdhU9A4sJJQ1Ec7S4EPFisjDUNIsVGE1+CNoWVky
5F9mY/HgFLx6wOq58jSFc8GDf809nSWvQxcUEPQzPceOx03l4kUfxzyjOQqKwVbFVhhw6cybDpqD
plUObTq3ssNRiYJ7Kyw9izMy1JGwNzuehrh7FiL0TSxGAbCCB2hCJ8Y33bLbNlGqXaEA+YhWiLyP
4quru164L3kXxteSK7QwGhBVpGhoYyZSgqFMKy1hq9RyaX5BvMqSrsVapOFnUjeMX7O27hHwLrzB
x24yp6O9q5MQeQAzFI0adRcrHN/7sqGEaQctBBE0nwJZhnI8up0GmT4OUvZM48cU65ESAYUkUGLs
g8awkyoya45yjp72o+dA9gWHhj40ZyzFMYyNfGlECgDdKXqZnFTiXu6kFgkBLQR9alaWCrEuzRo4
JUU4rtowl2D3ofmM6bLQiMpj2kYj0EU9HPN9Iqte+sLDOM1WsZU01h2ZtlltA2R59M00fQlNTzfJ
XpoiwWO+oAZ4l4iiG94M7Th9yjZpuanDHE4DhfjB1a6BG01GfEbVDEA1DLP6GXaYrfJ+yuLkJjYl
HFpIG7Jm65YAUFZuKBbUh9VQxelW8KVhbQrRVJIYM/hofqSVtFLNNjBMODA+MhKNgg33nvOjq3/C
RVEgLBVl95lA3Y65VBTg3gATxi0V8zSmxysZw5UeVj2UNV7fFlafQmnsojhEUVjG56FeKwr4gq+l
DsAK1niVCjdm0qugI1nKTJ5EIf4uDYpUX7UIfKAIkRkT3Qppm2l1e5r/mbNTxK8B3Sy5d8okma5k
BdVBzHibXn+MkJCMWTxZE10FY989AjwLYwfTNxmbY99SJDZnDNJHNjuo+aWCvyKs/siCjYJQ+oCj
Tp3068KaAGdRG8QQm5uKphc+CH3g8MJOaIKH3AMrBeWdYV/VPLB3fZG5Py25B6Z6kP8//GkK/p+0
SR5YKnU1PRDmCfWUzIsqqbSuklHPycwDunGhNvHOUI3fKQ7JGM2rSH+ota2e23TM0C1zv1jrwjEe
h5t47a89de+VW7HkIW6utf3l33NMeCa/P/450gxdiplAJhhSzwlbtptSQ3wVO8XLIY6Flf4rBK8U
JBQRUj0xySm1LDOMsGMputFOlT8wiwTmvPKFfGFuzwUCXi7C29ZFWVeoex4iZQVEx/nwyGwrDXoL
CHaNCepuprv2k2+Xh3SMyf0zpMNIvM4OI02eX1YhEgmk4Qq9Rviur2Ea/Hk2f+//n/czO7NWpHMf
B796gHjogsrm7xrrAfSXt5KZ5y1MkBofreKpfPadaFV99GvOjXX3Ld0usbfPB7R47Jl4GlCeOx5X
HBUDXSGYZjnkFpq/wCqvL8+cdDJ1qDPRwRcVE6cKxjX9+cGYpNqk0c3RQRfIHr/3TgRt9ip4DG4b
y9bVdfEQrxH92I7Pl+OeC4smOr5kIpWyEzkqK+XyMkZ4T22LYqB+O8a1E+HFdzmKNE3QP0gAFgaj
OwwzWxiZUvC8pbTJFxNXI5rO8X17DQnIrm7arfcsvFyOd7LiJ9loY/oXcv8U9uffq+8xQmggf6Sg
0i30jZoGxpn0YQ7ywjlxzLafBoZXjGQBMKZUQTuTssfhZxMyMRyEqqvouSob6oC0YyM4TUjdQH8Y
/XhpIqeJOp5ISaO6oeCsoSHSN5chrLNBbwKjZCKrdXKn7FCepMdo96v0TvpMNs3u8kROlZaL8WYf
jt2s5cA+Ack2q3yfb3wnwUXcBk57hRzJZunYnVEK/szn4fhmXy6tkzykNF7ZzZW+zfc0OTf+xnsV
98JX76Zlg8NbuQ1fi+v+4fJIT7Y4H/Iw8PTnB/vPLURF6V0GOglfiRJIAjO1L4c4swuOY8z2eDQK
IBEovNo5KoK6iXEnbUW1tfGvF9EZrLaC9LPHDNmtFdxErX2gLqzW39fWpeUzbZyDUVqYR0dBwvQq
YwkenOJP/EiH3jasJ+qpbg+pGTw7+NjLIz89ZSSgRpLEf2oy5/bsq2K6wwNLzSo7kb9oIBpb7UMp
+4W9ccxG+bN0DoPMvuBgBUOKrw0aqVpu40K6M42QKlbuyaTiaKJ62Ub2q83lkZ1bNhydmsaBg6TI
XBgl8dSKlw0jy2GRmsVXpX+9HOD81P0TYLYB9Uz0AyUigDvuLOtFt2CP1wtr/8whxkFmIXAKWUIz
tenPD1YF15EXxy4aAl6Kgk/IaxV92BDIzmQD0vvvfz2io2jTdzyIJozZkKNRQuNhSN6r0t+EqDyk
RfR4Ocx08s6WOocz/A/kHEXj5EJ13TDGojWmFJqgSSjzEJWCIr8SYu1KE3jATggPdE1aYBTZ9nLo
k0VB8ijxvGOlU4rW56p9LUghKrhQSfMAQ0CsbSclOy9bX45y8tVmUWYroxZy0ddDigDYriM+Kusb
schXZuM6QtX8bJtuYUJP9tcUj7oihXpTpUU+rdSD75ZJHt0vgQxdzTtEQ9IaU23N0hw/Vo2N4RuI
n4kYE3eiaPztfHLbGYpJkiwpSBjPr/PCD6oYzFKFuMiklFDik+0tnFDyyTeb1orMLNGYl05Thpqu
ZgqGnSLott5r7xjCPCPvve6+u/txp9z1u+xrsoWWThP6AXPWK+opKgosK6h1lz/r0g+Z/vxwmsF8
W1opUaQffjXjcxUuqCyd//tNHfsO3gTiBP88/Pv7Tm4F3eL4p8xqJ8p3HT2gf2UE/0SYLUzdr4pB
hs1j59FTYLxiOLPwsc5lJYZKUciQVfbYid1W0PVqlOuMoXQb6KJ6c6uCMRqD2DERuCR/fWwz7xYS
lms3oXHtRd5zWY+fl4d5JskEuUn7BzVoMB1zYXppaPo69vkRyAqv0/HNRLnAAmwRWwvS0ycbnaV5
GGh2YCJO52etPrAiwq+VBzWn/RWL0JBMKmm/Lo9pKdQsnfU05PYpt5UQ0n9lNemBcB9346pG+UT8
uBzq5Dg5HpU8e2EbhZqKlcKolMi9NnTK2Ua58mA051RwOnmLGfblgOcWvmZQXaD4SKdw/sLSMmDs
okrAon1K5J+C8n757z9zU8Ocm+iOAKuxRZjm9mDj6rmle3ncoXwY7ZL6vvA+UWVYWvlTpjS71QiC
kZeiQ53kdjsOYoVDneBDwAdqneGOhuONAtQP9MvUv6dqZq1M8bpvNt2AI7LirRaeqWfn8CD8LH/U
zAHcsd7QSYOQLcu/MiNZGuH5afxnhLNptHyNMiCIQjt502O7ejTePQwmoEW/1G/SOnJizel2/8qh
ezitsy3mC0MvpipBffNHkX4By70wrHMTxzmBgvbkQ3lCQ8XOKK2FeNrDcfsISnXrZvrC+j43cYch
Zt+mrv0I0A+1U9f/EMVr2bur06e/XeLUkLj8xalegNbzbPVJlh8OjYbse2Alq6a4CU20mopo4f44
HchxlNlAojSI21whStjiQY/mpdfSzZG+XR7LzGllei9MYUxMHpAbPxXKgx7VRp0RMl+34QtqFm/l
vtpmq2hFb0Z7bNf+rt+KO2XhCXZ6wh5HnRbKwSnR01elwTcNzgxQiNeRL0hWeXwtowZuQc25PMjT
Q/Y42uyDgRvMdbFijB1KpZOZHYCW2yB/qYr7MEQTRVxSVjxd5xMkAuylwvWM6+ps99a+h3t50xR2
3rwr/dOkunp5ROcWBx+O0p8pnamaCpVlFUB2kdZSi706+WW0wHdjd2HizoShzofrCmwY6gLmLEsa
e6kNRY86DhbngSNWxo+qjp+LTt9cHs6ZD8TLcTIan4Akij67cNMq0uOuo8VZSLea7q7roV+P/r07
SLav+juzXPJ6mTbP8QVCv1PmDsQrlp084XQO159WdrpZ4jVJs99M1nUUFk/ZBNGUcT3bRlalJAsz
Of2FFwKqs3teary0qAtGGHpvWvFcx/emDOXWiikSoxvbYw5YaQuL5HQVaqaCfRI+dQjSU1I9HmQL
JECjcYkQR/RqKF9rlAMvf7bTErRBBA5ABAowAVTmdb8qJA2oBJ7H9WbcyOtiG/wU95OleLLxkLow
9n9dgj4OqMymMcdc2Mq9qa095I6Fa5ynLzwMTpf80ZDmbYLOCjwzyImQ4O6ZUxBueOs1eYxmTGYa
wd/fiIQzgHIBqkbBdr4QkYRXYLAzg6HQ31W6ceVr4cIRf7q5jkLMl17e577vqoTAJOdT6kbEBtMC
rfvoA7giLE31Lc+r7wsr49w0Qr3DBnoyyqWHfbz2rEZrADw1rD3bfFQROHSSr+21tQbSvEa0aPxU
dwiMLqzH01tlUtr4J+hsV8Nm64J0CpogbNZSv+PUWsceWKz+voJ/ujBG+WRPH4bjFXk8xjLDwBbB
Gb5dVBiO1Uh7Uc/hyEWbOkLbm5dxllofg5C8dAUqiHqYALxJk4Wz8+xM0y4E52+oEsf08a9IdQip
UsWvCMqfZftgKr+Sdkn4+NwSUg9izE6SHJSVTr5NQRGRDxvkgop0Pg0gt7A2eVTLdE3HHM6Mtb08
xefiUjKFMGgAhKQ/eDw2PVGyoZLiHFVAAGuReI/bwlZAo1IC8QsY9S1IP/4+4qQkzUOWTgbPpOOI
g4KVjKfpud0ELRicZznxV/S+d3qKKl87OJaZ7C5HPPOMB0FJ01clHyZP0WfJQglRDu6gBMBqjTDX
9+grND38LF17vBVFO1yY0jN7BEoI/WVwoFi3yrNobeSVYw8Zzi7T+zH6kujmXlZ/Kv4v6NQLK/PM
/cNyxCTVlJhKOjXHc+lqgqL2yCxOMB0oZbLuvvtV1D9dnr+lKNMaOkglkfRVPHcgSmtAf2JgKqJd
l0PMfO+mJJmKH857eMtPAJt5HlRIctHqVcm101Y4dFg6GBQbcBQUVxWPW0Rvx2oMH03Xi1Bsw9c2
e6kLKwu3QycPaHYBiHytzQB6XdZ70g+KNpmxrs1MTa9KRe3CtTYqsbxw/Z/mOLoExZlfC5WZ+szs
NBwDKTUkaHZ2gaaXadyBmduNuIQMw8JhfyaQLEvsUUg9U+NWOf4CSdklFHbB+gijDmMFPTSdMlTV
beVmqUB5mkbpMuc7HRSg0VSVZwkpXAe5jFAdpkyC4DYQjThAF1CT3lp12Ah0cpq6eRyQ/V9YANNR
fpy+AW/G8YzyKx0wcV71bWU8W6QYrQt1K3zk2NLWNmzDt3pr7C9HOjeXTCNFOZggEnafx3PZe4Y8
jjKBvNZ0N9g5+kBCdd82QrfetdYgOZfjnd4e0NJFEkTFJPEGhHEcTwOLpkqFkOKYEduB/6HKOqqu
C/WSM4NSRI1y0+84vzWwDrdobw1xBuMiRZqvbz+5QvDxGwP4rKNKmwrp6stjOhcOE8ep+IRw1kkJ
qh1CQ4wGwg1qMWz9SKqeuZwjfFpixFLGesmz/PQEAoOBo7rBWw8r2Hk9YHKy0lID7eIkzt5GqXuQ
vWrJaun02CYGpWpYeJM368m66EPIN4kGMTXEQwQ5AdmB6gW23IJvjvhgon3mrlI9X57JcyMDBMTh
N/lcn7xjITB7ijsp7HhC/gK6+KmVxcd/L8Ts+JZ7YMNdS4hIC69U7Os0I1rw5jodBew3DguACVhz
nZANo8QMSeBR1EkTcZeOwUYYFgYx/cjZ8YDYFMkXtga/ASzHu0hRs3TUcg8V6E5ZtxKjkXHK3fd1
9s0tx02NBc/dIA1/f1bwaOCElyeBC57ox1FTrCuhXoU5WDntNsredf+1MZ8EbamaceaMEKmymhJA
EhpQ83u8phUTSxJx8qDDo+WuktJ10f+6vA5Og+AKMSWwFgcS59AsWUB1DN6zBNqAZzlS0fl1hX2S
KL1ejnK6FAyFo46uJOc5n2t2f1QyijWMExFtV3tWB+QZefGnzuUgp+cPQaaOKyolBoi22VA6A4FA
GKWATbvwFrjToxcMd2Hrf61AT14OpZyJNWX+1FNJsU7PHrc1asQnUfRG3E02b2kqS1TUBqt1s30g
FLXrNIkC0R47ZQgOILG7mlZDhpAPKh45kHYlH3psYYL2rWosQ3gT60Hrr+Wyk8U1pXOjXAs9yoZ2
7RtIeRZ9htZtZuhIWQ9iULf3om/iXkWlHjmEvpJQMDPEsJDu2jYuBSeEz4n4sNw0P/vUErw7TrFo
FRfQ/Tb45vbFDhVEc0RSD9AvOtY5xm4uQNd84a12ukGBWlOP4+zkYoUAdbxVyrw3dGWEB+P2srIS
sA/CUUm+QYzuShfpVkEpwsjM1BcrJGeWNesa9S9Zldmo8ya4Vk86LS3ia+pW2Wg3brbKXvN3OqgO
HZiH6ANTuXAlLRwMp5cFmC8q7CbnEd3qeY+naL0s7DvU/gZRRL+ldNw22SM9wBsqRbM+6xcW/Mmu
+v1SmiATClW1kwWPOpWJ7gDWWy0SSpEMd2eh93eyygkAZU2kpUQxUpvjvfJqdBMzQvGlaMytirXH
c53fhIDTL++m0zx/imOwSkxFnVCOs2yoFN2+AhuEhPaH/yB/ls/jtb8pQgcTuPW4xmXwFozB8M3a
6+vLkc8O8CDwNMMHj5gIxLzvQX8HbT+s07q+LTvR0apoLQvJwuKQT8oWs0FOS/YgVtbrHQIqxFIf
MaDTNtWteFv8lPst2nACYMThw9qGO3U3XMNXwtAF2drOzrfGwqI5xYH9/h0ULlTIJ+LJ1pDGeECS
i+ag+7UMbG9XbZNt+p7u6nW19z6CzdLL92QrzuJN83Iw7j7Kukn7Eh7UwFUZOHDE0Jf2F4Z1ctLM
osyWUKIOoN1HogTits9F6PC3BcibaXNMFYXsr/HTU7xJmoGrE2zzRAU9HFVdA57uff56YYT41pvX
o9WsUe5ZjZG+u7xIz07gQajZ0ASoaBZikLx8R+Av/jPcp1UWvfx7QWY7IfcHcVSmIMHwxRA/qSGu
QBRcjnF26eFrTuLEa07+I9l1sBSaKqsrH80XO97ne3mdb9qdcds5ykq05R231urfi2fNKoU9TC7T
kzi/jMJRt7gubpJb8UF8pk0pbPWdt5EeLkc896kOBmjN8hyRqqxXpAxQL3+VyAqYMMogxy2s9aV5
nC8+NfSswjcZV7VGIAH3yy1MoE/rFqYpOG3PUZ8uD+u0VsZqPxzXbAm2EXW0vGVc3QoppRU8gU15
na+LvcwkZgvP1tPe6CzabC3WXaQ0ZU80devtonV2m79Y10jsr7EGfRJw0F6Fa89plYXlOf21R6+J
32En+3NAYuJJ3UwZ1cGowmm1ICGOg+KQ/PWrH09p+no65G3c1MmFjw+NZvBjL4uRHBDDbpWY72Pe
bSI4Qwtfa1pls4EchZl9rRAdXtl1CSMEVaLYkFQwsYzk9BrhEgGGaWs9oqIp2AXlqxXmc9IaPRXA
ZzlcwYW2zpkLltLdBFClFwatZfYpRy1I0ZhRIlQYcCEAke6pT/z/kChOFkZ9yuGZJvcg1Ox+LSSE
W92OULXjPmJuYGKeC/gWuH+2ElZ4vIyerTr4fWyUt/FxXLn28JJs4p+Lp87ZMWu6QSqj0o6ep4Fl
ECl+A1DBVr+Gsu1uk7X70NWOdCdYa/8t2yO3sdFSFJ9XuOosfPqTFHRyLddk6r8wuQk/S7hVCOhx
ShnGliRbr+x+I68wMcOaed3vVMfbS1eqt/VW+Wq5C3Rm+xAaQBwskskXcpqWg8Nd7etELErmX0/z
vS+pttWXC9/4tPE5DQ9ALUhruvAAho9jRGo3oizD8Iarcp860Ve0vW7Ctz+NTwV3E3spXTpzolOt
/40AnXpq1mxCjSKy2haxf9sfEKhtbmPlw/VfLn+1cwtGY1AGhUDAwsZskyg1Run4JUS2aWmrUgsc
pfvq6Wu07BYyiXOf6DDQbIv4RjQoaIoxmFLby2gJ24OEbOHl0ZybscMgs3VgQutNLZnRBF54jcLk
KyqdG7XTnv+FMBKV9om4NxUdj5cCsvOF6goVpr6WQM6u+I86qsU2+E91YUBnPw91GLC/POzE+euE
5zzVYSSkeMA/VVm7E+sXvf1hLDYOTvkRrG6UwP4n0GwdCK6KGnJGIJl7T9tF2/5K2IZ24CwRXSYt
kpMbQp9wnRhoKCiOzRaCJKXqUEW8VIMwCOM7Qw2NwWlCa9yFZmvc5ClUy3s08AKMcvU+v6ndeBIy
aCy8BmUIotel0Lk38Kb1LwhdWRiZyRkvGiVIbmskmZAUb6VsU2YolNt+lqRfR9USHytXG/C6TQPX
uxuzFvfLwXSDjv/FjDN6Nomyq9U071aKVyXIGyiY4Q2qj8p+k1eivFZHoX5HENLQ0TCZhOR1zYse
ZV+HtGgVGRZ+muYZCZqgkfgd4jTPLBcChm6jvA7/2xy8UYWAahKyQ5m5p96V9uOqDMPqqdZ19zZl
sKEj6EGEA12LKzLNlwxnmyGh9THJsbd2I9Zk4X+/lE0qpdTffpczZ2lqjZwhxx12Wi4eD6vWwm3d
RAtkLUfd+P3vQ+kq0hv0cmhQzQ9QC8kVgM0oEwQmBGf8SjGVq7tHP6mFhffuubMGnRpACLSorBPA
fteVitVqRCrlXPxRKkEv7uteTtSFKvPZOwHZKKSDUbSzTooHSMJ5glVz3fYbd2vWm+o1eK1t6Urf
qNfyN89z/PXSpXB2p05cYQ29behwJ4URuMm6OxAzb+RNokoPbWPcZrjZp032LHnJO+Zo21wPruld
LSWR5yYWhBsOCuSoIv2P44NPCEKxtDKyO6ltHzI92kL+X6j7nAnBZQfbARVmGuTzdh/XYdiIAtes
0bD3fIS5wiUDnXOfjRi/uxtcsEBVjoeBoBg6BQhL8KTwX+TOqcE/kqbts5uyWAlbbfW/KH2cuZoI
BFKFijfYqd91qIMUpU5ROaw6xqXFq+qzfVCucUvEWGQNZ36VfJFew8fmOnq/vOXOTibPdxpVMq2K
ORwM9QwkUtBYtBvFeixyFxmfbKEPMn3yWcJPzVEC20tZW4cSejyXqT/GhoI6IQlEgmDqgAlap6CB
IPjKddp45tbMx6fLozo3lVwfuJdMHCNzvgr7QIrw8kDRgB70Jwf9FYBX1CFSZBwuBzo7NmIY9H8V
yoPK8dg6gaqxOQ6kE0aFrM2YQtwdrU8hi5+kOm3QqR8W3ixnh0brDRFPdDpPqPGF5TeaEjObIHxW
ajrehJaGQlK7kIyduYNp2v8TZpYnyRWqOINOZhlU1e2otSgeuFnh4F7YO4glRZvL83juVQ1RROFj
/YZezs+sceLkoH8IoDlxxF+U/npHf5v23Pe4c4wSnzXbW7W3uCwuZO3n5vMwsHz8BUVx1IcaGWze
1WgQebUZOq0Z3PuyvzCj53baYaDZUrG8sqjGkkC+JmzkzjDtsdIz5/I8nnK1wPEcRpl+xcEhAohJ
DoA7RHbpRHji2fj/Oort3fWOiquSHf+IHW+NCfgNfoGquu4c6TNz8AiLNub68k85e4bq1Co4SKcu
wBwHqiGamaMpjvJgC0ZqTFJlVSn1NeKYJCpy9l6q5Y9IDlH7Gc1snaboRCI/00bYrUiINNPKThdW
2XRqz0+ig180B4q2Va/LecovwjJkRzq3QxR/I++WasrnDgWSCxJYMgwQKdOfH3wDWSuEMFbZO0jW
2ZizbFvlPmlMZGAwJvEXcqazy+ogmHkczItqtatFgslI5ZU0mTOeaJe/5NktQouFtqU5AV6mPz8Y
T8Ep6xUoT8KjeXetyol9dz2Gw8LHORfF4AHDK3aSL5xzhJog6xFFyjlxxl2Lz2Y0pCucrRcO7Onc
mi+Bwyiz6RK0yC2thiidmhdoXCHMiYLuoD92iu/fipMb8OXJOx+QR7pmwquitHY8eWZk1JlUYmwt
+dl+0JCJnxRNG2GNAPcCy+VsqKkXhtvOBFScXbQIDg2m0PGdxCHCQ1pKkAWsskjfSGNG/5d2Zr10
ek7TdTydiiQC5gV8AmeS99rx6ICHhqVvRtztoCNL1rguDJu86dHAKtdxir+wv5Sb/R7GSUxL5UCZ
ktwTnQe3y1pVDDHJ0Z7bwI7b1YAkSHk3WDBQ17hq32pr8z558SrHSoFqbnD19rkiX4PnpSNuPnqD
bj5yQRr/DQDnZMmqsSyg7DeBNHPciHunsa5aubcTHTtWvG2rpcbxfIvM480Wr1wPYeK3FAujUXaU
CjXML4LxtwWFeZDZJ80ilKSBCea2a7lPeAvsJLW7Cur0rgj1hcxwYf5+K4keHCy1WkghLBNQmpb+
YJrCrsOTvIrdTVcVG9B+z2OnLzzI5sclYivWtP85mElIKdIdL1iMenJBVSKWRFdsgIl+d838y+Ud
f/qVeHShDsdjj6vvRIKHZyB86VQDVoCirxzWDQvC+Kahx3c5zulQJuI3CAaUXCBqzXPPahCxNIxQ
9sMpwi65VE2r/8vDazpHDkNMP+HgAwUN7l2VJuOrqyMTXXY7laJ17clXuRV9XB7NSQY4jzX7MmlZ
6GKDlthvUETyadn+KrvyrhAIDV5gDKxQP0z/Nx3n+ak5jzv9+cEYXUxkQ8DcKMSVZEvBLr9Ptu5N
e01T1lppj8j2XZmejWH4UppwkiD9iYz+At1G/vMEBiLVqCc3zO6k/FM8pU54H4u2cluv1U25jW+p
ty7WBqYs8/DwnMecpbtm0BuIlRKzdAZ6Zc2WdHeHJP6jskIoem/8uPxVz06uDCFSEf+QWY4nN5Br
TUunBYT5jDOMGjZA7mvnKTusR7eXQ82zrmlkNK2Amoig+SCdH4eabGnw8QX0lKta+mB4ONhpOp5u
8Y8gTJErbTprYQOe2ehw7KeGAlQW6US6BWFYKTOTEh1dA1nbvOQSUOP0MfH1an15bGemEZALiG2c
onhIz1dKGWGVglZ7Av8IKVZdsyPdd3ysnkIcTS6H+k0un60QcOGUekHJ0siYlz5aKx7ayAQLNimI
tfvyPgOCEW60TbSetMTEZ0qtWxS3AC35dndd7C7Hn46UC+Hn+VJWA4tPDcJ7Xjyu/axRnM6sgoWb
59yno6EBPnISqOLpfrxYpMbVM1X0qPGK1g8r7zWIOPENoqZLSiTnvhwVpIkmSYEeE/vjQDUmTkZp
otGZBVjEV/pOnHSbm8J/MyNtCQh/0npnD6jAgSfA6eRiNpfmU/oaC1CZaMJOv3IjJ7jynXKX7vAo
3ySSLb5L4UI+fSLONg8523Y5MgUVKhRT8713uruqwILeBh/lVDcZwmyQ0lVbvF7KvM5s9qOBzo6x
sAIUaooMVFcr2RaU8aXHsVgd/TcrxsgRn92F3PrcYU1E/FMgNPwne1+yHDmOZfsrbbVnPpIgCdKs
6y04+aDBNYVCERtaDBJBEgTAAZy+/h1GdmXLXW7hlbV+mYvMMIUcjuniDueeg/L4aXgCyY7JbJxf
81xSmBPA/Yewi8d4SezQDC9XLMk6h9Ob8H7EE2/PGfIMe4wRzT2kMr+hghHlSfFJPAZJcBMkcqNv
/B175s9kDwXaECsdqZg9kRA0HzHqG5/Yqw1K7Aum6OzNebcOJ+6h183uCIkhDu7O+0C9tARCVL28
YATObi8g5gAqor3iA0kdXYpcej0GYSMqxQVJPBQ6xvLLPH5uq0vIirMzAuABa72ipk/zyRCU1EsA
pvOwhajKBJUsv/pUBu1/clF8xIHEQgl8VRI8tgRQgdZ2yX5tp5suTVLswZmeAI6ZzrFIerQkxN3n
v1u8we0Els5ba4MgKPpQkoYUV9+aED8OZ+ZFdAmiwYEkhd9feDTOGG2UG4A3g64m8Ky/lMbf+VAN
1KszcIzBynH/C12q77KoP/3+XTizSwA0rxhwzAI9sSdxdNZ1bdGApTpULrJV7G0VtiDT0+8HOeeE
UoggYMXQvIQ+1ZN3AYKhsoNE6nrnim3rh56M+msn4Ydi0yf9Nwj2JXTcjVeX9uniwOsKv1vBRXMB
3nsM/AsSDOJ08UIBwnQYCNjRHyt3TQqm+tAZ7rIH+f3CrFdLcmJpKKp7YJACPQG8opOjWUCjHALG
q4QzSrv0e73XD04eoaNk3htREZmpHQ8yUmwHOnmGTOnfPz3o5AReEaU/eIqneYsMBJiyR5UAws6u
jrgJpV+/X55/P8kzRxQXHBTIoIdBrH4a+FVYPcCneuCnIJoDeqIIcJALV3xdptNlfD/E6gu828O8
8STroKH5JzJsD4as1EnNi+nFczcBmTgk/y0CZvjTKmlDS2BooBgZBjVtotYpk46hoKhq48J8zh5K
OC/gCrCBFHJOXeoM0lmlZpgQxHGv7cTaZk/Ww5RFQwT1jbCNxCv7xG7GSzw359YRtxwmy0Z5D4WO
43UEm1oBiZ6Wh5W6Wu0x+OQi5YHmn10VEnThRZG4U/fz75+Pd4PSE/vSQU+ny50Gtefuk1XeZ0Re
iKXPHcAV0wAKtcD+2HDk1/jIwsC2OeV8hetwB1lX88KOnXk3AfJfTTGQJyvG6njlOpCcd9KUHLwR
2V3WfbUDSKRD+WRYQOLC/4P4B6HP2oRt4ZH+kBdWYM5vNAUnKFAXdszq4EnyRqV+Pd/9fm8+oNPx
jAESQNGNCFQAjsXJiQApvo2Hy6hCcb1ck61/x78DkODsMrwBW6RSo2LXXTdplfJPpI/Jz3FPr9mF
B+iMJ48gb+0AWL8CWHuP13YKssByLMw24Cw/uOjohzCH4dlF2EwMqrCdTS+xxZ1zrtF4BGZBxCjo
czgtnUKYpaiKCryW3j16i8ufLGrXxw/Utv3qN1zTaVfFxo5tfr/eZ6f6blj7eKpCZpCbkRgWyhsg
Bt2CFzUa3bf873YS/trWtc0dlAnEA73g8TjzaDrShNpfOJjowhl6U0eM6eKCM3nGXqJs4UIbCePg
cpyMAokF9Pf4mM1omHdB7+2dxbrOifX4+0U7NwzITsAOAJDcR9qT0ZwcJ6MuKpgdwHiOX7wy3tMQ
SfcLCOQzhgSZb7CAIcGIosJpJLLkNWHDWsWq7T149UOPXqpqfxwBcfHanA+qTnTKnvaV1mxylVlA
MyxbnnpyD9zU75fqTDCFAfAO4xbBGf5Yn58gaGD6RRUOKZAVUb53prBM2617EwD5blVJnl4609a6
zcevM8ZE1QAMdy6Syqc+qj3kpccFJgXOhh+rnX+oUGdCbvaWH9rPY6puW6hoh/LgX2loTV9s4v7Q
R4RK6NEXOPEtWzW2Y6/wBdzDmECpcYeikPzk3yHdnQYb/TRs6kNx8B8ucSR+vM3H4667/c4tWQbo
2aoa4xbouiv9V3ApxRB3iLR9EQH78f05Hmq9I++Gqmx0azrrFL17f2NHkKRFRPU9eGDfp8jd6yd1
Xxzkd+NpvmCwPt6943FPPK8eQnzUgtJOOHp1JORLV5iRuVzAHZ3JrhyPss7+3ezA5gbStBajdG04
wS8PAcT7rr+MP+yX8grgnO+XSl0fHbC1DQUma+Wuwz089YwLCDQGToVSF550C3X7MR6Mm+W621Sb
Lq6fTPehlVdzjE7O9G875SdDn7wBpjHXuXBR2WttGU+OHwbG8++twIdNsxGTOoCBA/B3BnqExLAt
fXQqIdM3xf54yEaWsOXvJvowCLp6EdhQ1EU/ZE47tNzykaBnjTPIwBEoZcxO+QQ1o0vO/4dbhoEQ
YKDeg7wiirAnR78rZVGApqKEZuTiPmp7tAm6lm3jhfIye3O78ZJwwLnlg7NnghkNvDQw1senEc3M
0J/qCeTRIFRngWmQgVa/Li+2P64bfWQ3MTE4eL9eUKQtTn1KNOxKb1owjiDPAkURo+4T1coDbVXs
tcZBazTI+qX3VOXZHkKfbShNiKX8/qx8KPoiKj/6FifH0ZpzYqBLF8tLHpoS4mMH+36KrbjZ+LGY
o4LuEP7oMTReHXBLI8rj8ZSsvQyX7sXHd+Tkm5ya8Qza8a2Hb2L0UXkdsE+Cp3PiRc3Gi/tlZ6mo
4StP4vjivOToHfs3Osc+vM8nX+HEohtLZWa1ia8w3/dxvhUpeK2NlzaZkIqsYvYaXEOz+PcbcO60
od0/QKf/yhnunszaajLGXQ/3SPAsauo3uqCMM1/Y5XPzej/IybwKy5JmC93mlYAcDZIiEealW3N2
CEwCFEToQgLn6PGtGamVgXJnLEN/ZF5SGzQHOj9XF56Kc8YAgtmgbIHpQZh+MkpmAkxec6gMQyR+
Q2m6dFlIyDMEkP6TFXs30Mm1ALhjdlUwYcUoCWl+bwA1//uNP/cGraQIK/AHXUNgDDxesaox3Lzs
sWLQGjatuPjMr502tFIPCaEQnlvceEs6Jf8OJPZDXgqj4vkDaAZvxBrSHg/NLd+AMzFgs4K2hZHr
3HkLK2CkSEIb+4BAkAFNxON2cNu/2yey5sNMpGlXWfQVuXriUSzSLaWFpsJQ5yWEkn2WygKXmpLu
4cL6fvBLMRK6HACeWatRH4g0mAd5U2pA8WJVR3k2QnSE3RiRtcmf6A2cw59uMmN5beiZhvpqupT8
/uiKr8UiIHPR+AoFig/RkfQBAR7aBoLYUbZZhkig7dU+8OfssCSAYm7dMpSffz/lj3fwaMjTEp+W
uVvLHkP6EA+m6meuL4Ri5wZYGVCRmYCkE3yn43ODHjc7B6UwTLQJ1fJUdcMMMcRMmZco8M4NhK4Y
aJ6gXwEp45PrV9e6AJFQjlNC+JMaLRbKGUCM3y/Xh/5WnEUABP53lBPbC6EGECkZGKVBc4ebL6Hs
62jph0S6P8CRGrrkrc/ecq5DwdA2saQXxl+t1bEHcDz+ugrv/F5o85bICKyzjJZU/ORri22NzgLo
N8DrSC5lPT4+NcfDnTg2ggxuoCVmUrhXi7d1xT67xPxxaYiT2z2OFaTccwxBu82yo1/LOvn9mp07
GMRBOWS1XKgxn2yZnugcZBVKFJUhn3kAgjU8Fq//wRhA/gB1h3f5gwMIsVY0PoC1JUQF66pGH9Lc
2v/JNN4NcbJOMgfBGNfANUAaYTOACiYkkEu9cL7PbQaocf6ax0lYZXJe1VmJecxts7W6MapGI9aX
SorndgSFKWQA8B7Diz0ZRQckaweQ8IXdBCK1yh+CsA/IhUTlGVuOBK+7ksWiMgtjfnxTSMCsygUr
VwjqyxtbmV9nsEpRCyQCHhSp0MzY+ySpvXrz+5PwMbUAC+GCWJ+g2XAFNJwYvDILFki6YlwXECbH
SDw/slFgdOLym0cS5zDGZmxv6ZCo1/9BMf2fI8m57pdc+Q+p5rbIITF1/Mf/e1P8aGUn3/r/Xn/t
r7928rcO6lU89u3ra3/zTZ3+zaNfxOf/z/irPPrRH8BzAh31e/3azg+vneb9eyH1f/eH//X661Oe
ZvX6z3/8kBp6LPg0VBXEe9V1ALjfbcMHofbbIn9tj3Xaf/3GnzrtlvMHYLjAqKIPCpk6gA3/0mnH
D1bSoQBtqAh/f0m2CNn27J//sMgfoOdBkzL2EHg+MOT8pdLu/AHOZhvxJYqf+FwUfv6OSPt6b//X
oq/fCkMAJrJiaAFSPIW/5LIYPO6LmKDVMlVOABEBx7DiYeQqhjNV/a0b/mu4Xw3RWAf88wGxy6AW
W9etBNmE991GnfO+K/I2sYxsjN7twN2fMziSylxv8dHEKFKKgCKvpG4EsKwTx1v4nccWWsUjm43d
vGRlIjX/XFsmgG4mAS6mhnRT3QxvvXbKjVCQYKm9nwpYI0hTiDvG0aZpNEsdQwN52dCRdVtpdFBc
tkj+yIa83yE5eqsk9M+LtnCj0kWLZsGwYiYbbityEeR5bByxdJjQStdtAzawWq8PFjhTXbZAWbW0
MgbiaQ6qXS5GAT0Q6vL+wkadWz7iWkARAV9toiPs2H7lPeR4IZwUd3i+wroaaVJZqmKhp1oag6XN
vnFzaV/KBq+Vk9NNW+muEV/g7GPKx6NagO8MM9BKnDskBSVZsAeCt73q80oeJnBVoM5fsb3f1WxT
9lW1G4uiefj9wTm7zEAX4LKiCG6dBjn9WIwmX6p4MvphA5lacpc3swaZaHcJEHZuJJB4oBDh4X1A
H+PxZM05pwXIKGPFbOScZ3Oa0L2l9CcW1JegfMev0Z9nh4IFEEViZL4+FIoDqAWOdl/GbYCciKlr
kKGgmlfFYGCoUwrhTpDR2Y19o5bFAfplXoDc+v2yHj+6//oGsH4rQSvgiyeT7R0GOeOpiuGhlDsr
b4p9rmn59feDnFvRtcvoX4OcuKcajWk+G5D38O2frrZ60HcMb4pfJFU6Ow5gCmshHCiwUyjfVILe
wSFl7Nsq2C3g0Flmyw1hZC4RXF8a6CTi7nnXcQe30LQV32uoo6GIq/IhCrrGVPHvF+/sDr2b1Inn
IIqqtgyMlXe2unL0VF0RAxzEF87B+RlB7nsVFwKV4/rzdxGEHXRGzsFqZ7bVCG0cnHQowpN4HtpL
adizZx7nfQXOrdD4kxPn5KyTaFqI596+UtKK1m6Jib4QUJZ53X4xNqK9VC378JjCRNO11xRuPnDO
p+BcA/dMc6eEInsl7xiUpSN7lCnA+eWNoW1x4Yk7t2EgLfWBWQUh8AdAqa5GNx8xwcJEsG53cPtF
V8jd3z0VsBsefA3iAPuB8sPxfqlWE3OhZcwWaO3WRbe8zD25FKWfZFJX64BRQPy7ClGAKOPUJZeV
jTS8W8Yr0HiNKa2t9JNmirK4NyN3Q6J2b27tMjKG5L651D3x8Uiug6PbdC1BQEDi5Ei25WTmDqYo
50RSIzGNV1rVF5KmH59THELg7jx0fqGAcwpbyHpXjb4qcQjd2C2cIXILKzLNqQ+BnMgiVCy+/H7f
Ph7FdcC1noLOeA9KRMf71tiDzpqqBNIP+DWQ7IyMRp70Q8dakt+PhBwEPuvo1Ua2CnRU6xJi0A/F
e7diRNQ6C4fWEt4Vpoda0UD8vH+0HanMNKCyr7YB2DOePBG4XbgQYd7UmdAA6NaihqqqaGjotIvl
bCv0BOwMU/af+oJ5PJ0mLu+tXgfXvCTLZ91T9A849jQ8M00Y6g7qE7h0l69N44DYdAgOAO7l0PvV
nyEZv2XN+GQZA4tYA5k7UEpMz/U8kYMrpoemsT8v6NBMYeadxAJ32MaFMk9cGwYQFhl/pP784o0O
OCu9trHDBdfrrkDMF1xnQXUrRz58RU90AH6PKZteC5UHkXLMRsW8QqdcWmUjlKr7CQIu3QSpdp/0
wRj2JJ8Sw9dfTQUecmDCx51bTwFB621ghz50B6Oha9TBNbth+gLEBLroepdck7kx3aj36biky+iX
fVx2i7iWGSk32mYgCWlsA9UfnuaOe9uzIIh4rzZt6930Gd3KASI582RXj7bwN4yJJ4BFe0jajuU+
W8gz2HaAr2XmHM7AwEaBJvUB4uu4fZ3bx56q9I1X14cczbugXRm9sGlFWuT5iM7zFZyoeULG3vka
GAEIjTV/oqx6Ia33s1b8wdbKT6pR1TFf7BY837wEQpTwRvwQ01QdROU3+/W1qCNky5dYSrKkVgve
PXwY0pX6xTe0mBN/KFWk4Tlug6mgoBMtE8ue67QZlBARySAzSZkF2K7Vew9tHswh6PTtcBpEDMtW
x8q37zg8fXfu7FtWg5UltCfvK1JAUIRz4TskCynIZiTOa6DQWN/aRpmHUPsjG8WDK2h7go9BZHZU
zNa1a/B7D1Qa1NN30Fo0E1D4TbHhDp+AofQgYaZvFoPd0nGsoxpFwbRYlSnoaO/NyvvsZOSJc98K
l5GCfm+pI1DfHuBuGrfjKIB1FkUwPhTW0CYKZwz+fjEkui6e/bkHQVYAMulROxQjk2JTCIggG0b+
OVPqwfOaYDcHDCwHpdrWS7vjVKLYyTL0I4rOjDzB7dCW3bCxxgDZAFPIxOLuGyTLvisR+JG1zDLt
svql0PWOZ20ql6bc2M0ybTTJhtjNuB+rOS9vgd6wNqyuVFz1dRVD78pIjSpzd0FpajBado+FZfgH
wHnreMrBHpVIu/3OBu+tAcLrgPgWQk6+6hPmi28W1UYKIisdddRC07epAWPXoK6Evogd+WX+mkGD
F6JIVUI7s4RejTeEU4YyozFDio701EAoZpWpbkcnBstmDos3NTHNRnwkmCLjyqlLoIYzA/9Hb0Cz
8VzrHr2G1EyHgbog0FmMcOILxOUN/aPOvVc69TSaCMALkP2567StQuGioW9s5nm3lKDG6wcbSiPs
K6grjKTp82ejcD8tpX0YPG/Na9clWOsaNAcgtxU2ueVHZt3Fcpy6eMrQ2z6zPHvMbe5HZQBeV4YW
VkWtAapnrb4dDevNHgbvroN6RdKSCcbCUMUdbRSI2eSMDZl9JHtV0+8H1+TPaFAd99BV0PcE3Gsv
iw14i1sW34vc4pEJSqKQ2WhGNYy2T5rFSXkAj4/OzndORwmDEYBoYXStm74M6sPk40LaNg4jm4G2
NN3G3C6BC50oqRp0+fKRN19HWIRUQHwmRP7b/OxX9gCUqNEVe+GL/FvQFOplAdrlWZQgVMi53R8m
qyMSyFuSkyhnC+5H1YOSGDqaJojxXTSD3kxWiYSVz/xtM/biTQeye7OyrH1URsN2gLx2cZU3UM5x
ZrmnwZzdTj1YG6KiMPKQmRqbCSB8d+Npv0yhoclIKNks+m3VV+ObU431Eullwjkem1KChqSi7JuP
jNeza3hAWQgqlpQbOid7kKcKSI87RgbiJTYGKlINwxvUAKm8JVX5hSG6e0FGrmAb03CLIZRy7kGk
0FrBBDNXOuNU38ii0wsA077X5vt5lCV/BBbB6+NFLaOdkMwv50jPspn3IjN4vYXUNKnRaN/gMzaB
rIEJSVnVwkobk3D7SOQ40Sh/zQYbQ95Ik1xDKWbOvpQoeBSRPSFuiAJJ7erZ1ZDH/oyFDtgOJAHC
TQM52jiprjFaN2Vre+C24k7h3xq86J9ysvQ/3LrmJU7MYKOHx87EoeBT3cFK2hq4Q7RJWhtDQiNP
eFWnY1qbGQJZC/cbrOlGpLqm7vbtOCnvweF+U6YT8gnfs8yX0MiZpGBxTv2si4lduXJbEDVO4WJa
kkYmEqcUFpyK8grsj1keyy5HdSHHs+SkFTiBMf7s9jRuO7SbJH3JhHtL4CHweBky6MOP07IYn5vR
b6AMVDWWtqM2p0LvOOqExg0SzLn3tXGJcvHS+tOU5KYQ9xNwD+wlIyMz49nK/Rfb7KCiMCiLFjs2
SLu5GvuZ07vcVpLGXeW3IuFzZU7f+Mha87OqZ2uEsS576y6HzlS2baqqLxOjI8iyrYwWlf4hg7wG
Yy0sB/QgytoXuAfoNAJwu/CbBczntqhhuiYkn8wur4NQU0f/DGBmB3gZTbGEQWNP6nEI2tnaEeU7
8toDadkjvpNLwPLu4raC18AsYz4pUey4aeXoBwY3TRYi5x2M+34qyBLm3O+c1BNkvLZrd6gPujeZ
fSvBfDtFE4PvkYPeDCY/djktV2MBvsM3PTAU6zRKsA+4WAFMtQPPj/shm+wWD40tgHOEosZg3Zn4
z7InRjYccoO2qGWOoytvnAE8sxGR5VJGqOXWkFKvLLTzZqLO8p0rINUTTgGe0nAi6JhO0aFSPivS
Wvrey1sf8ut4lLI2GtoRkq7dgJ8npePo9sbuqFZIX/KpreYnAioR7UC6eaiHbwtq8yGleBuAMDKc
bzm8njJVymzexlnCyDl23fzUSvZZQoMCFPRjW0N7Ha1HuZUUuO1XeHlMApaIasb3LivzUYjK/bKA
RG7EO+s4X3rgFToU4EZATrSwVB7mzPMOTV+KN9rzydyXizv3oEMwqwEMDK3kUe2tfqHHlDGHVVv0
9xZRDs6pn7GdBLkLmCJat4HOlG19Gxaw9YdTP/R+XDDq5jd+Q51p07ka5U0KejsXbHMgw4q5Vw7V
KxiKGvnNyP1xBnpXFQa9QqQwtffwlRryDXwXYEzfBhTEehKMzd2Mb4InytVfc466iY5LSgwKJtuu
0pba+56eezNu9TjDg+CQZ/naAxfabMDXY/Al9HoT3yCskTpqQeri9m6WR75os5qvqdERjOlLN2Rf
teN0JEFjR+BspYZknkTLPx+AKpMNDxqRtq47mK+T7C12GBxRAb+yLGqm10HRZ/MbsVUJf8qt1JJ0
bue16WJYEhT9mYnTvWMBTp2b1LCNE95cE30L6Vwi8OlCow04oAPAC4DnCm+vdggcInglzk80gWi+
z6thru6ooX0/arXXTxvRNb2JmuM8NBFEYxe6hTRB46UNaLJ4xEtQxkZk8QrrGcRZNhqDDEcPb/BS
hb+6CQjtwtJuGvoFMBTzpSMitzYU0BknLJfBK18cwka9cfJS0cQeeYCW8xJFxDWF7DTk0LuFbV1x
w1XeHZjJ1bhrF6mXODPFTGK7GAhPGhCRtteCU7NNra63lzgo23KJDLAKBp9L0FB5SEzxgSXSNNF4
6sLkqTA3fQlaoHpZ1hhgajvylAku0dazkCm4sjOcHfjiwNKBpFn0uYjmsUR4opG0dLYaFOY/CO2n
8ds4BVOfZpTOIrXEUrmRHq3yM3egBLfppnxCyMdlid4lmdFFHEbgR/Krbixp9mV2Oi4jYUym2nPh
ebgDooTkj7Y8dj0Lv7VRB/Ab+6oK5AxGXtIaLNEut+xYF3Wfv5B8NmC3A4OlLi1zFYGcPxi2ddCB
76trUWkInVzZHYSmFIrjEKgAZj5XBQ+SmpoKYY4ZNDXNgJvm9yUsRhVl2IZbE94HR0a/dXi3oG+c
1ogCSMnbCSp9wzz303Zo6sBpI9UyhQe/7xxzCi1rhoKfSfsCghe1IhC46utZfMaGFgDmzRPl8NVG
bzHUa9M2MzwJKALlTQpSc/Bv100DQwSUwlbWg+t9p31QvhYGYfJlLAe94agIJXnWB1mKvJy4Yd7M
L6QAreP6PnLpQHQhEkJXIhI+KJ+c5MyqyaGTJ8Bbvcu3cCtWSB1eg2RYwHt+ifTgQ/oKiSskDBDB
AomNfsGTsQqYD4mseNhOSBfYY/alsKc/UxP/vyL5D6zYuyzNh4rko9Q9+69H/fPbUR3z12/9WZUk
7h8BqgHA3aKUuHKJ239VJckfSMMhJAMwDg2W5gpZ+1dV0v4DPXN46Ne6CHK3Hr5Etw71z3/gl7CZ
6IhGYwzSKPj371QlMdJJTglEJsikBkDRorUNX/LkdAgLYitq0s+SaZieyCUZLl+Xzz5lCHcGQ1wZ
wzxMFaQeRyB4BXLXdR8KbyLk3oGSzGNPZoFGdNAUT1DeantocbtjJZ/HtjMI+lgKtb410Ou7mViD
BEHhuB2PbGnm8xi1fWc6oMS3xq6+7QuA+L5QnZEK9rxA33AX8UCLRSWGMQTGvBHZ6Gm9NaCDmSEu
r1DQ1eGsGgfYBU28eY5d9N4OW17p1othOYD3J65YjL3P2959yCnEzg9NV65sVFY5eSC984PFSNum
IFMEda0B2cKgZF3Y1sJBC87cLfi7KPbj7YTqyUBNKATDyyo3k9sjuEJgjkwWCqOabgSev/IHa4UY
drY5rGLQJBPJyKqCprXwmfMNQpqNTlrDL7pd7ywccaJrVxrZHzEzwiPSuvOwRSm5W+IuaAYjaVtp
y6Qa2gXCz74qvBdwHuBrT3PRxHU3Qy0ZyRezE3uqXYUKTE3c7GdeMZHhK0JUKDLcbhhQ/Bpyb2vA
nPbXRjs2+U2Rd4u980w5BYka5eQ8lF07Dtcga0b5oxWDMg+1SxEK+9psvy0GvNEUqZ+SPjojbeGk
6aFF65fX1TQ1+MSgziIKa46ygrQ6alq7AO1q7rfVARFFq24GJaGZVkIoR6EglrVP5Ug5Cr2AUFX7
SfiouaIiOyNnO+jmcRw8KqJadxnCK+274A/qOhNshMoaWQo08CTA7qDXok2H9qIUUBO7TxGLtp+a
grEJiaEO9MQchffpzpjtQRy8BV4T8MNKg0eg1SbiigK3AvitYfmmhQC9cGYZ9A6eSaXjBrx4KTFc
AGKdpqMIb2edj6lP1GRFdo428B9DJ5GisEDQiMHRPxnzzC2R42xACajeHHgVy6bv8qn6PBMn92IP
DivwMGjBmrpHgzmiSJd5Xpmf8nrydApNZWreyLZUaw4GSlL7Lm+aDoTPalw/fVmyaU7MfBphyg0b
St1u5FV+4SI/2uq+Dhl00PG4LpTelYEKTBCJTAu8owakZO5XT/HCj8bSReS3pXIWXZ8aihpTlYLE
DEgBTxsL23heXdAqzUB1hNycoeHxIdVaz9IIPiG10dS7srM6kC7nOls59KdmFjY+iJDevq0cuLsR
roU3BxtV177FoGwgTbtMzBJwyFvRwE0BPzOTngOuMk2tqKtWttRtU2rpIU1VByzAko/w1ncFMrwI
5z1DOcD0sAE3L0+yflZTUqvFIqAi43Y9PIGRndlf5lKAiMbteSm/UEsFX1Ql7ENezSsszHRu0G56
37IlMd1ZzVfcHgNroztXZqHjLoj85gYtBO4v1FAgjADhnAMSeRo4qP2gl9MecW0LIyhkTMQ8mHE1
BI3eCRRqwIqG6MIOYfOq+6x2MplwDq1xrNsq0AsrgvwoQk+bhQy5zvEKigyzQiqqdJGRNBYfcDWr
ab+Uky+mSA6j8ZUyqhd4ggZ0INsFuQXY5YAhWipLeMVJ7juiSRBx1YiZHGfL4CaydILmGUkWuLL5
1sgrNF/gHVFeCHlUK5XzMrZ7ufhmF7u2LFUyB7PN0qB2UI6ONZu9djM5fYMeavCE+Q+e0nq4Mlu4
VLeZ5bfTVi3gbEa047qgBneQ2QVsjPg3FfPqCVhWZOCeFzYhCbss3BnDwJo53wgANqcbFxkrukEr
FB+Q2gGpGpwfZNAKWMDWUYnmwdDB/RVT9XMWkyESb5hEncwagcy26pwpu2Mdy6yregkCXGPbq62v
YKyogL0vKtZ+yrE6KhkpNAZzMHT5Jd20ha/Yaw+Iin+ra6dxbwMi1HeYgJLvBpdm7nY2iCl2wEPI
VYAe5yVUcxGAfyd3LJ5kOHB0x/MA2E8QpFfGF6ftULSXUok2BSAwR2qQ+YgrAUBqbyU2nUcz7P6I
SqFPOqSDW+lHjaxQnZDIJ2V7L1BIRyO74YxxYHFihLWLkwiuLc7KGw5Gfry8eLkKlAHLajmYlU+n
EM8pz2I5LOqBZUahbhSb2ulaGAUCc6fC5/8iUn8rXc9tkDwnlZUOo59D1aJsabuD1AcRu74u/PEK
tPKr1ZQNaPQ0XWhoNsvwDbDk0UVoKoMhZOjcW3P2NpYAvsui0kmWbQUI7IwboUzADCJFBQqvfsuX
IFb2wKq08DvjzbeNWh8okdUNIWtmqGyFD0gznB0fNRNiyPE7RfoCxVsH5ObI6Mw/R7PzjaRbOuV/
HcFF5O+5M/nVBpFO9z1bJJAqOYYeQSwI3MHG0536lqE2DCG3zmefVVEj8+xlfZlfkaDOecIzcFlv
DMvDHdOBPXUh8rpq2TVeP3S32q4zIE3cGoKuuUEMFDKKXNfX/ewpkuY2kNsbpuVQ3daIdMSGA4TQ
XZGuDKYXHky2eOsWx6v3QHCN/bahjTCxewiDUn8ZF5oAt+xMNwGpvSZBJg6QBQd6fVB8C7RNEjvX
5XSrB8frolb27ZeF6EWnE3iop6ivxdyB9KHxxaazdNOAxVXBX4dci+0lpLKdNkWvgwF6fG267Rb4
CB9pQLtgTrJIk7eJIB3L/x9757Edt5Kl63fpOWoh4DG4E5h0JEUmragJligDH/D26fvLc7qrqBSX
8laNe1KTU2IkgDA7/v2bsOqssvKnXskyPyEFBCzU6FIiA3UtTflcsd6FXDRzPH9jE6r94iR5fwUa
WOhBrZBwESq9lox+YjLbtlnd9upOuCkml6vsCdf8q2j+v/vDfyGG+OP94Yf8EX8t3nMg//oXf98d
FCH+wdUA2uJJGozI+SSknn50/f/7L0XY/6CHr2M9TAgITC6XxvP/3h6sf/xFNiRdHBKSZf2L0ii0
f0DRM5DzU5GeXCb+nbsDRh6/3B3w0+E6ySUEcw8Hjq9xziYQnOcqfPxrGh/5tClMxf7cM/LkDY2G
wd1SLHuI2tgNz4bSrV6k0Z2soE0fjDqPHzGWq1V6PjaiJkOZUZKBxYhht6jAhZnb0U9vHP3Batt8
syzNuO8aEr7T3qIh63xXWvS03dwXp5OsPDRJRy3VZ5AWkH4c9IkWcpl14x4LVjDJUehzCJLPSm8M
9q5GldQ0Nnnv3wZrbHqygBKE0bW+fjJbJUXRlnU7jUXYkykRKY9jo6QvaPKxQjDKOIji0brutYw/
vGj6XhSx6cHmsUKxzMaTGTmnnkbn7oast69AnY0tm8Cyn9jIwH+zZiOSjKQloJ4b1UqVPew6c2O6
cryJtFzd1PNEonASNS92Mtbf9bEXOICb434uSyOEXaruVXvhgB9MsVmbYT7WGbcFv9Fy8Qy8km7t
Wle/uLmj73t4n1tLi5ODMubdjV6U2TXtf0yqS4cNxZ2RCgOL3Cr2CiNzLYQ8xHqK1LUvwSTETKu9
0rgSmsBE/jwuxurTP8/2zri4VxHB8qFax85ONjV+11MzbJM+na/LOe3uF0MxHpJ2MHeAx0pPN6PX
XmNTIRtX1Npnuj3zLgXA38ux4HX287Ivy74OFm0tvi6FmYDCxMu31RHtDqy5uVIqjRub06rd3unq
6r7mlnpdmT1oU8PRURJ8WqOZoCXqfiJ1qwmNRDYKHY20huHuKLezUjWfRsNtrl3uFZs6japvdpYs
j3CXtC/WMKpPjapXd5zt2VXU0ivaNP3o7KZ5zHhhGMn5ptPFV1ZTVeV+InCdG0plLVdlozU/jKaN
tv0c1VuX20DhN1GR1gC2lkNGmrDbjgKst0Kz7coxaJxbyAn2XevM9PFyQ426cOzi3ggjRdL6V3L7
KsEBLdQzM/52uguG+dDgdiuo+UeouGHlFMVVtA7RXmmm7Ec2nQz/OQq1e3pv1Z3oSwNM1eqqbCPz
cToVKBjEzUl0PRhW5PdWw8IsKiN06lreYKQfcTpn+i7uYWVWdH63vSHSG9Pp5Rah7RIsttPfWCKO
ju28trtM0YiOWtVkV1ujuJkjWX2xOjHdZVajvqR2om27LBpuYjFU12OmYspdiPYwqlO1ePUam/ss
satDn5V4PCVjv+8jLaE8zjGayYa6rIG19enJGcvqPmFpPuPKUeueVEuXoD59rlQEWqu2cAtuNM2P
ndG6Sqeqw4R4kOlX2JbGW6oVzbxxp3qyKXjKQfGltdg3gt//JRpwJ9oORZuC3BqTvpdxQ08BCbb8
wQ0QtB47RJUm/VS/lV1kj5gl9fLKtKc8NLU5DgvuHNJz23j6Bq9JC3No/Km3ZjY1JB+nn+GJrRnR
xnKxnqpFc7hxqMTmkNchn1er6+/iDB8XrzRsOhonWP+TVTrRA3/WcCEwGP3j2JfUYWURZzcxhSfk
GV02PoTsIQuhGBBdZrnjHcjptK3nns4mQAp5wbSXw2RJqztIttVnp+4s9XbR7fW2TYvxU9tpEbHO
3UnhnivZ6k2FQROhERUBUJWSFJZns+TRv3XVeNWv7ngs46nAzrpsdW1Tm438AdDaHixgoJ+yk+O9
VSgthHbX3LaJS7qcPcjilkZtzJ9ycwPrJ7ZSmnaiXB86FtxT5+p5F3RNbISZxkUCkWtDmCUSeB7E
XtqTu26K5n+N1yvFKFP4mLqp0Nhfa0enJS0JkiHzZD7olYaHa1Z2V6lpNa+2U4MimE66dSOBM2nc
dPmx65vpJ2QM5c3k6HhKcvZ6pWv066iom6dVZvAb2tnQj85Qa09LXEoiAxpthS6W4kIrJpvAtlZt
P5tx0d2B+qfXg9ObnzHGIxNTEUt2mJJKvkb92h2ZZfOXSUswzUOUPT5YwAWHsgVQWMs03Q1xVLyV
p2KOv93cK26J6xKdKg22dzcp5NYrbeLL2Z0ealemr7wowW6xrO13ocicAzXVfyS1JE4mTYuAiL7i
trKkduVai3NY7WjYG3aMGtxxZHFY47QPNK56QVbTjFmLwr7q7abdKplUr0RusC2n7WyOlOeJ+bga
6/TVWQzj2zDRhNaTovw21aZL2nhTb43VwT8zs9L+a0OKwLHoBjhZeZfK61y1T5gRIgPVRwigqb6m
zuOtXvTcosUMCmXZ0Uo7bhinp64p0sVLRuoBP41X50DjD5lrkU+0jfJuVhK/yHvucGnWGddcEU9M
NtfKwf2sU9pp4xT+JOz4VtZlRjYGytFwKQz1k1hnecB4w/6J9Z9thK5bV2GXreuxgChBT8aEOuFp
I/7KHh8WCUHWK9WA+6BwH3r4/vf0IVgVUYH5OBuBEVnM+S5G4l0q607qdaFueiVPHnNNQNlPI+XN
yYg4CKCHFmnQz235kxUGtVtQhb8uTVWTrdem862rJarhTWqGg6tTT909MsmJ30JkQ+7rQ65+LQRe
mrSh2+UubtPx05CB/PhOZMwPVDTWnRKr49aOUtzgQEO6u9FerC3xHpXl92zFGQgjuT8QAmy432md
3qda0uuHJUeLcqSH3ijfnCW3jF1ZxUJBsb90SuqJCD784Le66ta7WImh9pzCB5zM1ye9mg5rJeYH
nIOHF1MOQCkp7Sxu/9kuQaL8MLPvbVjE7rObKv2ntjaLYHL1eEeex8QdPK3zcGwW7a7pSNwucoow
Cknd4/KD6506apuhoZU1DVEe9kbVhKPD7ZUAh2Ht/SKma7Zdy3XUdoNtTfO2WKLsR5RBZPYivejw
UpZGViLUGG3LN1KrdQI7tmctKFq0Yn4LnLVz2iUywnKAsKHOKvz/Hi1QaMTx4NepdG+gIKjaRhtS
EiLzxkZNMhMOdg29RL1S7JSbt8kBtk91KZ+kQwJo31cRuFJVXueWGF6bLFuCeczTm6JT4yYQK9yw
oJVre9vHEY3xQWcOsJkvPydTW4B1Hen+LHRXIXCPqpkl52KEDS3q1c4zXOzNRO5mZZL30dKpvefK
Wf0Rx6J5SyM3OyAnGB6GuU62OmalkK0zAecMMt3UsseyHgK9ryoYYmgNpNe1ljD9NVEUbtuJkFdO
pgt7vunAI6or4CD1OVsnSiRnBgbejG1kQlWas+FhbGq05mLQlRclAf+h6iIcLShVxznRAIcFKx1o
daHAU4geuojzp6XSkls7dZIfo02ktFfb4KWbTqes9dxFn02/oFFp76JUAvqAPZKhJlXBVVar16Tx
Ezsp+Z15pLGe0Pm/RCocPC+2a1Agy0YY4rE3puY+JZRNhrqZjE4I4zXRQgnZ6nuWKXbta6VTHKbG
hQ6bcT9/ceMJcG4oT4ey6mTOiVOYzrSZG73pfT0zBOkafVE/FAanpG/greECrSa2S0tZVs+LgErs
JVEL0inwwyRPrMoE4XF6bkaUW31hQrBMao3bPViRB/sHRl5WZBPLXdGzR2mzB4YpAtwTBzmeTman
mLtwPsdT6kXsireq3oFCG3VNGbNGtjb69rIM88GEUsI3K7Ol8qGk/SBaYrR8l4zycF5qG8P+ARO3
vVrGM1QP5tUU6iJSDCpFiBH7BovQV7zrnH1KkMQMX0ErX5o1Ut+WQZFWoI1Ui4EtpUwDqUBmeTyZ
XAzzbd4nzo8Eve6xVvhhk67BAcDoOCB6Ydmxv4vdIrk0pajxNnNKbQUA0YTV6kZPa09ckqfFinmz
LCDVqdd1cbV6ugtEh02IRNE65Iq9T4o8vZ713lx9WMrydqQZfh3H2noNhkIdpZqGm/t9OvB/EOmK
kkws9khjZgHnodJn3nqtTRyTp3QGXedsHu00sEwFgtuA8qwK6mJAlzYjXNvyj1rbr/lc8jkesQz0
BhoD844mUPlgKfrg7DLVJjijm9t1jj1qzEXCUxRSZVkISFxbCPoNhjlT4lxNS9sTZWDCt5q8vHUK
K/9kLDKxa6AiO9Vh7+oWXA+meePqb+MoloDiEASxMNrXru+yADRX+NL+Cv5FgZdVRgcHzCz2SzF0
X1rLNLwGAj0CXUCArb1WfVCuGa8DcQ/K4FHeW8bQBJGUKigPDPQffUpMjClVy9cVa/ykn6iQ7mK7
hzZXgduzRc9urFjJPuVj5NyNlRJvpmpKdV9Cqnkb4xQXVIxgdzQuoq8EiMX3RmmJq2wWNBQa0gG3
OESmISbvBGcnVMZenUXWS6FG1aanELur01h7KqfYunK5iTwl86rABYFG4O64p8nvbjxy4GpCyr3Z
ugRQKNj6eF0zGbflwvcCBpbdq+ZI+UMzjIZCOo/tJ2Mw0yGs3KG4YOn2q1DgZOwOCufSj8V3FlnY
uXlQrmj6JHXjbgSrpsEZJsm0pdJdMbFSOBr6S1ZWv+oE/hoPojdoDV1W8JxzM1SwOrevDOtoldF1
7yz7doYPkTS4kC2wjt9hSHAxlriS7zWZv/Z0/x4LuRuBGPhc4CJ6piXpII/0wINQNnSrgZ854Rmf
u86FN3jmY/H3MARhADCpJ3dg5yQMeicxEt2YF6qpHos2gGeY3gOrkANOV7INSjoh17CYtpfIDCcR
7zsNxP8OSo/wFP/CazxTLtLGMCP0D8flsA6+Sq2z67bljREY3vwz+ZlUgRvmexFyG6muLw7+0UdE
U/LPwc9kYhAXEYDU4mhszc+AP9PNepXexNfGLTlD184uOWQ3lGfJJbXmh8+M3BwtF8Zav81VS58K
6NrasQ1mKGSNX1+nu2YLlnJTh5bHMb8XX9vD+nTZEf3DB0arhrZLR+J7zlOZk0SMw6odF1unI/fT
rQ4Oxv10EC8QYgArf/+q78Y5zeh3UylFAMGNTjsmAn9dNSvflDl9pJL6+e8vDPvdMKef8W6YmL2w
LSbtaI9VdBgqJQ+lMLMLn+uj1XcSpzmQzRzsKc9maC9Wd5KxfizHt9J6c+Mff36GD1/Vuz9/Ngdz
yxwMkenH2tYPRdcwgPPszPYFOdqZA8r/rDN6RWDIkE2McyPiZapTOr3cHG7ExiAsHK7hptqffPdx
iriwX52ZKfw+GByZ99/FTurGXaV+LPb9vrjVKh8Igca+TvmL87HwTd/YcHHRn6J75fHPr/PDGf7u
Oc/4Lwq1YBfV+nFdgXaGsHYOWQY5lc3lz+OcWRn+/oxnU7wCiLZJND4ux2z0/nYQo4LqwiGwcNGN
/OX+zwNeerCzua6s4CVWrh8HeRfH3Kv7PDCxjbNm5T96Mk4BjKOwGDXPpaZ1yUpIFB1jNJD1eCd2
iBn2xdWy4QA4/n/YwZ0+yb9kcP/zJt+Nd3ryd6s4JZEl0hmvDexvztHcCGIFh9fTrt9/SS5m+364
nN+Ndrac1c5OZ8XFkjXjKqjDEZguLGjx4Zd6N8LZiub+nRQSZkL6XOx1Flu3na9cHJaXzxMmItZV
7cPNv3R4n5bUby8R0hnQAd2j31KSp7VxISAZxxIwtjHvXDfFKaUMac7fZLMdpLrpOfY3dApQOMtH
kVxyhTsVB38a/2w5aFLOdO6NY+50d0m8HKICA1pjoAV/0mCtoVlMm4l+z3+wKN499dmimKwTtYen
hmezyfJypxByUaVqQB/36c8jfVBfnmx2ka3b2klte1aDDUsOLFhaR62N1BeaD/Ix0+plg/x3BgJH
vOGrUy2DPw96+vlnL9XE18fA2AHTXYCdX1cGirQsMgb7CImvQOSS1jBBCtAYTcwXtuwPSpJfRjr7
fKq0iGi3LToBSvHm6DqxgLGdpwGwovhhpJF8bZPSDsr4YuLOB6vFxLoCtxaCTlHcnr1YIsrrUW8d
klBW2Apl3JFHqD0ZpRs6E5mcf36hHw1G2X5ylMGI8zcblTHVY2Mx3WPe6GFmf0vMJyCig3kpIu+j
t4lwnvKOHi+BzWd7DJIPQBfpHtXRgjC0bgyt2tL1hTBmay8yXh6TybzkzqydmKe/z5ZTUeeqAvbn
uas1aFSH6Nc5JnKEZ9ltuo6tGwK45nQHua7bOtK2NRbrXtOD3xrC4455Nc7Oo1Isx8jBEjeKb5fR
LtkX42t3eW5rImOqegPt3HeX763Qr4gsh8xyEszAQK9+1Kg48L45TNIMu4FAagypY/dzWrxWyje3
fa5P3NJqOUCzhA+VhrwMD9xrm7iqP44l8QTdpu1wziNNQhtbr6yNR6tPPyc5jZg635fz12js/dXU
fQhbPlogFKz1bZMkT0ur3JeN2PTzKXrKtDcav7LOLE+F0mnOup8U6q5ZKi9Lvqv1p0b7JKB4NK7w
c2mTqCvirYg1PynhvDt5OXl2K1HhzR434Bd7jfZN9sWIP0MA/NppaTjX8Y0WQTCZwcjNbA3opsOV
s0QwI7uawAfM9lmAb5VJcT2avOTOeatc3Ab7HpGlYTa7REOiX9Sgg+LByJ6KcdnZcroTpFDDDt6o
NMDIUt1ZFhY5sX1rl5aHao+umb1tIADGGDCYEZ+vLMVdFX2PaLBI2DOmIkIJAWid3WDusjBvv9tL
zpfT8vsor0AbGo+jIVRHO8yi5oYUt1uN+3g8PzbaTxtR5kKKgiL4paa50+LdLG5a+7VKeDxA1+rV
iuxNsrphq0qvba/t8aue/HTFgxJBvaVVWu86CL7JKn0neXXqb1wkoUnxwdX6rtGVMCW2uEXs4tW0
adZdToR4J50jzJigKWCpgoqOlXlbVsah7/WNu9aBlg1fCtwjfS68kRenzlb0yxaAO0QJMqmflWiv
yvp60Ds/xWohEB21ZS3vtfbVrlZ8p6JtLB7QIm8Riuz7Ito5J30raBsf4bOeaIFGiw3TSCrSud5r
KCdL8QbbOoyBp6wuO3bzg5N/HcC7NEcgaRjoYBkBaJDfotgzVHtv9UBSHKs1dhjGRFuEsydx0lAH
K22Gaw2QtaODWznPNFDDZDB9bCB2yakHhEzflyLyZ0R0XYHprSN2rRzuaMAFa0ZeqBXR7GiuURvs
oWJ5eJchJqizcbukauwvulMFuT7wyONabZIUvVekovRorG1hVRecWD86+diZXQ2FvkNI7RkskCUK
5jeFcpQqA05weZ/QFo+Ay00x0emyEoJycRz4D46+d6PaZ1kRiQDzq8foGGXuV7sR10o/HwsUJRcO
hI/uRQRr4/xmcSeCD3W2VWeY3ChtHN/3wRxofhk2N+n2W7WHdvJyEW748E2+G+usMIwmYVQz0pv8
Zxf2pzt/7Clv887140f2qeKTsRnvaaHdNheKw4/KiPfPePYFrbFAgyCRHirpXs12rpn6pbyUB3iW
tPFXGf/+TZ5H0S440dAlje/Vg4YTyWJ4wvHyw+l92tvYT7ttdlguv9OPTvR3z3bus2IqypoCEh+7
MNomfn5Yr/Kn3Lc8gL+g2WQHHJvC7sL7/PhRMSg8EbZ0OFtnNYsNcynR1fi+2Jf3eRjdxTfRhlYu
Uej1NvKNm+Imu1DoXhzydPi/uyTVETJXQ8T39kNOnM/gp9aGTTEoNv1OHIo69dhjcRK95NX94et9
96RnFWgEoTsysvieVqLuL5Yi0PrDf00X+vXoeR/+/fIMPOef7/WsCtW0BabwFN8vUxskuOnpPdfP
LEdZCRnoz0N9dH9Hq+VqjgqkA2n6bFFkkO07bU7u24A7mq9fwYzYYfVCMme/bVTvP/iA7DHCNk6b
KL4o53Om76q+GOPh/uQvSVIeBba9OcEw9EFabwrwn7jKN5eiBj/acXhGDUUQya6/DaoXcED02T5m
WpVsaB7uc328G5P5TsrmMxKcCz5i2ocl6CkcBFD1lEV29lKTfi26QnWOk7/qfkd4+nYg+nT9FD3K
N9qi6l1xVV2jtiD5Kt24aLzvkuOlbfY0Sc4vTQZNILyd8NsGxvh1pThG7zqoH46FyNXX1rarxxg2
4HLh4Lgwint2Ppl9kzuV6RwHTfToEbsyvYF0E114oR+PcgKJySQFiTk7nSK0jCxA9wja9GQk+qY5
8Y8uLIRfvQNP+/avE/NsZ1Fii/6O6O+L9U4VcGA6T4pP8fRAzPez2tpbVZMbHOKCC8P+PlX4NkgZ
IR8AR/5mI69r0oqxAXhM9u0+D8XLNPmQMz1SVjeoBy4tv7N9TGD8yUzgf1VL5XHPb9IlwgiBGuQh
6cWNnNP7XMHApa8Opjlccuw7E4M6p7GIuHIFD8cysMyzF4opVrRksf6Q8WSSkFOqpg2cay8JLyX9
nrds/hoK2i9VmcBq8nfn83gt7HI0HoxtdqeGjU9lene9RRN+VxxBDC5MlbPZ+NtoZ/WLbQ7I/gbj
wbXfYmpw9/Ofp8RpYb5buH//eWExLfCBc+hQ/Lpw53WB66EZD6fgSHnbErnLJf3Q7f48yocP8W6U
039/d5CO1pJpCPofBDnTQyKerLVJLrynv5qNf3qSM1gKAYkoFmE89J/r/byJd+1AlI8I8nB9yWM/
CeqdcbswJyRC6914n187Hny9W+lHF065s8rvt1d6WhbvHhbFHlR/fsjprprL677Yycm58LTnJ+nf
g2gn/2lAHJM5/+sgptI3tWHpDzMhHo5xlBxr9tPq197a3pUBMsd/M6T57xWm/WvE8yRTeI0yiU2d
ab9gaXRzOmOmO+kJ3+luTiPmL3+eMx8+Iki4ZQu2S5xdzx8RjjapCe4DV/V1U95rT3Pn2y/5tg2X
wEqoGC4dYuf13l8v9d2I5w7/vUMMjG5DYwvqvXlrHcaH5iYJAJGxHvJRvwUoJy9MlpM38m8L8P2Y
Z2Wtvhp9h7j9wX1o9+4Lr9JPiGXGguWR3mSo+NqDvV2R3tzUNzRLfQKiwuRxRHT0om7rABnQhTPi
o6WqI4YguMKgRDs3ekUlqsqxjB4QGKL7beNdZrpv/8mXtaHznrZqktTOnjlVF/RYInoQEHeb/tmi
k2/2ntZZ20UnpD3B08H6lpPAncgZZHLxtHS6tIA+fM53v0H7dQGho3aWhN8AtfNgpl5712Dg2G0i
TMeXRwLALybwfHAa0nkW1GckMWJ3frbTupm2Nrl0H2hCwz7Bcal9S+37HqOzv97u/+mA/guP+ncT
7Tcfgaf4q/z+9RcZ0Okf/NNCgFADjm2ioGCP/OX7+LcKSHP/wZ0EPQ/+0ZyDANT/FAHhXq6DKrmE
Y9k4wEIF+aeFgCLwEMDdmkJOUCKCUol/Rwdk/pWt86/ji0IJ71dDJbCGnZZsMffsnJ+I3ek0CyGJ
HZv2rps7Fw+0ZcDYojUM9cYywWrTBwyi1FvIlLAhRUfkYCdS4uMtbASSobm1sBs6anNR3i/4o7zC
kBvu8F3THqOhcfYjDKxQWXo3aJVyDFthpem2KwbtHrlxEip57h5EigeBLxq8Xrw0t/tnnNiBFMpi
GI7sDMJf8nU95LI2trVeVPeVKaKbFNW8Nw7GRDKhsLsigFw3Gf4M10zZJH1b7kt7wGMsa0X+kixD
DyExNtbmmsVSl1W4mh38qiOKGuhsIxlY/UpGqj3OzSOK0jGiioMPqgm/KvpmeegxWqmvUNEgohCi
FM7GyNs1yOa2uMXVGEZrNdetFxsTvgFxgRgR4ceCSHE07/VM9J/Y4sGMB9ep7tRWo4vUK0L9qjoK
rmDaija6n1Rj45pme1yG+pDxMTE0qdfXGUel3YS0GnlfMe8wR1Kw05N5OGlz/8r9B7uxaVCgZIm1
V762c7t8RwFoZng2KcrLWGBbp56Y/FVZK56b4gFqtukt08u8qZq+O8zqifgPmOlAUBaR3fl9ghlE
INOkxJRqnvBSK2qUzoROkKzhRYbVuEGCTN30TFcBQIuF+22U5pAF0MTxK6piMoi8OHOH3Yg8BUdC
ojEEkHA2v0m8fve5CbOt0yYCdBwUckEbw64Kq1jDonciFPEk3KwJB0Ms5F51Fd6Q21x3xuh10KL8
myjrJsyxqHM8Va5ifUAsopUJPLTZvi6WojzMJe0K/ATh4WEZQL1cTS8LhPXUX5Kx2Ft5L/qNDfiw
6TQ33ukNFoXq1GdHexaN8RwT8Y21G1ru1otiTX9eNJnfxiW+gLVlMqnsUq4R3HI9v25tUSIDqk6+
c+1caxipjpopA1Te5N9OcMraoGVBJ0Gu4JCOZmRZryelST8vnSWferRAm8hIshUW3wzXc2wELlZL
V+IkCLv2U5b3y6udResOn8j8pD0zplfcoyvsUueygLVfWf33GmNvEx2xQl6l4ST1K9YKSoXtzpp+
yfEfK721smMRlBJNIE0CWX2aGyG2ad+6i9/B0fezRq2eMQtUA1KOqqs0xRxUs0EveowMhZhPmSP2
vHhtvMoaOWpaH+SQOW8Tya2+XLGRxdws2zqTAuHWjU3cq7tpcj61mpbid4jtKSyoIml4TfnaoT6p
u2M6GBSqepa/iVqKuxmT1HJbzEr63en6CR2LK6Eujp01PmJpot0LQyfLLajlmuAt4sopHXp/5I6m
YzJR5A2WSXnsFj/jskHUiGeOtQ77GG3DhLgMmrKXTbod5Hijxp5sZfLJSleEBZ15cjnR1yXaom8E
YavH0W86REemNoDKx6fuFrzIJpR14jg7K8oxduMCvXzu3QbCON55dbOh54dDXYyrxHYdRvNmHnK7
3JqFzDeJqa5sbsXaOffmnBVyO8FmPuAGIb9xN0Hr56VuHlnbelqHdGfBZj2kErPgTdomytZY4uL7
MJR44E6whJM1neiVdWVxVPj8zyj5yy+4orS7qJ+bTw5rdtdN8XTdSPwTy1FjkS/ttB+NUU/81NFk
Ehp9Um4Q9vVhp+pNiI2E+hDFE6IicCQHQxiail9V/E58hw4i/T6RP2rqSwyJKKF/JZWHzHqBcvd9
busV2VAWP7pjRdZ5U1iooVs7eyzbNPq0KPlym7grUq1ac3+aepFfDQlsbDG4w5U9LOs9S1loYV+T
ZBTk6slcssRiNPG4aySCvpSJzwxxxYmvpUr07OJbGqazNX7LjKS/Qk4i86Cmu0uAKkR7T1rjcFcq
TOtJcYxdDYn2GmW+8Q3rlOwauQAmUmVfFAhaByZjMsvhi8DlX4Rqn8JOV7V1i3iJVQ55lo6amuon
l8RkaX+qfOf7TNTdl2Gumh3O0iOrMFKtu5Td6W3tTMuvnGU9JKmlBkaJ3yxHCZck7Oi+rn0S0Jua
PaTd0m9LY3quFZSLV70mhzBSk+VHCxH94BamlJveSVWvTsz+E90z535U58qAcwsTF0GA4ky+qHGV
pVnWLz9TiyjJjp0vT4aXSMEDaPS7FvVWjWngVKJYsXESGep8+ppXan43z0l229jNsyPhU9vMkbsY
/d/GHTP7eVjH/CE17TEYZhdr2cjo5MOsKZjbjPbIV+P81oY2xcBCjw/tnMXPOogF2tMye0PyXr3E
TskL03BF8PPaiPaZhcJVIFD0Vgj8V3oi3YSEVBxDynzIN/XgtmE0rOW2NIvWWxwXdH/ELQ0QFWI0
3n1+P8xDGFs21zDLpKFWZHj5xKyWHh1ToMUu+t10cMJBKa3gRJmnn+laT5ZY1jBngw2cU1s0NaIp
7Htn9mtR98FitcaVvqgI+JARBUtpyo3b1UOgDa6Jg9u07KpYrsHaadVNhjPNvls15XayMjVM6+Zb
nivSV6oRawSlzMNZSzI/H+rhoKaW+KxhlH7vRG7ReXO2qF/aNenv1nnqdlFms3drdoU/81JbxjFC
WfYges3YWSzzxx5NSvS1UNXpKupzJ/8x8D1Hr+SURok9iWEDT7GAi59o8stUO9jm9VWyQwocHU3m
wxG0G49YrJY3Bb52t30iug36uOiOSblAtF0wLPbzedZSHCdLBLvsDz6izHqnaQP6zxxxJYznZltM
UXI9WhxdrnT6tymZ2RtX203Ufd1OjrZpM3X6MQvUDWyhmpxQJU5kdAyisPxxsMtvdc7rAR8RrwPu
GNjdGfzuJYda1hljiCl4K/0iQY4TZmajflm0CNdi7ivGdWLbQ4UDxlDd6LVQUf3N0xGwxeJcTyl0
0FHoMOG1zkhwCCax+SpKavv5v8k7r/W2laZLXxG+QQ6HwxxFSZQsySd4rG0bOWdc/bxoaouSdvj+
mdM5gdHV1Q2TIoDuqlVrQXeg/KSeyrhhyaeAC8z6xwpU8JySDWs/gvq8M3X0WbSJd4Rqg0I6UaWX
/y4pip7r8FyYVNuywP3/b3uU8vBDCurjTsfS2b/+r4+iUm9iUTc/EsSi/vfvMvjj09ZIDLhsjQz9
P+iKmqx62XZonBLwfiNIUI3/kKFlk8M2yEYLacrkvhEkaBZdskpcxlZUfCy63ujVqGf5D9y6MvIS
tg7bFGHF/6u90ecQCaxuZG+IcE3zoY0h29NW/kNAzbWoebMC6hpHKFluU2jCDvU4fK/LKEZPKDJ2
veUVJ891jPMQqNJiiKGB6pXeOAvfIei+t1NLmCZ/CH88eD36/LbsxMtwPBdBqD1OS+owLN5aQWJd
WjB21xQ2ay+Dlvlnnhak/TxTW/u67J9jSUlPvhRtYkQEzsIjcxNtnk8eKpVtt0Pm1NI5pX6HauOB
17tS34ozSnuaW68xP9quvdezVC+by4ir7XKW9NsPP4vby37zU9XDFIX4sA21+AkQmoDxwoDODtXU
L9tQy9OjvEWAzNSg9yrK6iQOpsQrw+2qeH21GdSLnUQH1NpvHcJ2HXHtCGJdOVp9ohavbdW8qFUL
zRj0AUvNl9VH0exi9h2aUWuPvpnVK5af7pK/k/ao5zpADwpC7vpI9VZB6xaQmtrqI78ZaJ6cMXya
eMWRsW+ejVDrNr1blysZSozvA7VF1JJrj//+LYnMxadvCZK/iUBQBsBA4ODrtxT1eatncffaNWkD
7Rj6eaxN5Gil+qU9o0Iso3YoqrSF35nRCorTo0J59BzWLnc/BlVxzvPqwdO14Tti5dSNTfZMkvJz
p3mLNoZvOn2Nxm74brAIXDVRmIH20Z1nPfpDmKmRGVZJaaOtM5S996OKq5M6pgbMF447S2qzks7/
5RN/jl5xD05CJ2CT4fzmI3NPf74HzTIJYaq3XsPBDJ+Mosvn5A36oyrXbJJ7mO5bLxu+e7Kcz2M5
Gfe+nJkR/5/8ux3kw5Y9MLoWtQ2OS7SpJURJwTZgCa9YDBOUgLqcM7lVnZ0UctZPNsmDk5z4i0xx
p3SgxDq9gYvAPwdjj9zrRG/QIFFIVazugP/6s7e38najW9b9v38HIuD8+a8O7ABNYYuHGrW8+pfv
ILL1iN2h/gPaMvtoZ91U9B9Wa0fxB+oXM6M6QQ8wQvVvl+vM8KplFlPRR7nbMs8086cfV7+7GCKU
BC0VhKw0eSeXknkjmb6/KHvH+v7uqrvNxVViF7GivBfKBj9QzG+WUtu7rOq04lXyqmgWSKGx80xZ
3qZmZexYVshbCtSMXRo52LpiHWYV660mGJ5jnyoyz5HOlpm6N8oAnbewDzJVdS3EVZt3N1vppHNv
jf+t3Ek8qq9foUUplSFPSlTUVRECBXPw+Wfk1W2E2h7c4QYoQt23H/JGzm502B2VGeW22Y0RuNF2
6hAt1onZTdv4r2nXu4ekG4+t5Jo/O7+5l4eweIorv+G/bmUA5Eb/WKXsiQgbVM+Tq9c01tVVjo0Y
vux1VGbgvqbHR5JKEN/EnbLxeJBvaz9DeURSjk2SVbfy9OQpExnCxbG6Fc+hnJboy6mYvgvi6ikm
ZnOy3cHY+4kTAPQz+++gVCi4jJI/DGm6Fz57yG7sH/R4hBTTUx4iJ3Fe21R7qCE4fX23fDphRxXv
eidv1h1/L+ozzZ+K15dExOPm7MEsvLamQmLS8vFtATP0nCpY5fWffB2/ex4yOOzdkQrzeVp5/+0v
LHIkH//CADugBQMNO1W8sO36kqPnBw3TWuBQ8eqoSz9xYy4WFNt8tMuTYzcRoiOj/5KW9s2gZO4v
dGHWnduHP6A2YB9fmLBEjOrboKZIqxMV2RG7NT8QgzIbYRdKtKFDrpV74OCEnCRT3Qe9HS8k/hbf
B+yDTSjKapNywzOrmatFQ/BMLo2dbPWEDrN20Q+eSWWALN8jyZhZN9SE20dZS9hyN+7G0rpvslVm
LF397GaYzkTzc6ewt4M3//fnDJGSTy9hi9QLgWjF4CvkBaMoX1W8UeWCbs4GUYzGNrXQVM8bW38K
ze48a3iFH9BcZ5rM/f7edNLc28mh/+ApfvycJS4EKdH43Y0VKs0J+2xaX46eFXj1s0Idvtvv9n6y
j3/av/hHKIwIf8gZk5WWuJAIqEp0Nm3p7PVw+pha458RC1OPkAbd6lNLmIokC+ZfPOo0uJV7Bwzz
mFXB3II0e1MSVriOF0NLGE/OwuM63jd69ViX7kn4f7mCbLbesSi7B7gWuLwDBDRDJXknlmJmkZQH
vZNfwoFI8/zvet8XdrVfdhspByYqrqDXVrO0Bn9YimYLIP9egpxKYZ6xUZpl1yMIc+nTTPfeXohz
X0KZJ2WPtM0jqv+Jw8uPoTcihZ40+qHtkn5PZ7kyQemevRKMayWZzs+UjVzfub++DCq7CPaOwun2
ZYe2Te2V0pkKj7dBLpSEhvc2SIuCnruf/68yPbsSakCGXOvPkGaojyUF+ddWTUsLS/qm5dbkKVpi
3ORpTH3jX2eB+Bokudt9GWdA6XP77/fAl3etTa4FnBjZQXAqKrB688uLwk81iilTImmsmyDz77dD
J/VLyCnH713kLlHC1r9JedxvnT4elmItNfxpv/oLe5xJy9TN9G9DCHMUJGS82xLq3Q/R6FWnXLKa
WREhEQKEuvGXbgWvhz3Ad2CVegeIvoW+KLL674IPqWnIeRD2OniZLCPg0ijA1mWIUFBhzbU2RUnC
9o5dJ62E6YN90HgbQNS6ikgn2ezdY/+IOutauPQWYYV//wbVzyu2Cc5Bvsyh4oIvkCUqHNefdk2e
JA8oj4UxIPHiRqzJgWBXJ7FEh/vnnEVduhN21ir1ydFKODASUy9e9VhR5lbt+0c0EfyjOLsc9PKb
F8f+5ovdkzUUHibfLKmgSxEbnoEQpCkv//1TifTz9fXCVpOcGygVXiyWw79fXy9ogzam6yABevk7
mlb4m2jz8EyGY1x4padtG7sfnm1ijnVX2I+JCTyBeDO5ZFkanknxIUlQ4JbHifNQJwbqvt2OQnb1
xigc/2wHVrhBjqOdQxLGs6pohktvMq07WzmINmWEJJ7r/5Y6MwWz5VMKAYKB4GxXQ0XiqrQNoqZL
6FrI5Cetu5DrWr4TZ1kXKXfxkLsIPelvtmvv9Uz4ZQWKBpfFnhKix1d76oNay9k54Ce9j4qSZSPZ
8e+T3YFN7dyj2oHmUjmzKfE+dk5PWIBtrVH4yrHV5N/51LKm1tRXua32iLZ4uoSJ4LFujeRGHgdU
quJueO7JTi2hYEC/aGqaPixu0WA9XN3EYjGSM9Y9fvbftETNCQLw8e+smVT+IlbKxl8G/vF1h+Xw
BI9CW9JmBaUpG588BBQavnHOMtM4K2m4siG3uhUmFdq3BYrvyVp0lp1v7sUAQDLGWRxs6A8vA3RD
Wl5+5XVe5IdWhZzZ4L1ZQyf1qKbxrFJtYP/QXhFqo4RoachtCazxe2h34a0bWOUdP5ESeuKL5dKY
LPhUdhzeXiyW9/OyD2vqMjxIlV+ux45MoXjGiqYyNcXDWTRVZAcvvV5uFmvRe3X+x7GdZf03NWWx
j/n83Rs2SgeUHgCAtMFlfX5yqEGkVwVCP0gpD/wBcm3byoO6v/y0yR9UJ0RXLjY9zqsTMjxsgN5t
woPbsTqJ3ml8WZvaokoS0tFjZ1GJYoVP4syzSAk7WkWkpc+ii+3aez0DUctKG5WgGZDNYCl+9rqU
bMkoqo9sAJKdzU/kYueNsIXOkN+2sIdyAPW7M3z/7I/MQMBrwfsvheuKDkzmy2+XYkUdMgdDAwE8
/Xi/PHmTwZIDqzbVGaF6BKnyiSC2s/xXpTiiApL8UerQLslOXNwYrW8cbN6ocGEXwavuHVPdU16q
wl75jlnOyAOmP5EhmyVKZvwu/fBuNIzsRYcfZc5L0b61nYb6MqvOdwFqzBC1180yIpj7kIxaSdBE
uww39Uz/LfvxHaHf/KXqDXUOe41zO1rqJkLxcsY6sz+Kg5eVPdWrQ4Teoxzv44CyeGGDterNxU/T
/M+lqddX0YcX9OcXbje9uMULOooUbRvnjjJzRgMkNOTeK6VOsznJyeHW1TmgGhaedLKDwkOYRGca
yBnaQhI6itNQ0XEd7xpS6s5iZBdO1IMSpVa9G0culw387ux94dISUT+3KqTbYVCR/ovfAoFhlaQz
yBmavbDV0MOv5dx9G5CGEjsRBojhZgUXfgWg1kEe0xzLdWUN5GabiSNblxeyUYP1m87sNsufDGsg
TTsQ22CvmlmIXFHlWd0Pgx+wvrStjV1qQEXlhhw4/PM/NWCJ7B1/ktr86EqZTLiCbJpVPhiNpgmR
DZx+PmOXnaoyGL6h1eWu4JPMtn/jAfQWzv2OVyXUeEP8o9Qt9js+N0lDKtGeod+gnGR/5cl+ehsr
FRXu05lw6wvujYublbnySW4AwJU73UzzXQ+nNNXOqd0dxcGsk3bXkQCCkvLPDtuIzd3b1zVSVERO
om94ajTqsGPDdytHGg+Mug7gqA69P5K0NubkFzoyCS3iPyQv39pieZJG3k+TbMYW7eBxH9q8dMX/
ecj5GEY5AmwPVW3ttiPrqrwuxj3KhzfiI8HMntyiSWevchEzaXzJXcGotq4oGzj4aeichqhxTil4
iB1kSU/CdLVTkijNuxSi/KtNnLVF8bdz5LX6lFixYs10s/1heVGxJs1OfOD9QIDy1IC9IcVWpuTY
RvetNzN7u1oJR3kyip7S4WvTbXMdJkYCoWPUait4kdjiBBCX8b4y1xK6PuDGdbgim37TAN05i4Oi
BurFQzSroqmOsrWqGyM6ZF73doCU8mMzHpLoIFxgNHtuua3Wwvdqvw692ka4+FoEZ21rXjutxi8O
1l/v0Hp9dkNg6yEEkrFNCiu7CbWk0KZg10OBgtE26ewzBEOIjeiOdxSH8P2skINgy/r2Yo/ghrqc
CTfR7CeRpc4Ls7mhZ9bRiuFZgd8fctKqcZcem829aF06hA+avvoSIQh4gwLHOlLRUI8QTE1DxCG1
WfW0yWWcHiFOVTuBtszLRDvkkbptEqm/FQdk74bbckge01xxduPUEnYDtAIVjSRMr76F32mHbmRx
+j5cnBVmdhkOZWG7UXyyhWlPMaGE0hfp18b4FlZuuklDQFuiiap6uHRTVVqLZu54EM/zrNqL5hDm
txA9mrfApYgVnsosH78FY53ceQ5hjGm+xI/yD9N3uppugi51FiheGt/IbYRLE6rUzXV6eG3cPRna
4mR1/a+kT5YJm87nyiY5H7S8fmCusp86qQOHHMo/VEuFysjT/YMUAaBKMjQZnVgZf6AllsxiaPPv
BqNz91bc1QvRMU0pEYp6TmN3XBuoB1ymJKy6FA4GAdVFNTb+IRmj6jKl7pN3D4b0ex6Ody48rd/i
rkvWpj66m9Hx43PaUuIsnpefPfTJw7OJYlw94Bm4q4M4+Kb2WrL+f/N4v8p1jgy41pYleTs3x+7g
8EN6tlrL2xIDsBeiWRjwkY06tPke8B6ks7aVU2Xwy1VsWlpXngmvAcWCZZPz9rC9Mnyus/AByEp2
Z5Htup+mFoMpGPc/TF07aTTX2eUcqGcJnnswhZ+nnqg7kZyLXln9Lzt0g/2ZLD25Lo/b2Whopya1
qh8qj2+WZlb6zUELbZFWfFM5asmrLHHGoxGQntehn9xVDn8d1QRM00CpeQpSC/oLs4sftD7hLdej
PJoW1Q/DzgbWMx+uR+oRvbJIMz5cjwLy7JsJkenlehlcjCsD3OFRlyJzA3MJhfSJsSYPF56UQMkW
Fi+BZxgsiYASQsnUYTUUAxXTcVTOk4FvqpG5Y6rG7rZiUCC1HwY5mSf9iqEbN/TwbVAap2+D0Pzs
twgbhQhDMkhGPvw5ierLlYhaXwZFFjXj4krAw/5ypcA9R5SRwD7gZCdt6PqXQkP3RKnDn4FGLKdO
q+EeeE+/6T0bTs/eKs/gKNOZVbnBT0jZ142qji/BYKOmiBD4ofENJCQllo3mQDQPlrbLbJQnk44C
dHLfKUW/kTvZowY7rc7jNFtuBvahq/SyXutuAoislEqonefJKCcvKWJ6a0WKgrVYwhXjUu1q5yWL
rS9mqZLsvzFfvYFl8kGnQA1Syfo0yV/nHtnd/41ZTJL/T/8n5uipCxvNrZ0Ycr1uNv7rdau20tZI
JwXrvMnZPRvLf/tMYu5x+mKCKWH3yft6ST6q+Exi7to3+0XfqFtFUiNUnHSnisDcNtpGbuTCP1iD
Uz0oXgflZuB+gyKw3matLF+iWBr2hCLsD3bx31SDflmQXPkGQq25+PetOz5Ar3GLHmiEaCqZgZqH
bdF0j40aJUs7iOzjQGneVrf5JcB2Wd9aYevM01pXnrvMfyCEpP/+c3Rh5ykEBX73WOTdX0ZPNSiz
EojnckCmYwvRZ7yxs1K6NWKVjxhD2TBow1rcgX7uoBFj+i9h3UcLWILJjMVtQY5qiDfGoEq35EU+
DJKhsl1CZg1+WI7r+6FABJQKgVt4NOt7RFnNLdRmDdmqmoL7zHIIv2SlthbOfzOC14K5jX1Cq1YO
wgx20+AwNuCbYGArt16q+o8VfAzi3aLA5Az+V4pvCIJJN6kNtFp0pHnw2DR18BDZg7eDhBvN9On9
lvsLOZD8H18mBOt8Ev1iQkJy8U0xoo8eWjXK3q3Zw4IRkPzo255khkuMqcu1RyDVb83qc1P0dlMv
/Njhpq3UN+d6akKqocwLglbsJFoQjiHg4K7yzHM5Nt5djBaEFMrGWZiKuktnMXKveyBzxvmfBgyW
Iu2KrIceBOnkO3tQ0JIi6zbLXZnMrWgbKuJePdDZO2cKeGgdelPCBj0PPub7GNEtHIFbv80DiEua
1WXvLgczVg4J5LLIzk2nY2zLcNtryVJPWDh/6I5HdXxzQh4D2lI5VleWfrBExlXsKRLW+zeYRPo1
Q30MWdfJNATHS0t0/OnVo1OEhG1V7POhju7VpIbGLhmfMy+B7FBmn5PoOtFDVQIl1sq3wmtM4W6f
zFcvzSuH5zYLfgAzlG9VXoj3PV7CDKVIuQ78Bqq3adDk1dWRfCu1trTpm5Gn1qYoikMSj+5ebhqk
uBCenBmd7e7FQXQMdixdmsKmm5FVfvCpjQyYekKM4YujNU2DkHaCeEZu7BWl3fteP7I8z5J7S8qO
MeuTp86poOpHCmAhmpGdh4vejPydmkTa078NUgOUE7pkOEb9GB77wnHndq74r05AdjVSm+dmLN1V
Y0byJmys+hGKv5NwGEodLDXqPScxUm90dw7jcfBaBdGHkYPsF/DYa8PMqoebonC7g2kS0pu7Q3eT
9H1/0ICYr4wYmmNgAzGIAdOai/ujnprq1BR3T6Iob73i3hK9PtH+S+91bFonErIafneDStvvog7J
HBotLD6l3qyLIhsfOyV+aKaU7rvDAFRq01lhzkdIdDjWDXNrIhp7Mqk0mHc98lggrmbEP6yfhdyi
YR+U5lnqWaFefdUa7SaE4TNgJBZA8L5csKDLt242FvdJ+ouy2aSch7GJjnYaVjsRiegzrdqEPin0
S1zjr75AABNEAUIwddNmQ2xM0A+IFy4FIEvCfcRLyIoh3V5nz1cXcVYq1rqhypo895/bHDHU6xgq
NjwXN+AEO7vVbqqyngG/Ve7b6VC5GrWwCUGJqHLliw0gdEva6E5YjLY21how3LnwFzat6l4LudP2
olUYpX2I0/wsWuKQoiACqNhwVtdB2bix/di9ExZIrt5mhRl6rrshz6fI0M8LgQgTX1NSEwyxBomq
5yn+Q/ig3FZ6AAXyhAu7eItTMUR4uxXvCmELbbfYNpO3QJEBWDbOl7CQaFutGsz/0Ru95ezohMFj
obzUeqfedpkNOFTKnEOQFSfR0ka+IMsOnTVqNuk8bCULVqXYyxauTl1EiYzenXDUA/mXHmnWTowQ
9jb8fp22SiX7MJbZ6Tok9RV73UG8/nHaNjDWo46ac+Ko6ckbJMh8ujh9MqryFZVf/Xe6DQNj+J3m
5U/SzPa3JpSGRQlg+2RZbGDarrI2YizExu0iSPTkKTKyV5LlBmMjKEt++LAJrfIiq++RH6zvizLV
NtBcQfc92cShmQjCZTMBGT7Z5M6u7lfCW7QpUtI2vDXfhsReLe/VuI6g/YHtr9v7tnkw8xyGv4bP
qBe2u6ypZn52k9YjWNcbpyDrvXOIGxUswzPhIpviQtVdllLRI2ZDEYbCj3pZ9769uLznRLuc2pd3
mg2If5lJ7GYuTyElSNMZouTQA5VhNRevIPGGMSb4j1rlwUp0XG3CRXTkWvo2QjgLl1Fvg1XsTbp2
MtliLbXlHXix4NxHkIj12kTbP0V0cm6Fo1ENN76eEDW99pL01udv34qtJvkxQyvj2NtJsdCRMJ8b
htQdDXNEOnA6A7Q5SUklfUEQpnDB5Wfxpk3Y3g06FdGxNYDSd/fS1BKm6+Fq8wIFuiXRg3TeuGkk
ey9aVxfRDKesKEiqdCFFwIThOSZAB4VncGoz9LB9L19CbQZqPKH0QTiLQzLBt9vOv/FIc8V3GtJt
s74qn1zkm/bi0PeBubd6H741IPbuWk+0m7x0o2Z77fb0xK1Wwag+WGkGNXupnXQgBFvCaJPubA8M
KonZFE3IrLSI5gFisK9RVstzO/TffHnPheukjd98+zK3F3GbOUsHUUAk7RP/KM60urgzwC1vriZh
/+JWNQQvDL/ghkHBQiRHOnJXlzRJog5U16WuvLykU0R3jpgXxS26vLw6Xju6yZtSlHGDIK5M1C0I
neQhkmA6gQEyPjWs2c9e6O26KSWK9ECx0Yh0LkXCNJncysnNR2ZFuIVgt2dSLcsHgWSoc+voI2Vz
I3AdnS+PG6JnyQUdIZAY7x52SVHJJSNbuCblWGJ1p6H/5ZfGuBVLustiLk8d1n1iySeskw/oK3kr
TLAxSou39JzetysUguB4Qwrhj6QxuU8i69lVWhNFyVLdxVrN1sdFyKLqCsLiqbGKPF8/jRH87l2M
GhhIVmNvjEm5p4ImXA+mld7ZETcMulzNs6faT6OmeR489jMkBisKf8rmoSyH8EVTkp4vvjXutDJ8
myjQ2reJ6pTwAHHtt4nGQHpSC3AeaemlM4qC+oZ9u5rpLAQQB0EHUCtZlAE43pZG5z0Mvv4UEsF/
VW3SCgMsYLf6aHsHq2BzEE8dGlgvlpb+d60OkpWjKwS/I+cyMlNs/xX557eRFGB5h96iPoq19hLt
sWpX1L53qyDRPhcxhvJA6b7zRzpaKG/5lnoKHW3cyb4Ki1mu9N+kMD4LRx7HD23i8zAYjXoVWE61
a7pSOqld8zZVgDzMX6cKdGnd9o40E3sxsWmTeetZyQSfmzZ0flgNB0pwHkSfMBUqWAt2KsrynwZZ
adhtQEIdwEz+aHKLYsiRevE8JehVanX60KBxhoymoyBV4acP+lCNq9QmIix64cL2jqPuvYpOcWgS
b+ZF5FJEq58WVir1wDtN05uZ2yCK3XWhudM1yjrFgj9ACw3wRxEfbL8bnqwImCG7BYmn1levBK3W
gzUGw1PVHMRgMZdmSe5c7APEXASxrnOJ3UJYVebOyz1Qw2U4F7jEriUgUMShdlmpDp+b116xrL02
xaLXQB3tMlYsia9NrXXbndqVSFlzry77MW43VMMUL04qzwYnjJ9kj3KwLqK4FYnW4qXpoVgGjGnd
+MEU3o+Hs7CL4UFZt5t2Gj4AeBXDPV+L9lE2Uhtr1dLeVNBmaEhiznQXdV2V1/9j9bmpJIY5Q983
3XNLq5fea/N/OhYdMO3xOlWrtOld1Eo7yhJTClwq72S4lXNGh2Rb+BooWGoCNpVMskk0i4T49NVt
kqT74pZNo8RsZay9zTa5CXs6zQZKpVsa0xLj6haUI9mWsT4GaMgs+7Zx0bPRyztZYXnquk66RO3J
XSBzzs5ZtFnju+zb2+pOOAobpUkuvIwJ+58v8wjHNtL/Os/1Wl/mGaZLZ3wjyzRrlYWVjMXeabS9
gP+ITJs42Ll9sQu4kDAJzNC7/xVGJDrf7Z3OSxshPIZbTHutBbhOW4UGl4snhMyERRJDJ9v1Ktcp
J/s/zXHxSi0mcqaP8T6Hi1D32wtE0yojOsrpXtztLsGKkxHa28uTxIyrverr/amZHh21rejzNmdn
JXwlE8bMzqCgVzxJ3odKbTBVZBv1ZSiqyBaVwqVF6OrXmAfSa51SziWXTXWbeEWzLZqmR8qxSM+o
MFG1OqWDcSXK8tE1NfwGceQKTatM6hANlKMt1cXjScoif6G3VvlCavOYZL37y9OGTQILy/fY0fu5
Ko3abdME5UYMktxIPoE78C6DjIyKC4nQdkTB4KDbxne0kPq5PA2ywqLcSHr18Up+X5cv0yBxJb/s
N0bV/P2VRlXWjxa3upGp7J2h7nzuSgDQVO1qm5A14XPXdje6DFiOJIBCbbFxJ8xyMxab1kFZD/X2
4LnJMmOm+oV/jBSiEmDghFekO90hyokXial7WQtQsGab8D61U5nZfZ/FH6Y2QqvYWP5QUTba3KhQ
HJyTQP2dj3l3q6NZcFsN8i/xBBt9g5r5yFa3ogkUou+gWh49c6s4k/IXap8v01i3cdtbpScOZBn9
L2GWTDJxYmxj+zcRYLHdFSiXubG+t1AAvSLmnAlFd22KszhtL24uWpXs1H3VXHtelt2AN9p4DUAR
LwDK6QwsgR1bQcVMJ7vgRABEglDduVEvf2sMkyJbuR3Xja0lT9NI4SBGelXyNrKbRvIL9HZ8FBBx
TlduldG3ZpdtBDKuZxnyhaPIIYtetZnqGactB8Le0u5tZ0E9fr+NUZI8BlJD3XkpJytPAJLbuhyo
ffDTFdzM4x41OVKYrBWf9Vg+RBNc3RzgZALG8ITMVA8leR+yXInSo1uzq3p37Sdcf1+r56iW+YO5
8UEA7nxSc4S9Cn0r0HmFVcmHqqufRKc4dI6HR2bp29416nt7gjFeNg55FN/4DXsubwIGiFermbfB
/tqEoC/c56pmz8TLU/SyqESUj+2FSZYqH5ubsMt5RA/6sOydrLnh+cnTeOpFTL3+0Cz9Ml1WlJg3
1lqBH3ifpE19r6MzRElPJa8CL52i1xna0zCIndo6YGscakBsFOuXaIkB48h+SW4QyRO2fnJLGGRn
5IEVuCpauX2MmrKiRjJ9OyvfbaK3DPjQVz/RS0khStl/5zfwAnMbdTEUxtKMQF4vxLbF8NEjnk15
tN3U49YNtVRif9PUprsqUximosxjMc+iWzkoDSTirNapz5qaGSw42QKVPPqFQY4clCin/jDo0Irz
FUTN3zFiYk8DJqIafONGmHuBo6Q44GoSuLI/PZvJM3clZx0qUEo4M1Ld7eXal6tGboa2bn8UV7+Y
4lKTDx/af7qE8sSoMATLvDfkrRFL2pOau0cIgYN7QsHafRy6u2SKm1ZRGe2SiQBEePW9Uyz+ZtBo
jNq9SkDdloNuXyFcFx2z0Gm3jdn0x246WEPVzSMbrnLJiPqjOIQIjF3ORFO4IHdszrswWFTleIMQ
eX+wSqW8E4fJJHdGdwhMr7rju0U4E1PrtN3h8jOtu57qBXhQch8aBanWtSc5lfYBoNJ71dTyez01
YfnFXOc1j7+kYDfuxOBgmjBe+DDhb98HlbXX3btlW9zzeS6DEChF53GqztOk6l4cOlP9w3Q9yAAm
U9oPNs9i4IxTq+jL+t6Dx2EVh1Bx/NMgpS7lDQumkxRbv4wuL14MNqsLVnDaFgH64uW+RAr+Rc+Q
sUPux1p0g5W/1E75W43R0KqidLyNav3D0AH4xVZ4fRiqUBjilkp1QyqimoeW5K/Ej0scxG/wS4ew
iR8hjO8fR1w27GF3oxqZf5npCwbyy0yXAddZrjfCl+nhL+gioh4oj5WH66EIfVSIp4OwqW0OUiJR
u5noKPiV1ZfTq49j+9qyKXpnplc5gQZSvatCbUFQFYpmHrMmXUC/AyHJJQ5jRAryoPjEUwxH2Eb2
jsJPN6C+sOHM8nJuvD+8SZtVzotxVfk84OK+rQ+pK/FSmlJWBB66HjL6vkzDBZD0WF63rtHu/gwW
UN0S5WOCrEqo7n2FKo1FWuoJ6pO9wu9UK52nPo8pRtB0sHdePh4y0/9j7LPyRx9Lr+JksvSTZTrx
fLO4nABUO10u03teNIfMN7mpqhoOpKxwHpMBgVpo0KtfFrmZKQ/aBfm3WPKzZ1XvINDTw+B2KuXc
VOGgbK+jg9KxUSL+c3Tg3YnRcF0fjTQ+RDC9rtGbpFiHbOdvJzW7tbjjxT2tAaXYRR3ED5EU3Y9x
AasSXxF6nuU66Z16JWIzkZL9cAC73arISAsvYRZeMnINK+qTVgMqe0tpJDK+401AbmVqD2ZiwGuL
3J1uVsu4stJnKE432lAmsCQM8qzQ1PQOyGq+K/QyXL17NKNJyZpaw9fT3Dp9254jTYJcORmiPX+Q
+Gh1Xb70EaSAkmf42VS5+2uQn+O+zn/KrONnLALbsyTp8oqvJt43bRMfO/TcL2O65hT4Q7aK5RI2
v65j4e6rXXWSDBlyvckYTs1eh5jdDMJwQUgZpY9SQY2CCBbEDq7ZqdugcKKDDNY9WkB0MQkKGBC1
8VxfxZnzy44NYyX5Ujgz0rr11tcqhWuPKFXQrJJ3mx1KcwnY4V5ilmHWqvaxU8vm8pAWfy1n5KqL
ng5YmMuVNhoPVZPnT55RZEsYef3NpTmi2QBbjXSMQzt7itjNQ1ElP6ody04oMc7NNMgka/l/iPuu
Hrd1bu1fREC93LqXsae33AhJJpGoTlGiyq//Hi7NHk+y8+a8H3CAczGGWUV4bIlc6ykHSGqESxrk
A8Y5z0GtqkXQiuag1tz96Q29v+pauFxSRhbQkA7CW9mPORD9UaRGSrhyO1MHFhU/5lB2IaaOir8N
KGEW2zR+f2umffkQOO46Fwm7cay0fBBSgZqI5Px+LiamAW+9vsKjwC4efPByz8CT3g4VsEHLj6E0
UVI070ONQBUH5kbjErcaectiMEsrRLIXCu6et61+EZLDDaDBFfFsoicr8ArNKfWh0+Xr5y+If3Kj
DMY21CqsAFJWWQ1CnmNlz/9hkFQA/vaRuxy6Ap5QH0hIGFvWUereUc0AbTgE6NBh3gNHP2F67t7R
DpjauJSfB+M+R4PnqPzH4NIc5L4C9GGGtto2bN3A9bqncD+9UHyf6kXG7uZkdBVn7TXHz/ug6y7d
oA8zbQOotC2hhPTadoZ/nRvW8BRXQC3hu9MapXUOcgU+mf6GJVEy7ewUdtfUaiOdtMITQu2p9WMK
6aTjU662VEtTNDWOmTTGAo0G6Qa3Wwye1W8I9FMgA6GTaS8Ztva7AIC6DeF4dD32lJ/rqT+eCL/3
/6iHL7D7UnzMQ/UcBhiwLnYf5ghv33hQTzd7pG2QANjQBp2KhTu1G9qRY+vw3krhLEMXle5MrZex
FAqj1t/G9gl0NRUylVZubkNHguOpoyAUGUmVhdvkv6qQjA9Ocwfe1leDUUJNC8Y8wOfBc7K/mmA7
POPyVACPkq7NnR21Jm13Zk1f32FTYdx6VXhL6D3ZjWJnFLZcE3rPgp3PQgELDg6OYT1jasLnwSr4
X1O3QwiEh4b86amNKfs0ddzlLR6H3Mdp1A82E3MAi455uKms7v1dnOA+7AcTW9ZeBzGCmVEdp8es
t9Rh5lwjDzJsQJwHHhxHipVgfbOjaBy0QaH4U9fNbg7d6dZL0TaAOqt62Mn54CzQS2ry5OR1kMNa
9HB8RdgUXqpUOXBEchfUaeqg+WXIwD16E5+/dHmLU6EtC5ghy8R++qi3nPwuCyCnYMNJ94Btnv2A
uDXiG0H5FZkraxmpEAy6gHs3eRKLhQ3Foa+eAb/UWuHI7yWjOAV+AmNc3dCXwy1QxxL3G6M62ILV
6yJqMRPY2rUwLLCiU3OLjHy3hV8zf80ryPzoDo5g3fqyBER+AbPGhA4DBYOWYGWdd9O7AYTY9ICp
DiDmrZdgM19ArQhMNGrQSwCIC8gvYO2VUTkbkMnDFf0yBtc+tBUXj22BMK2a+Ht9j11E35v1IxRZ
1eHS/9f6MQ6BJ9WIO/XPPCPioHP/P9T/Oj9d99Kf1vPr/HRdAqF91KclmOeIKW8ziTxLomR+m0YB
W0ro5z1P4wjpIMvzv0/puO7lwBP4CwdLx5+sN2YilBIV7jNCcPbSVEixjAK/9y6NrCsEapJDWaUw
Fa7ZcC6ZX61LF0RZ7Mhwuxqz5kubqVuz8iFs540LliaYO3KTc51X2ddcVPaCVbX1AOhUtFKNnV1P
k5Xu5FT0h3QKsD3T60WQNb9N/rreAChTcO7sNyPsfqSd8ef1usiGH6wYsTKIPw3nzkvqT+vtGWvW
CppJe71oL9X21631vugyjsFjsP616MyW/1o0/JLeP+Qucf4PP2T+sV5hB+Z//pBpvUUKvtH//CEj
bYO826jcJ4iX7M244l+AWAyXJu4l17HryH3v1dG2CArrVuXQgoxwA/3WwvgIwpjGjzIvvuWdWT3F
CaTbQKW3r8JS+EerM2O4Syv+iIAVvK4qe/ph5fdIxBdvcTNBSrmznLu2tKutgxPvIUSI9qykLxG0
cJwXK2NnGhPbnxflxNl03bIYsO56iLat8M15USlShd9GHzsgfaEGOIrLovp0eF+Uoxfl1mNxX8aA
/Q4gH5YwU/kR3eZVUP7se1hdWbXyHlkY1eu6UM3J9zLnwFsXSm8hOESQSoiXk/DLb9yV64zL6idz
7OuGdxlOyTVbGj4LrzN8WLuE+eFuNN3p2oZE6arIgVwus+n9UhwSCDB0+Jb2CmKiCp/FEPFgk0FV
FccwGCvUQa/gVJ10j5/XCTelal6nKfm/1ol4JvRCM/W+ziwFtmmwGxiC+tVPIAx/X2dpd9YOjvPh
bgrEeBKGWLuidRYpBI+eonHi+84Yi5Xwne6paAG2LiyDb6gVtExzhcOa3FFrmqt0if9+eqRWrxM/
oS9QnakRwil76Bz4t1JPZBXY8Jr+Y5gN4d1oQ59HX40bTXEt2uiFRggc8o4wq/zLUnLR8Q1NSEvh
MpaIo+XqyUqQyKOlUKteihuCCEONeilJCRm8MInE1psAE60hHLWADAT/Mpb4Xtb2OJ37qc5uZdb/
hKMq/1JAtWVp1FhSFVnNw5SDM6j74/TTrGMLapKmxYLnBCqh1D/L0myrVN5uqZsnv8VtrV5cI8j3
vAGXgHr13DrIPA8e3ATyAmE5wc1MXw0/h2+NFY23wCvmZ0DxggVNE0aWDeVCOH2BcQevLqyOVs06
P1i64EFeVkfz0Ooglvq+uggemTRPmgXplkEnbxul+zBy+T03uVxaadK8TLn1NiAx/YbtHvg7UF9Y
RDBAK/oG/8+ofrAnN/8CCjKshqLKehiqwF6lCA5d87gWgNZlztGqJKzvJlnv3MKCh3sYqDVdxY4R
AaWrdN30Jpq8pqtkjjdArxanLx86jD9rp5yvUoABu5BK+SfLrN4is2qWEJO1Xu1iuoW2IG5aMj9Y
ERYmvfqrDY7ZMwOwF/KrpnNjZW27dXPJDqF+6EQm7zeIfdR3NM+g5xnz4bYc3L/Poxj+iU6KSOJl
HmRm6ru8AbWB5tHr4X9Zj+PF7o3wIjmvx+BFMa/nD/NAazOABjGw7goutHC215yQ5N/vho/Wv/fr
Ff9fmOW/vdp/20+vyk1G3Gv/tPr/eRbsPpG6GnEiTW4GKDW/qT4sl5XnNPCS8/19jq/Bpplc/6GP
3Tds9QGiS9ReNDV/9bRCER4b9tXQQ7BoBHplNbaNes09oLx1V5xW4AFoGOpBum2+bZg97UGltG54
BFQgdeF3f79sWVtvcZjI/3jZpJtcMOaZ2PeRYsjJQCjGS79OhfTXBdS897G03McGm0mqN02tLD24
wXHMMnkXBO13kdrYuRRFvMQhxTi3Na+uAc1zF4OBfRjcNnHM9CI8seuyu4KiHoMbNRqK1D45Vs8f
EQ6MwAeue5jl4spOBrI52MovfQa+iWfYYuuaw/CKldE4Whnzxm7vV6n32JcWvqaYzwNZ7tPKyrH/
Pul6WQi4n6WTcc6YfF8ZXYhWpqSwb5GlTNdCcAZxcwPGZbxgrzHEpRdlChK/HAL7OosAomWFwV4d
PnawVnQcgDbd9r5Lk1uqr0ekJosO/3QcrweAeiAr2PD4SxzgDsyE32ypm90LCHHH8YvPrHEfJfCU
pfpo8M/4uflQrek74O3UtExKXO6yDh950XkdNC8zQJsYGu7O62hTdkMTiRrZV1oH2CT9c8CTJdUH
wbIVLqRNILMAXrjO0/bYNk9OM55GDk1cl50oE2uWRQKOBISpKMcKlAyEMVrgqXOdzQU18girq+DO
Bo39NnPbRxoUKYGNWRxZ6zkx++vUlnmiK8Y+oE2/Tc0HvpO5XwFTCvkv0gCj0ym9y+L8kblhur/U
X7qxsnxsrPa98VJPw3Ujh7H7HuAvuVMmJIPnQAH86SElpm6oBFrap5LzT4liCB+lX8dR9OGjjSIV
H6WPcSnSITcNwNWaygHBu/kifxhqVuWnBXz0/Nvi6JL/f+PKHBmmOvTEjgV4wJt9wFYwwcy+TRyR
uEp9A5MbQQE/Co8dj4qbUcBXkxpY0Z36wRZPSWtZ2y7JIGk7KedxUukNdbAsaUCtebRuaGrHh+hm
Yqf5fze1Uw4KaixaH9COU7C3p8TZxhaPn/MRtNchntqroTXZk8rYHrtAcWdzZWqL2iWnXoXbnIO4
4BpbFz8HXV7tIS9cg2iEOaIOhy6aklp7P4Ddhp6SWvWUYxLUd36O/YOekq7kWz/fIZRWFS8Imyeq
BhakVuycYitHUhI69EuC3k1NdWXWVvVUqDbb8ZjJrTDF9Dywbksd8kB9HglhR/yqNKovtkDGnGIA
8zO72s+EHWaY2GWk1YHYOaE0+h2QYMOSWvth7O/s7oXa/tTfM2S/s0S7UhP2lIaduoC+28H8Ds4P
7++gNYgAQeY4t/Tu7/2o9TKW5utjMe6QK4gQIYKMHgN+dqmGpjC2+MvXkMaCkrP+KUsbwVO3taLl
zAGycEdJ6nzcXsLUg64D7HjczhDrS5mG2GmDf1jt+ltoI8MUAFy5peU24XUDAto1vXOgmAgMc5vs
Lw2QgGXIvxTL+qMbDaBJ8sKVvze43HmfhEYEUX43NgCGtytTh2yQuGRAbE3NwYBo3qP04gNFQMaS
x2uq55DM3c2yAnOWCf58+F7rnPbgi1I7G0BJCfIoVEXvPuo1Bvr9anWeeJCaQk6XErhI34BtBfOA
LRV9rjXmQwCB3jUTppAtYbFRrfsWPdedfAobx9xUU/4zYiNceUUrACo1Ars61Y51D+NttSvLCHV5
bUIHL+0HpGNxisupcsJO/ES96R29gBB630IFaGdaHThh9i4CaBf85XzqFiwozCsqs3EyrgYeQv8Z
Rj9zA9VRK70EehwUL9q9RgorxwyXLI/aLYGHvai2rmNTbWZROCPscchp8m7raRk5yL1a13nhLTN/
P7LwaDdmvW+hwdMjHD/Fp/ltnwmAPA12jIq23gM3FJ+olV6Q1oXRiA3uuEp5dsfSbqMcZT36vZvd
OQCHC60CSW0fpcwDLeyj58c4YESAnVW4b5iI9naWKF6AUs82YT9Vh9ELq1uXhUCTanmOjx517acb
ldlwk4bS76IvzB7BhnYsls4Qw5qEypEMDCjE2+nSjoBERuTbekxlNZ2oaGpwIxWLLPppKe+9UZcu
bZeRUFT5Pqvs+uIbfQhNMPKrrgLE7eOjK/Xnd/mYENTmV7J6uHx6tgNX5TC3nGPrOUjgsdzezQyK
ytxCiEM8qGgwzmzA9ogYF5WFcEWPAN6O+Bg1utmlPrN2pVi5ERLYwuw/v1zqdLKoWUDonh9KUGX/
1K8d3TJZUYuv5+pCXx0S21+wCYIlidYCwd28BqWwOVCp0BHWSEt/CKUY3CW8YntpcMyouqq79kA9
AkN2SBfGzubyicRGdAPk/bQzqhDh7EvD5SO6dIFNDSwl8nAzDPiOVJpRPMTZD0CHrNuUdeUJjjl/
rP+1/2SX7/3FOLkLFpoFeN+eEbJrujm0VQbYuzm1K7ovRMK2z/0YPjgaR0lCdvQimpEtO6Gq9aWu
FY28Drv2cwPVUZdLA7wag33BYBiQDGlwAjI6WqZxWnyHCAYLKhOwtKhe+chqn37rgM2xcFm6lH5l
HHLNj4qz6ipoJYJommAlRj/DM9msNoEmZjUOGGaemb7kQQAF7wbyB20MriyNdEWSr6ET8OjU2QgN
AdE8ICyTwvak894QF1tGpTN+7XjtLjnOOBCfsouD6dTB5tI31khLRIyXiAWom47DkKZsp2Q/Qkka
Nkr4FVHRYgkIMvoXR8UpQ9jxUqTWS+e/j+3i/rqqvR2Lm4e0dZAbbyAQ1OBXiLA4X6ZhE93GjTts
udcBjFf76pw3cgTWwUXcAINIDPUyKIPVQl/B4IgGITe8ev9ZZ5G/n8WUe2/YxXIyTwyyBcnyo1j3
Y3Pr6syrrkLOxjx5NlRRcsG3AZRy7gCBgN5n0Dj4bjbuUwlP0Fmxlo3eCsRl43UqG1gChGlxhJdG
enPpkUzeytA9gGVdzyvCtg8OzBojbSPC00U6llZk7CotEbGn20Hn9HLlVR0/0M0iCN67jRHsgSBw
uW69wl9OzJNfEwlYkP5H957BFyEEvx6SFAF7W5QCLH+Q1fBbfu+LwNqnvgy7rEPa5aWIof2kdsiu
I6cf5MUAk5TcWc5ACU+X6yZ2YHHFzbUw3WDltCq5N8bo0dSK4SCJgdEaV3ATAhLzvq2DR6k19qA/
ES1ZN7zXj+h/qf+1f67Fxn7rf5nHjOD/kZY7CEs6AJda4QbEFX4FHa/uAC2aEsortXdO27JYtzVY
SoLhFobzL3s1R/feT3v3Z9Df5swvk0VXdfta2eM3gxlikXJVPbUGK1Y0N+/CcIPQWjrPjWRriS0c
c5HBb4t1o+cOWcPAefHYK3d8gJS9ducEvr8OoAYNzejB2xHuxBlz6FmX/UPM+v4cGb3UDj/jSyms
cu1NCbppbUXdbcA3+4HrbqVo5YLALdQt7PHroFED7saXbjQbdbNNUa6nxs1WCDxq85FB3EqWCiCK
jOFrBsF4Ap103LkBZ9Z4iaWsV9EwJtcpEk578KCird8V4rasq/dB2AHMg6wkuAFmOd803PfWtdY8
KkYoHXVaDIlPnndEYoFqqI2qoV40SLB5LHDdLiOosywh74852tYDFiqBxYZb52Aox+K6IEC/0KZi
NSRz5qKPViqWYFjeSs0D0AMGWN9ArqHacA4dJ/yEnBWdFqnogESyomMfFU0r/FykVjowUis4lM4q
meDw0rAIUHYtvJT25rcGYctd4oVAXemiJ5DeTcbCR5w/g3CQToUbDsf2CSHFmYowZBL4wDbHJugf
JgJVKVXeUVKcCYjXWYWHUIxdPOaOkd71HUxsYLsF+5aBi1fWQXUNtgghcsypeg5aCJDp+hanOCCR
Irj76OLH8JbL9+FM9WCUQORhxTnU35EZYCs2ZmzhujY87cvicNkox0ErTpOVHWakI/UQBbznNQyS
AJFUpXvQIHpx7KShQVTq8JAFLri0TzWzrr0i8e7aKkyvywE6g46h2AsAKQ7+wYO9T+Ga9WKrm7Du
3GfssKtjx2x/Sb16KE0t0hxLLCWDqGjLNlSPJA4MzcCg29DoYUqe00Ii7JsW9U1oFD+peqxhugNy
VAAeHC7pTAAsj7l8gi9KdWX0wCY6rtEesSfzln7Gy+Xg296Vi0DUgyPUDoFg8RrJONtyN4q3MaCG
r4GV782KjQ8mfphXwNnkS6qn4dGY+PNwkNVxtzHcjQMuVH5mBigQsAfTxguVYk90ZME2xD+oyHkX
OqWzjDTMu8qSb3FWy5vKgL48vRssePzQu0m/S5KouaF3l37QSm2XNWj07Z6ZCJZFLKvORdF+S/DB
7OCqALV3/TLXTy7eRbBCCI0tdn7VERAr76YGenJh5mr6moUZVEHrKL6LgFU5llMLQq9u6BREChoL
9wiAZ7aGiBMcqsvq2XeLLXXA4yRbIQimrgo9JbQFPk8Zp9l0LkMLzxNWbmxP2nd+GRdLZZbVl8oG
dhu07Bgo+OcSJOgfU6PeArD3n0NoE644Ulk3mQzMrQCV8hA0zXBF88CW0r7jPMjneRKoHXbu0K+a
wWXbiKQNYf8A3V0LUUMtiEh1pa3UDjEMnLx0HSO5Q6u8qrhpX4dUgk9ZvMSZu9ka2WBeAeSN2GfY
fiV4PL1wB9QKgIeLAxWZl4OrJpqvhKmnKs8H4OG3Hr/O4ddSLSKQwffYSCJj6jxXsQDSgYXBqfWt
8dncEVR4kpDQtyBuCCaphhvb9rTxwAvZ/DbGNuESFca1tcy8RKxz6KTopfNzEvF8BUb39HVEKjBO
ivRtdCDyp6zUvh14BYfvylFbM0uqB3ghgdKnu/QsxwbBnV7KyK9/n82sVfeMSBDkQneeX/D7uGbO
vW0mDRzVlL9zIOZ5L9Lc31s2rKDg2+je0wv6pz4kyqmQNTDP2ktA8rwvWeBBpawUkFsiAWCi59rD
9F4ZqkLBqDFLd6QrG8GWzXYCe3aZsRIwJnTJAenjugA62hgkaMeR7W+sQHY4/9smADSQ3drQZq7X
kDkTtI+lUQl/Q3s7q1ziA0TSE1l2HYsb4nMfiO+0XzVsP4bam/gObQzr0dKlX9v0MTHOFPQfO/Mx
AHXpCETmsKINzeTXZ9EZ3UMJizDYXgHdnbTJ4zBN/EjPb7jS524DxmvDg6MnzXY5P9aTFo6Iulcp
I/iZOZHnfQE5b9HLLLyGuloKGRxN5AVkPojr4BUiqXLtMdEcU6FCIHVjKBxrIu9/18Oa6vRGTFWz
cjOFx/kUpytfWAr3SBSpjl6cnOMB/vvbS/fWMv1jh3PNFEwLJmLnOKsk62I5luOqGjWpiy+Meiq/
2CocIArSlls66bk/zdhprkMZ5RtyjAjcpYAs9GNWyu8VnAUgKyR9sGM1i8No4b86gmqxpiK9jFZ2
MkfbOBH3Q8XA9wPm+EBtVEWDGq+y1kZWPY3GgMS+RsqCISOvVdy2KyNnzoqKbTNYWxOGn8sc7Msr
ojv4XrhsXN88EO+BqBr0rowgqLegflQeWYA9svwZu0N5XVXA7U4jvBjo3fDxLoYw1Vx3eVdBqeZz
XZx/UVFtHnzgoOUIfgvd1mMVNzay3u910COBZ87lhs9dNXem239fuzk0z+A6NusVVI2yQHQXQKmN
LWwPUmS45nLe+8A/U9kVXbCoysQ5TjbgDlquG5y88DwEaiYPUVUu/BG/nDDaYgeGHoURneOugzol
+tNL4LNx6TETPbQg+Mcc1EhVlzmojnroOdTsRfNxhcnwf5QwcNxl0QjhnaR+f1FNDW5MzoMlNTR+
IrvVpTnzl/UwBVe/jaIOVMdgd7eqUqtYtLy54zJT9+nQq3to9u6mWAzXVEpD0wf4qpZr6oFzZwtr
jX4uUQ9AFOF3lUCfeS6KWh4cMNQhnsHCetn/Mx2Nz/x0lTIbkrluKR+nsERQA459j/GQvr8bdN2k
Wysh2+V/7Pf31v9ilriPYSbIp/7QwfilByMkT6tsXw6lWBPLw/A97DaT9nZwYud6dHgBKR5wRCCx
qlZVVMqDb/b1SzJeUfVltD/ChKexCwgju+bC62ykaNPafpaIGLmx89SX7nD2lZsvoGZgP5eOhFVi
lBUb6oVt4Psgu3e8AxwRWYskp3CW2F6ZzwmshLUPjwud1ENjsnA5aml1Y8IZx56gEi4ax3i2hgPs
jxG/sYb6YKbduMbTKTm2SV7fOAk0lPjgFt95LtYTNlOv1ANQH7mxbOPa06HTEbq8yOlm+WxOQXV2
ubO5K+5IygFIzWBt9OO6mrgPiMcAioeRmvIsK3dNO2PaRFv/VM0MOCoC7LpGrvHcONicqiHu2EJm
eCBAw/M8F70QAk5BOiR7FzY+N27Z+DeVbTqrDpCLddFbKOoXq3fVLobADtAdKFI/gLChKgxkYR4y
W8Muw3lm6gGTkuHY2fJxlPJmmDp4BWl9dwFJSXiq9d661/rw0FL3T6HIZt136uG3Yu5P8vAWY+Mi
y0CKGHNWaJkEhA+b3lgxZ2ArKlKDhKfCNVSDqIZeKsj07CGY/nhR+ag9DwFCKscSQdM2K/vNJ6pc
4xnPXhUPBuh1QHjBW7NxIfXduFvym7O6+HPx0kq7BgCG3lsH36kODI6J4bgt8fFf12355gbSuxX5
AI5zgt2Gxc06ewngUL0A6ypdxFOTf6k/3gWDQp0HVOSANO2J3xLhwzD7ZJWWk3UKzag5cc8rQAPy
o2//ajdsozk1AYILf26HSNMzFOCRmEsS6I4bFcTG8N+xcJpbpkHR7OZ/hWm0YDSV04KK9PIxIOz7
fjdWibdK4mBZ1DJFNCar1/AgVEeG7/61U+EkQwv/6OHBSLuMcPTKu2bmLgltw0GMJaDDklWOPM16
pjZ1cP8+f/QzPJaBF5eby/lZSI/BzhfhwcqqJZXoZaYy0sNUIjO6wE/op+vX7Q10YmqAgBAcsjiM
UWBFJM/UAIJztaAoUAnZnrmhQur+JrM9eG75MnyCRiPUH433xh75h0/T/TYKaEiogfzhOpcF0IjE
DN8XQNehBaTOdNDc4mwzIRn/PBhqRLIoiOD/PHTdSSENySrzNQwMH4pQGZS7tO0cc/5YbfX7JPKM
1xpYyTVsVEI7WfAS+ySBH/0uqnCEZTXoIdLsOf5NIn4Lg00fFd5bbJfmwhlkexfClnvuWvIB4vDG
8GXMqmAdlF55xQeoY9qhE2/MWJgPOD9UCzUEzg9oDGnCUQ96ysLNneih12OUnVZXbZYkV52Vp2ub
Pci4Cgyw02S0mSAZBGh9z04c/2lwsPHu8pJ3sDSu7BOc0JC3yRH+w24vzZA4M8Jx88dhcoJ0eAVj
eZpvHFu2dnKYlJKuEr2Q9BL0NLBd7JoYMsn1MMsxUSvrp2A7sfCVvkpx601X5oK+YVRRIp2GDdkH
RZVaqJdc9Fy6qxqnj1hv/bh+wTH/UYqU7WFiBi31IIitBVTNoCWSW+OVKAykR0QITn3UB+tJmti1
+sp+9lPEwo1U8mtzctKn2v5hecJ5vgzK46i8yYoU6hURTP0gnntHp6OGV8YyafJmR2ehOhrbw9iC
9+VMPWL4H527UaV705XGKgqfgtZt3pjd4pYErYX7LMNZEDbBxZFPRXaKjRYPMWtMnxAb/kEBcCud
xyjfwBiJkGhcmy5ESYth5CtEjWaLryoHGgdUumc3cvwdRBf4/L1tovf6CNjBXf1Rr/sjDuM/27r/
r/WXeajeasAw5A6/Nd3QQeQlFVD/TaEwUpbuXKR789hDB5FaqXhpnTv/t2MjhZl/6/xRbHWrwlbR
DVwBleiQb2mfZkIO+jT4/h1YUe87P+j1/6jCnl/NHUK/hKedNS6pOG8Q/RNkRIZ5tzipvAHxIEu3
1EYTJml8TyWvlwBjRTbw/V1nLMzUSt/a6XuSudEPGNx9B+FYPPUVIsRdntcncPOTYwS1mg1PRHP/
yxj60eoxcCoWsEbHGJer+oSISXLEIcHe4N4m7s2P6xh8Zhb+eh27hvtL0rvAZmtKPcQxxFWTOo+X
Y5QAdXUVSOF9OlrFgh2VZ/rz0erXQTTPOHrBypywc7hMlDLI1utBVPXXQX6afAXUXJ4N07a3kwd6
JGLx7pOJr/nK9GIAMyrhPnkB9hv2pKYrKqaRuCpbb7ytWZs9dfWGxpQq6W7SQt1RH1t5xnGSiHtS
I83PmQC14Nf5OXgTEJ2lg3bYWsu4SZpNjHTGQxKn3QIua+ytiPf0X8hx30VCxRiBh8eektvSvop4
OR5pUMJhgUODAJ8tN1Zh5++Mf2xp/S1roufLpifU4mezPEDXq+4AI8kbgGyt0C1+eA0iaVUSFA84
FlabJhmsY5Xk05WXh8baTZL2sc3x36Qc2T+DTGuSi7iK0wfzCEgxW9JDKJhwkAj67B4KtlwDnt/r
86B7BCr+vZ76k++f7l8CgniI8WOgvSDEms4WyHRn2vhB6qyBcBuisdQ4xKk69a75SI1U5ZnZmfkO
MtuiKBYsT9jShiARjNyyhz+5AX40JlaYIUoCk7akhHqG8uS9V+awg42i7gqP+/hYlkO+9cpuvLVt
G7atkXBes3y47kUc/TQ8c2HioPamhqxeTCM+pA704HWayuRc1KGxRwBN7LqCu9fIa0EW0q7G59T1
v3R6+MMg++DnlDZfi8JRzzzl9Yr50LubogxBVXua9lNXp2drCtI1REXUYwDwJAxArO6txX2W1iCx
24VbhvmKsE+/5GXdQ/kMlkrAsbKDG3T9VVPl6Qbieerej+Ga7JopDGuSdps0ffizia1tlHnsK0Lw
Pr7uRXvve1E6fwIgHydHZGY+fwIicedPgIYrsEPpEwgE9lSm/gQYMkFrLqzkDGyTuZ9CS+z6XL7W
Zm9deWCbImYO9tt8Ngn+VLbb0FsFXlIhfTbVD/HwAPGjHLvgT28AdCzSReUgYa3foCnOsu62pIOR
BOZx0yd8E5DCbWd5ywq/j1ONxOQ1qBw4HGgBW233C7kY59Gvp3YX1ma2hSAdNHAwkjogt4eRskuP
UwcyXqmmx6l8AXCSPcXumF673PtGpZZ1/l7hf7qkYh6l3joIeKlBloDD1QEUlKH6fKRinTinKvS7
W5qwMl9cu2eA7CGBoSd0QFC5Tr02sNdyAiUEzgi7OISCnWFwa19KMwchKvQOfZ7xvdnBryFy0mRX
4Wl+kgbE0R05WGe4hucbOeQZLHu6Zp2q1rg1hZqguVAU93DCW1dZ9L2tpxipUrzIuj6KrhnObBTt
0mtG/OQy0zt6XeQde7D8khUg0Nhdju4u0HXUgEdVuwhC0zxGDo72XeAEey8o/AdvquESDOKX9Pf4
CXnHbECuDiYQwDl5gh9NfJQGDljX/aTMR0z/bLbSBkmYmzDzsl59VXUgU6AtidjXFkmCHmGTXeOn
+CjHtMJ3rRLFPmtKdpO2HXxRumwLGZ9iV0nzkIKVdDRBG1j4HrhJYePBWiZiPyab/7SbbIB9pQrP
OBQY9gKoY9zLHWQeE6d0b5J6QJpSmgWwN+qEzFK04aMLOBIS9ofKTT6/TKP4V3HQdTHjRoH7wcfb
eWBWIG11mSOLsP2DqC7ALiO8Ukr/JugQKmg9GOdG3qvTOC+W6tgttznweRzbKUhSe6/YrgP8OLnj
qa+RmOji+KFreu8VXofQYg9afBHhgPwcQ7yY+kNe1dhmoQPaou5WSrXuVVI9DRBBOSSJgnhxhUCg
l4/fi3go14i3xKsL9I0kLhCOfm+Ayg2oTW26AcIGcFScEG/oZcxKQHc6/yuMr4P9pV6Mstxf+sKd
+/9x9l3LkevKsl/ECIIGJF/Z3qnlpdELQxoDek/QfP1JFLW6Z7Rm73vPeWEQhQK6Z9QEgaqsTGgM
AEi9IBfgON7lgPi+1xWg+vnifJ1FTUx+Q9avOycbQX8tvA2vp/HbGB/ojBXihA/WC5i7TLyC6ro+
NxYvQZxgTkfg2oPyFQRepm+DGHIPxrN6FQEbsyJIW4edwD0KQSnkQhdymLSOraB25+fMQjY+Zumi
B+RzBcpRnNaJVul6UbFPlKSWxUo63kmMNdu7RHSWTY3cBBbkTXtSSfraxv8jntgCuEzw1VMeANIF
SB6GYH9iCkeGny+glKpJvSDUamZnwrwwXh5HEm5MpbuPqrB9cZwRRVBT9t1te/A8g1D1Dghre2cA
4bq+eGhlbyxQDtvvSHHV5R86ammhNIZq+C5h+VrnQI2Elo7IlLKFDTSPI99osgXKc+sDha5B9IpT
TJn0B7J1Wj8scVaRm9y3eNe/taxpN1oH5a1eQGf8hSujxad2Y1TNpxFcm4P4dK0m/mn99mV8YOn2
EVR7kBWtToGe5q9AabX7KOYdNGb08lsPwlB/yjmq1bKyu/MyBNlUvrpO3Grl8TjeTaqJ0TkyAvNo
xnWMxnYYun0S9WUGB9dPpsgMuN3c06VySpBotg30PS423brPM6286xRJ5pdBFg6YoOkSKJOKEusm
6/MFin6cI5KT1g2Z8Go2b6bQwIMY6v0C+Aegp8lIPmlRLAxAG4BvSM2lrVuQFwTEybfxh9zRj1OY
Znnibg9SHOS4yHT1SPO89+MEO1HUISbLsAn6U9cU4BFO02RJhCJ0ERlSqUWBddPp5LSuK20CWUAE
Kk4kZhl0TqGdzNQF5xfQj0A4bd0DmFIHjB9B8AACmqkH5KOYQDaroHwE3oM0YrIeNMiQJqTyJb0J
DFiRC5XBAKz5fdauvdppdg3D33m2GW3RIwr0RzcvveAQQQ9v0TkB0EKECbLybEB9v9ufLEveTrYR
7bgykb1ptXGlU2LtM8DRd5m+lC0gn/gNT/WRLjlPmkNlvGBzVh+BSQRrDd0igluhDgOcxlUtmY86
c3bSsWN54rxZUpostKXcIaeIeKgifrm6yQjHBjOoHLyvh/KNmxbyM1eg7QjcrRKOyBeWROkRzsHA
4RLc1mttC7X9E0c0ZrDMbA24db7gQivWg9TAsnptg9EH8mqB1372UyapSqxXXXBrHw69e6y19khJ
x04lHXF+dI84qRw7xoExE3Y2NykjSW40SHnMoLTLHDSc3PAVdKhvN4rN3LQWpdTD+dsbspJ8/Rtk
WHXbdYBuBS0uLBQRZVCZXjuZ1u4NLVhd8ZcE/CVg5tXm9qCvaWMxIzl5g0zEknrJ2VOT6Jjkyygn
yL9ZA2u3FZgFbpBoghps4oJDFy3IKKCEVN1BTrC4iaxVGpjmLf3DI2y7VrnWmktqeiZO1GU1OB/g
mhL7qQFlTeJG26LA4QePR+xsBrNojuNpTn15hf7YlGO6m5sz6oHH5nYE5sXSQiimyyT055//jHHt
7Y8giflutmEVKXcduD5QSoHHJlFiil4QW2t6gIBx/sgtDtlw1UkXmpQGaHLCW5KM4Kn56JU+Xt2D
l/NGa1oOJHcxIBpuRzgc64m++WsbiOV4ybQJj7iejEfL0iTOhCDUppOdAKtx6f4Mamy+kzq0HmWY
QXdVQ5Kj0UQG2dXJW+Hs4aD4FGMo9gPwc5MMCwvlnKCmBNbBg/Y59Cez21BpRF4hETpKhbmMxZEA
EiBGgCvkJEAZJaGlQUAKdRk7KAGq4RJPGhLZYoyRnE0icZAgwUZ9AgLKPbBROwe6T5sobYKHrOuU
6JLBf7Q8WmSoKf7IeKzPvvoA+hJnYCDXdkBQFSVQ7iAGF1tRvxPbS4VXx9whGINIMpIbtYvzE/jS
x0fweJ3oYMv7fFpC2ELbt4P80demhBA4yH1o7aIlaxyr4EDNDkobMqgzAKuxlF3tf/O92gzHtNYx
Cz5s8LsYfZUfrrD932D8863yKccpPxBa35BQtnRHTa7MYUhuAhtbH8p1hYBGrcfIBHmbSn1BhGzw
7brtThyvpxcbuXtkxF++DKq85zS1QQU6lVsx9drvL/uL7Tc6qIstVjHOa6I71qrfxpM9QVGt//lX
1cHzoItAf3O8hxCwzQ9s36wlAODTAQjX7A5VT0Dytegwh+S9GtzuwaxdbBehubACDpe96cMD9XdW
VSyLVj61sQXwidexg5lY7EB318t/tPXI1Fd+BNUsqEzrFshL/hjc2EG/z0zuEw5a4DS1Sr0Qy4rC
TA/IRZ+iIb+nFl0MO7rLoC4zw6i/+FuiCiDDkt8Txvq/+tPH0fzKf2qtCKQpxsGSSjgW8JuNqbsl
yqzACQRJKtAroCihVFpq0ag/WwgUvBgZisW8JkxvHCcp95NXoIpEDdLDIPAtoj8w2ILk6NUgswf0
bzCNfw3KXDDk0CD6pP6fQbZXPgaQgxC2gwyp6BZ1Gzf3WJYysLpX3nFA5ezO6nW57abUuuEpKi8R
BBwfy7IzgKJk3Tsfw2NRexz6dcZdyKvml15y8Fr/M6ORyeY+icCozqzJO7Zx3S7NyIM6GoSRnA58
tj3kClEsiWbTJ9kh7w1keIoSAe5KuotQm4o7cuaAPC5H5ZwxaLaOWW3jz453R73hBT+0Rlk8OIM2
nhsXW12h0LG96XIE8GS4Bc82Xvyjd8AimM9uMQ6zfqs2BH9xo9kSSx9xnIcbDRflNhmDAK/8MC5P
FekvjULzK9m1ZwMcpGAsRTPO7fZs67KG7kBX31bWr/bZw2v3V1WgRLj27OcOLOhLt+y8m6x1o12s
pzZwXGZ51jXeLmOrKJEz0N+hnQmhsMdE592vwHB+Gxs27VFUqXOqgd4C+AX8eUHZvMvQYD+FwEGV
/iBjgWODlscfplEMfhu6yZOodY4NDzDdMnWTLUfwEhEJQx5DLZdr1wJfw59TghiA/ZwUV38GxTET
LHobHknskrrW0o90adRdaweLFAfdvWY5I2g2oojNvSjpXxpThZ+wlJBrXA659pZLsRuDeGUFIzDZ
ktnPiXCgt1xqxRGHMPvZ1fIbbPSzOyiMDs/Rk6d8RJrz2yopbmlEnDHoWYLA1qcRFZSuNj0Q/Cvq
ZTHIK1GtWGyplxmB4Zc2A3JBzWSmiFGKAZhCz4DWT8XOHo5XUDQYoo/K026hQZ899Vloo5y14GtX
s41Xq+uX5CBzFi6HxvKOqRoZgXvI1yM9/AAj+13YSbAxNl68Dyvb+jJc2lH0ocVauAym7q/D6YOv
I7tcY88qmATs/5+vYw8VTD7S0NF2hiNWw2Rt8hGyDC6qvwMQszrVbf5BL+YkMYrApxHS7teN0Xir
6w7FTjPAau1p3q9c7b0RjT5iqWJLJTuxjr37BPGQvAzbPbgHv9HegL4WfYrhRBu7DnG8u2wG8rGI
lgAIQevvAq3UJwtaCQh5khvZjQlMqyD3DMDVZSy4XuLgFTrabV5n4g5Mp6+FI5x9qVpk7xwzXAzc
HTfUpEvcYBviRpO2vNoSS+obVD+IBc1EHXmkuUAuIRB4+QRQOPEblBQuyEQfQ/4Mcm8s0f/6Za4f
UnrO55fBEfbt80QgeWngNA8JYoD2oDdMt9fLpJSGA9TcbBI9eGaqRZ1kv7pdbR6TPzve24CoBvzU
Wbe8wn+Sqy6pE5jzBYuVtgiRj16SrTMDDQWCakAm78jUVHm6LFGivJGmGe3wfg5XseeNr5GHCr8w
ydIbC3yYEONwZ/vVLfNQsRXpPd9D51uueRdmO1O0w2NmD48UqdWCAtrro5XdOl3UHZEgxtlPRWpF
lKKKv2m/0UhLjQx6jAqTc5H2d3h5YZGzARGI5U830mMfan3aE/Ii2tKzWpxjVSzdAHRoa0lXA5Ff
A07TpkxfO86ewclJoxHu6H5yNdpl7TtiqkWdLxPpFOeS6/a+cfBj9vo8fyxgvHertzI2eLMALvV7
MU7OMUmc7LHO2mQ1unW/piYqJ+09Q3zTb80OvQx1GwkzEP0Qbr2yzcGAxmree0sucpQlBNHaRiml
hl0tcp6sqncToqdY/JS3iJEqQvbZBgeSNVjHDJvuXNG4FQMqMPPUjSAmGoUnskEzoBWbaw/AR6gb
mFzQJOupe1f3zj2BmKQNJJQeueOaIE6RVn8LJ825FSHHMg6vmLmPoEdw3grX4xH0fAbJHuIYiQus
t2CSHR5l6SAya3D8/UdijJvvy0g+GoiBb5tQilNSohqmdThbRRCbmgMLWtkMe5OBzcYdASqkYAP1
zh22vacWXWYX6vCwRTQiUEOqSo7fKj7+2tbLsQIXx/hMvdeLroILYTOEK3xlgFidIdoju/6akgY4
2bCqgbKrzcfVpKTGE9EjNw8tSPC61OaRbOQ3VeU8lim3aYzDhQ7y+o1gdrUFlaMNrihUj8yXKqx/
s1FFiaMNFZLzuY3/AahGhJnA0ZS0FkxNFAplXayp7M+q+t6G9G/6aWSNRJRgwrvU78C1tkpIanxe
LnJaNL4uHbQ6pIFYDq3n7Gb/Cky3B7AptstxFHzpBMN0K7DHnioWPRmNWT161iYd6qJfIEGFmuHJ
u8MvJHwKm/SZGVl3Qy1sQoDEaMP6QM3aQc0wcNdsS83cRdVWKzsIO7EiekohcbgJ7KxfCtXsrana
j5YGhiw1sZv3BRgG+p/0FZzJGW8tR9tRH5iiavWFYvpCVQyRr1wRNhqh8ThHQasSey0TCrybyrPj
+/miARTqSXlDLZChIAOTFAdqOVOa3IOfqd1EYL1bXAclPU7m/2kibZGOHSpjw8J70d0VhYhAfRse
4lg4CyqrcnSjgb4c92YvIGFjp97M4MIiarVdUSVI9/dWe/xyV0CK4l82g7W70gLLl94wZy3qvLxx
cvfzzrvcUe/Uh691DOZKApKLvmv8TLfrIwWMTY7yKDzBkBdS0WXqDVWTosvU21lutZxzUMXItwSD
Mb1GHFJrWIGhENHvK3CG7gBhEgfQ8S6N0LHOFLnvogF4TOQKlk5XIXM9BCrEX9p44UAntr2kDmSk
6cscpXgrm4ofUaOztXkOFUYVyaIgDaD6xTbQ699tRdImGy9+RFKzgrgXSvegCw9dd817gABdd7CV
HUmR8egVqQmsGJSghTkC4I4o5jiMBbaPA7tnkIxGngo0yxcPPoC5TQOu/r96gUTUWzuMFzst7cZt
zGNvEdWj2Gpa80aIIvqPocsVUXTxwOOSrCEY9y74pPtl73gvWtrrvhWWwUuY4S5Xti+9Vz/EY5eA
AaRHpmoFWie7a1HbcbZz3XyyeQSyl946EwWocJIvfSHD3+gv4y6edZvUN9J23y4WmvfyKZexf/mU
y2f++SmsRf2YifzqRnhg4PTA//ke9+NCKv0ILLopEtNe+jjUijoY7Dz7fOqGM/kaw8DfO2MAFMj3
cMb/YcTjv9z7xv50/9vUSEqhiNUuQdhQg426nbpZtNkLpnWidf0zNyZjl0lQERLvppuw2U7+Ydd2
Kzdlw9MIsvMIIDnbBWFAULiOjz39dO8wC7RBjez3IShAT5UBAg/Oi+TFdfXXWQAGgzIXNdk0iFXu
BMjIQbiV+XKpq0RkvL/R8Y7zSfcNQsr/VGmqg2cfFRvWuuCPp/KEtmucBUWwEjd8dXqH7SioRRdA
SYabwDDWDRBUB9p8064c1GjOxpUDCk8u4UXq5WF7Jl+yg2qiXWVeJpdQJizATc695fVhDC62a6yY
Hl/ys2Mt2ZqaMYDLBEHb3Aniozkl6VGiKnqFmDd/LCtUl1Do8J4j+v7TdoFOh86F/WioIU3L4mMS
dekRlODCz1qgffSkcsdFU3XDp1pdzlemBJFIX3u3WLtTUIpe5BjorusZ6sbRC1L94dTakPgAndUL
gIC3eml639WN607ZNyjyLCrUWyK7YY6LSeUxrxcUDS6LJGGnq2lwumI9Kl+kTBGiTaDONiZxvSSO
aK+Ok1PdxUv6O5BJ9Fl/qhE8z/EPXeZh5WyoPLQHXG1uVop4iHobPXI21KTea3PSoKbJ0u+xnkxv
AFE3foDqntspR0gF22TuFxUE5cEU8veOIsCa7wEDemqzsJqBNDoX4Y6lwMwSnFcMvHwAGc8V4JvG
zPOhbcR2BAkmf1my0dfbQQBXr+SgSuCTjpXRrmiHgqhZuupTz94WnvcowtL90Dv7LzeW6Sa7EvzW
C8Q32ttalstkGNTGJlfqqWakrSnxCLBKe9uiFxSB3aLr20IJBWO9w86hDLMneqFxJFicPH36p6ce
9WuDeuhFJ1Gyp3rigr8ZeVfsKYHJoX6zMsCXtKDmfNH1Zj0nk6DHjjKQNFoIHciQsYmsLcqK0hm2
iF3NAhIF7pq33jTzO+TSqda6iRQ6QfGrWj2EOGph+ajXENCdnusp0Xes5HIly2h88yrwmTgThNk5
Ax1Qy1+4GINHQ0584xhesWW1zB+TtPvgcZR/vzhAVQokBJ6D/d8Scq/Jse/Ue51uK1NHYRXCj0dq
Xm0miiMPGDCSb53G6a7o+SPEi1EqPbD6QYe4N0QQxICTmSxumwz1IAJ0hSDEQYGpQgRffZl0wPmS
Rd+QmcdJQPTfK68ptl9yL5SFkWz8LsH0i21uGS6wj0Wdg0rRXH2VR6OGX+127R7S1qz2lMO5zE8T
0kByTbDCfea/EyNe9yjl+56I+A7ivub3VqR3F8u/bwBwk6sQDCu7AUXAi1wM3a0FRa+d59njJtRY
8gAcG0oFFS2FI9+Ra46+X12HHBV8mat7AJoFqGzt8M687Go0oE5WU264WBywpFw7ROf5Y2/VN1Ng
6FsnBCXSmIcDACAmoiOT4ezBE7e+4gqos1ceozT13WfkPE4jDQT8P0PRuje006KPAaVWvwLcCIne
IteKi0dleO1prhqZt3WfSVLgPxhqjQxz03ejQElrbT9Iz6nuvN4CSzmKLcnE067yS9TqHErlQQMA
VBPL3IkCFetFCoo1k1ibadngpQ0qpThJs8WURvU6Uk3Ip1v7GPIUqITozKq+SSbnxTIyyGynOrRq
ePsNiq7DcvJi+2QiEncYUyDFdaevnpVrVovpfS5ATlwLXGAKkWAjQb4tJpEuqEkXt7FvDJDznGj9
AN4MGuPdDwql0qXsIPDulraHat4iPkYollplie7TUaxSFf5D1Y5nZQqAHoK+iWRrWln4aCJoFYo7
WnQcABaBldJuL33cZb+1Grx+V6h3AiRX5Zr7OKnAFNC/XnPRZKfmAIWAdvaj9sW5spNgk3L3Qcb1
huL64E0/Z2UsUKwvUrAONNXZZhDF7kFHuLVdfDsWIgYfo47ivdbbDcX1LSs5lywWj0FnLumXFfAJ
5SdibtCP68sPbtDK5DSlS+z+ze4ZXMbeYU69q4w7pd2pSZeSmX7ch8HsgQrGndY32qYumuYuzPQW
py59RcthIELsxI0J7Ptqb181kEvNBmv4ZEZxhkqBlvo/2jYHNd/IFFNK6zRz/SSt0m6enLBVAHOw
yjmJCKlT39TS2TY3gacIFliNG5Pfgh8TiqyEM6ozYH10VENsr89mnEJZvWHW0/VhMpkTggoRKSoH
V4D5/RrVzonvCWNugicZTdjnG5l+3gyp70Yg2RuhwY73VO7udMf2VtlQ6G8heAZUDLcswVCA8nf9
wPshveMl8LcU3B3T4A0CG/2DA5WfeaCW8UkNhATgbaub0q9SLjb0AweNUHXLPbmMocBTgKDKBO2y
6q2GBCxddgponERau4vaPdXvzYvAaDcCtM2g0Ro8+9VDCcwNUWzptfuqqVYwDXw3TmPpd33QbUBv
gTTKBQoUWNNaz2z9TI8ceTgCvFFtHfVQWzNMJFXiXtU5XtmrKH0PuYM9lP3kjvL7xpWmKar0fS7H
cAfkQ30U2RBtzCR5ZzFgfkuylbXbtT7d6lg+j0EKH93I3oF5rvzP9YwXqTxcT59FVDtIbeB1c11/
wTdT3AjF83FZq2vw02/MIDZ9iWMKCH/ryb8idQiUQ80Iv/HS5uaeTITYITsUCoO1pqE6ijqgM9Du
AXE6/Mf3cID9US+O4MxGiTO9nultPbfp1ml6CXgdyr4chx3sCjHPhTfo4qSaDjWtOhCnMdf/3kQM
3MOfIvqeTRoAVoQjq0xEDVWT1iwRhvbcnKMElyb11hfnL2Mrowb5UmCbG8JDxaJ+Mw0GYUQOxFTT
CFA3IzWDIxM0pVDPkK2zoRvBPoVegkvpspgHlJAhygV0/RIsajuUTborHNeHt8rLlppM5MtkJDEm
QiSZaraVPUAe+4Up+5/+ZC+sJt6JLEU4xjJHmieNqmzTUT2nY8p3Wq6uq5fh5Iuoqc154braB1Sm
IPY+7K+BOytrYn8qtWBHNnpbTHkZ+zo3gt2kCFk68OHdhu7iap5JZKjN1NCxC/Fn/DJVqqWbQPbD
nh4QfFWl5J7c1aWJAC7Z6CKhw7XqnGkzuKhX/EIS5ogm2QozLfy8E/X5pVYlQ72dfuO2k95WSJg8
omZnyevIfIHg0niAeG65CFSd0VAG+cqLY4Qg/xjEIJG5blwL0fDIqe+MFCCwApIWW2rSq5RsIAdj
23TImrurLTPARyxyyDSzPhUb+gGheKBduWOgzS/Ta7PUwG2j4R+wbBGK2XSFPSwtkKw85rnpnhxP
exQ9Su9QjBgsRMGmO6mUXw3OAj8Na3dHvkXZ5BvHm4Yl9fLa1o9188G08YV+zWkjrRvVop/6pUV9
YIK2bqyazZ7U4mjRW548Vd+1dZkzSQIoALexvqaI+/VCUXgTQhRISyOESB1zTBxRSkhju815yER9
kOrSxWb128WAcssBeBvPd2ycKa+91EFNILijjcpAJ9zoDl6gdQe6uzZLDdTm0GD9pzvT+/iTvQUv
0rWclFq8MT26QaQ/proAKXFtnck0pqODIzYSbNRkoD1cRdLK19TMS+ubRHDRH7SifpWcn2Ph5fdJ
joQnZ8WLYEb92oxWuhmDpgcQEF56WvysZOqdWyyLD7lR7QMdXlEIzBQO+BnI8QLrLusM7+BNqCAp
+RkCcYgcUpWvCdZOaHgj56ua1w5nWqA2gJ+9MBebScdvqxgFoM9G+3F9p9OiX+Op8/OMId532Yhf
fOdNez/6BCLUq0QV+fy6rgQzGxktG25tVsfO+wmgul+C2+uWq5ptUH2B5xO0nCs2MryADfA6DPZw
r9VlfQqC8DnNovQlc6azA33DOyZF84SfmDo2JC+opitvIqhUAceToxmCiDFJHWNJzVjX9WXaJ3yr
6vUOBRByPupop0OmLnSXZBE06gEQ+9oxuYAA00Uru2m+g3J4A4hLZtl7M35geM2cJhaydQq+OHCx
pNGpqziwo9SDkizcho1TId6L5Eza3tR5flQyqUdXZWdRjTTcSscyQccjwlVSxcMtdUQ2FtS2yc/k
QSbqdCygKgodb690ygIkyqMIhTKWsaReco5zsEFGhu2DDmRtOQIQhrAuceZIS2jQoNkWKE1hPAk3
1ESmEjtPIx+PhuplckBBOXMe8tbJ7z27PJCX/eccLOs2qV12voNz5csYVW+UAGQgmgXs/1eZNL+Y
F0/PSDMZIEcWYFAyQrDCAv691fNJns0QRXiXwZR7hOrvkCdI4oo2PsoGLFE2EnQ5Nl1PLJ7E/YQd
SMNY8+R0pvPgDT+piyyt60d4hh/JMvF0AY2Te/xxt01Vto9DBbqxOoyjV2ki5dX0gfgoTPvMTKf8
hcriBRvKAXzKUJ4A1CHE/qPBXrrh3yurfK8Bbvlm2+YZ4nX7zE7aV5y3jKU2VXKHvVb7GgL/XvLa
eUTZZn/jKFpQzNm+5gCrr8CmXm1plMvBy1Kw8CECiPpWr8UPUbb9E+tQQCzG8tQ5aXVCBZtnlfbR
8ZwSqzYu9uWOvEZDJtg3oEDtSwcNpxFeGCe7sDVv/jb+akPW7T6smLEl0/Ur0B3ZUBaLCgN5LJug
GX1sSMdT2mct5PMaZIS1iopkUYupOlABO53IloZN49fcmdZtbkAd+epIPn3kbrT0RYe87pm2zkWn
Q37OlnNLDsY99dFGWrWufcrzz3GjmuXi+ZdxtYoJxvX4t3GV2YQ7rwz5QqTWWw8a/FNvI86W1G0N
xmrwppSNY4NkacARVJfZeu5F0dG28WoQN2k5fxxDjx+BPxKo14Vz1JrTHbZjK/IlEyqFFkER9Pfz
bAb/f3xUmpXZmkYmf/mooex+iHYlGhH9wEHmTDeQyUakYAh/FNycLZeuy43yIWfnn5tL1+Xmj+Go
9bJWgcEjBGLvObfMX14J2Zgsq17xFSEBDLnZ2zSys60OzmpVJgycnlWGK8kh4dNge+mPgA3/zLOH
y+hgsMpX1Jp9js7kgJx3WYWLqoyHtdsGuo/Tnv6sjczcolJBLgEqA5ouS50VsjRiQ83YdCcwV4E+
k5rc7iJ/gvjUzeycsw0Eu6d7HqvHq1DnR/25Rn74NnGCW/IZB1EdFTIKglSY/3//cRZLopsRbydw
P7rRykNOZchq9hwx3T7WVikWxAka96BWAu4pR9rEGV5RE+oH4Kue3QyrBfOosvfIdM9uVlmO5Had
zbq4aZb1dbaytYZzKPSHUYro0UoX1pRJ1I3hwmT5YjuDfaIWGOIgzgKi4C01s7S3NnoQFEtqlhyU
tIXBPtqEd48Ob6LHCcpw8fTbXAKFXb/NBUbKYmuWXgNtdROv3gurMuga+mXkpcPi6+Z7zIHcoh7y
BsTEb7xseCny7KOBhNS7uonZON+k/9xcui435GPz4jrq0nW5ufoUrdgOqNzZdiEQfhYYzP3SqFZl
2YbfgbQB6cFQj4+xQDarj6bphKAVsLEtT7eoNHfOoH8tQP0TVS/CSr/nLSRv3GY1z1Mz4ylxhf4a
ViYIecGeeqsPrdxopmXskWU2jngCwjX2HO1DiqiAj+IR/V19D8vCnswXrAQVKb5HbQAXmIfa8PV7
jCJCNZ76Hl3MiiWCvtVLHMfz9/DAYZN2+hMPp9ivQQIBJqPxPshy5wQyLOdEd1HvfN4hrBBDGDlv
N186yJnGJ11/fx1Kd1LNRHdJ3OJj6hzK5zI3NiBpCg/aWDQ7fUzBjgbt9J1UNqQzmx1+0593RYDH
pAuSXRL30yafSudOhFAkNg2ZfYBma2kg6vVTjqhCTVvx6hRaj5Ac9O/sSQY7SJxMG0Pz+DwIVZO/
DeImfxCOtshGTT+gDA7nQl1MfoFs4oz7nE9d/5iuh64BL7Qp0u3TBPJmeoEkST4swLVi7uitFOrY
jcgks35rfumt+s7a/f+ObdVUV2eaOc3SF3A/mPG4y3nTbIBG0EEf17vb6HKnQUJqttEd6AZQHnCx
/R/9tNhpNijETtdjome3hiIBGuPG2GlZgMj8H0cEz3N+NebYIrgPO7magETvIk/8gMpzu0fEu/Zt
V9Y3AJUUywa48zeUYwBbIvmP2Cs+CiTZn8pB5mvp4Ndh5PzTVauL2TU3JPvGXRxgrepX1wn2EDhC
3ya1Kzf60PVPdtc9tlGSfVcOkjXsAUWI0xZ7rf4vDr2aIYzsaZ6BISGMMvdmngHMJb8cEDSdLVQS
95rhYdM92ucvd3Xm2ecB6be/9tIIqXpb5Xcda4XvNdOdQ6GDrh4iI49xOHYPbnkeBHOxcTKtBw3R
wJu8Y/JRuraxcCxL39bS7R5BRtxs8DIcltQ7DYN+xNkIRJuqN0iD7qHUEJTHrHRJRmOezMrj6VYb
y/cmOKVpgapqF6ToQ8beqJWzNNprveCI/DLtGURMAcj3jXAz+2pZvMBpRh6oVxuyc+4Y6d0Yld7T
VNyMagwqjucJqUUTZrZjL6hZQkln5YDCYWMyVu5tS2pjD4ZHiKIws1pxZ9TeQwOboDK39TvQhZkb
UQm+c8Vg3nCZdsvIyvLXtjXuaSGYMMhMk89BupWwu0INAnSa76owgnyxV02LrmPOYuQQcuHta1Nr
0Y/KNjx/smV4F9jQGepA94pofyKeQJ35QR62V5x0vKFfcERhK/BSdQeRQ1q4UXPFzPwyV4QSpN/m
Gl1Q7NT4QU+pXwzMQwUvonExUNIHIeM3CsuRqXWncWm0Yba+xutA1r4rhdHd/KdBKDHb4zwC/gQD
IccIAMr7wdLiexaIt7CtUIqqTFANApVz/0JdZFGRt52IkLG+2pISydz/Ok/bZd5tGc/zHE1oV/Ug
uuxxaMz7IP6syrWhiofXSpsiNMOgq35NblCPXuTpGvDOz6QbYplWj8K/BOtvoqefuTeazZDxGii2
DpDgiH1rOsAVM+MVzIQT0EN2vCqUuY/tJ8MeynsEzoubNnZM39Em/Vth9+XC9IR3DE3u4cFH9FbZ
OwnpZD4k/faPWcWUT7va0D5nZUhzp6P3+6x1rYMouHbEBnjsYIHfNt/XpTe8ZqAD6b3xxbNbJH7B
aLLILWt8lUgS/+mlI+S0SzPIrUBP3jtbXZycA4QDXeGdTbv2zlAm9M4I3ccbs5w8/0tHDmyTP9Ve
sr12aJCwvMxBZpoa8et4U+Wm53Ok0Ja9XkaQJQGuZ7LjaZW7+YRo7MoJmuAtT7Cei1Yrd8iZxU9Z
0YM7AP3IiNeQ5UviGweaL2c3A2ldggq090CTwDjV2kMJwcu9AfqGecICEcYh8N6ikf0+YVl3ZyQL
4jPE0SbUCperMYubx1Ivh9vUNrDDloiWgt11a5spilNUEw9CC91AqzxQ0PQyaAQv0y0wnf/D2Zct
yakz3T4REYAYb6l57K4ebd8Qbm+beRACMTz9v5S0u7rb3ju+c24qkJQpaqBAysy11nsnxICWbXVL
kUeBOk6oM4JRPx2q4kGmhntnoFJdqhCm9JIf4EZyj2QKrvEMEV2jX5Pp1dNU0c8or907K/1GY27S
mRtm481Z9g9rKM3nummtvUSOdMY+WwUks/Q8rkBp2vkX1rdPhIkGol+lN30LdYY9/6q7L+RdFKa1
LyRKLciqlMjXtG5T3dgx4zvsEQv1p+og5S6iXi7Lykk2Uabb9wzglcNQyRj4YIBtZgBOYawRkuTg
XlT4mzcHMbnWfepl2uwQhU5ytuvxUUcN4EkbkDuni3QqpbPsa6iy06U8MORcoVY6m+l5rQfQ6R2/
kJkDTfqtl5UBrXSczrCC2E3EgZYnuEtbQa73zeE6OuKiftekUdpZW8qXRj/5OhD/vGf4MxV5kKKg
YdHpUGykGeu0TvfUpCmEPrw2aYprU6i82rX5374Dd5NFDzD4Oe60nwLb0Efo6/SItxrGPtZs+zwB
HrVsYs/+5hT6SpSa/Y8yhfxF/BhxmPrKVPOwyYRclgyaSAMGv+nCJ9laPxzD0n/1IGDCNritphdn
NLLn0tCRMQzN/CblGRZtrqttI51FN6VZI1fz2xd6MvqvacFTy/oFgauXqfenc5pWXWA4To8nljX+
4+m4q2MVDHbOXx3n/mM31O0qdjrtiCAKP6S48NZG65v35DMoH7u+LXFrIp+2Yj7qgSd/kevDvKkU
lrsRtlY9jGVhnit1adNmE+FcvtJc05hFbZRZLKb3Zrg/Ljs3ye/bsBs20GLUNpOL6j5dZIc+bOOX
iNv1wh6xRAdnY3gaxmJc0ICBGuwEgK3nf/MEYLZeyKJz1FX7OCh1lNbKNhOiV7fUKlT2AUt+3JwV
KNBClvs4pAiv0KhUDkVUfHawuYg2QpqPUV1oYH4bsQWAEk1qcL4G2nzYVuDt/xKxYe7nWcbX4ZSM
c3+MKNWcG1P9H+1ToIVXEyK0kOOu6+qMu+x3oLzAiGrIdLpvKkTbfeY6J0eMxtmMEbwuDS9+mTLz
YJtD8xSCX3o7CSirN2Cqfc5Qsk1f1b96AiaOJ0kSrfXSNJ3NZAzGxsuKOsBdtXpktQ3kD8uNE+6v
yb6gny9M9VsfYedFJEUI/Jk+x2tA2I5Mrz38MzU1MtCdUT7ayp3b8tU91XpUMqYSV1/hiSAL65nY
OcubS+717j2qhfsDD+ta1QAP39y8vehDieB51t1PttOfQlUvCFWItHjwmXnnJW0dpGM7rQ27zPDo
BKJSZRETgfhZUUtzS/3ViBvjX/qVPf0Sk2O82rvgFw5acD8tCcWpj5CrFboNgDCBRl0LKW4QnC9n
AKim1cCMmWs813C/IWO76kGZoC4c8IgmG4AD+cLOwx+gass3M3Qw96BdpEsj31D2jfJw1753u0YT
RSGJ7lWrVgNBg9oQ0QYqqwprD6bbB9oeFUYGWgd7CpvAh6DYljrJ+M2OWm0egr+/d5ptHnrsnLi4
ZIDI2DhtieJu1WV4EpwWQg81QBP6ak2d1ttwOSGLLZGane3A/uEckIsCf6MMz7zoZAA2ZL4ZtWj0
l9IK442UbApkHSswTDuyc/bVcbMQogOqRyiPsIbH3Oa44DaD8iAjW82aIt4VjcfS8kHCkAxNjUxI
VKzzKgJ7YxzFxjFTFI4ZyleOBXFsg8kWRnzK12aGvZABiOM96Ci+gPTdBudS0t8X9YgrnJXhggbp
5QYJ1VfjJMy0Rd9DbI9GpN67R6vsv1ALKPd5OlmZNipkMTlNV04iXPRgU6gX31J9AFUBQCrLcES4
YqNp7c9+6EfsUNlQbfqUfcvtqgnqsup3Nlabt12lAZGUZu5Lj8CKZpeg8AS/GvAQA78PKy43ZAut
mFdbJMYcsgXIulj19ShuysxcJFITyCZwcKw6KLMNVJ8SFvl8NI8CZYY/sPL4bzs1WqICHPDfHPQW
SnfQaLC+6ECSDKDXwNny2z3YbfheZ2AwtBQRLb2M5gvrTHFHjaQGE7jfue1WKuJgcGTy/YTKztme
+vpXeyxc8OdhIFREiKn7bI+KFfzV/rSluelU9F4QY0O9tGnUh0b3HZC0R3JTmblziCw/Xc6366jH
Dcfv7rN0sg9gsQKzirqNc7ed+8n+L/2G8OwDQMdrpwYam26vaQhdubDLvpqFDgUGPB92EC6wH9ws
vSeDzIa8AsQQotvc8qcjK8FdUKs7d2EZ0EeO//BEne+9gERY7WTDKh7taoH8dnOhF6vous21T7Mh
woJFVrcZa6NaDFjNqYIFZdPwb7YAzUI5cuucRNI6uVzTF4hFxS8oZN3EYTk+g6Wv3XR9nG0zu6qf
YpEcyUDkHKUWifHqiXosfdGpMihu95sMelfPHFWy68QC11dZ3UQhbxbt5CBs0llBaHDrW8R70Ftl
QNNYjlfeRPrULEwF21AWMhZgB6yMZEW1h1RxWHVgGgR/7Z66qDDxrV+iCGYPShUUMEs9hBbZb1sy
oy46eusvWwGao7e+1tD5risFCMEXgyEOeQ5yG1DSVvs0BkVL74UH067DA3MytwmQdLKb4P3xR1Py
Jns6KjKrXgPyiQdNbOU3bcseaAlJLfmh1RXGPAZOhYIsaSnqqZYay0H+sjIbD/WkqkJjjFGozQC4
Xl6fDCn0eOY+n6KQZMPD0QLThY6iu6vP57bCqVeOTG41UODcWQnkP83QA22lbaZ39AI56IVbshB6
KeiSoOqAnrB+Ty1ySsoEiHFNlMtr339ONJmVfZMmIKlXjzAbsVALVJVnelDRA62YMrZKPdD1kcV1
4KMtDSbcMleabmko0f0dTPw4L7WoEGHooJYMnNrrvNfJHWsImKez9evloCWWWNHvVRb9F5TA62fa
LSBn8kX3IblNv5AaA53g61jToExCjf1/+PnQ2d0WPULLtRbdayHuJX1Ygz/RMFFOX3k/CqPTUTPD
4ntVq7GWEtut1h2tm6wDWSm2ZzaUPOMIWDap3cRVypdYOsXfWA31aaXo5lTiO9Rb2GNrdPnaqrTs
kLl+eSZT37bfmTKz/u6LAdHQDKnpSp9MsPyD5a5WO+p2QrTNjBMsJ1VzdJD7qmrLO3thVz8l1Vfa
aMfcN48Jc+yAmpVfvXeyou929diZkLc3epD9oBq5RbZs7G+GMF8BcCLu6CUrIMHim8CEt3qMOrQQ
lI4BIBuAgCsP2/P6G8fPZg88i9IL976mmUi2dY2db2QrYb5QnxKwGwgf6xhHgK+6ffYhVQBJFFtH
JSjow71mGAItm4abbizeDwBni6ti9PubDiVwnz2cphqg6+gihuQ3m1jpXjFTHFHu5B3ppsxV5azq
SrTRO9I9mfpVV62sPnaR43yrfnOqe4CHXJCDgkcOqebAU9yvo9twEJKnYp2yMTpR37vhqw2kwsAU
affbedYRAj2bMgJr3+tZjNiZ21lf45uCIM9r24fEymbw237TxlABkQoxgChw4E5J9aJleBBzv3Vv
Rshb7zQtL7AcGZx7y0Xdr6XoezqglMm2Nx2wIJvms8mEnZ3CWGNIz5bpzrNQbdIr/QXu8j6wXDc7
2w7QJknlrgjDrPns1YyaZNYZYbbKUK+9wPWwiRJH/gI2dQO1jP7XW8+fBx9sKp4mgVPxdq0xFE+D
uRilG4CH3DpugpKVCusyataKxx7hXfug7KgrNuzidu5XtoYcQTtbQXNAHqeqnu5ayb0FZK+zneFH
+KepJn7A980otrKdGevAvqhR9tFYRlm5KniTxECk9e43SKhbEMeBIhdkrr9JgJhxJWtKyEUJd4Xh
ax/I3AClqar7vsWVjHh3f+G1myAUPgLjlEPi0gGxKUB7xY+rhbRG4J0RO/BjrcWWCbnDwHVR4w6m
911uQMIVfLTFbaQQZoCxQOIqdrNNpyvKOJ3rsx2NurkWyPkp2hT6zlQk30WZuc8SVLudQscUigrc
Uv2uog0vwQceeuH4rUXebm14IK7/Sz/Zl7rcRCqaboW4NdS57zwnzEXGQ0E5dFSjZYnzLAZerEq/
16F6mRlHMjUKC2/AxmNGpYGUKe9DsCZIVPgO2cMI9pniQddtpJtwEUJrcVy4QzwcsqyXX3IIeIEM
gbUxqn91LHISJRxCRibjw2GMu/IRIhaBaVWLugbvLvhHjQWUk8ACYhvaLudVstE6UEGzSbGFVsz5
58228SoQ6ylbu1b44VommzgP19hpyltgJl7tIdn4bm4XyY3Znub21dxkyxT64m1uoBeLwEftZRyb
5RJl0BrIdqLkvpOtuE0VIxsVmOcKnxX1TMNaDcSQEINtb626QeADJLxTPC+RrguoBNmUXc/05+u6
zDQAlA1T7Bd+h9kA1bsvRyhEADzHtrkS9EHU0z95roIKo2UpxZ+rhaXkfYAI9k9a2awz39i4cd2g
FM/SQKvUYDk4uvVXQ+LL4pDGPYyVlUAUz1giMM6/1ihO3YBOrVmT2QTpCzMH9IncY7u08AeCGVPu
rIxf3WVmLpG8thstv08aWz7gFOsRaMlLgpLnh9juDNztTLanQbssGKCPQ7Sm0TrKm30P+F0wuEI+
DLLtb1GGvqVBchiiZq2ZVXwhgyRr/pjNAI8XyN10BNkGwDrU1miK0wHcp+Dqoc0K9eUppKo87t5S
Fx/0ctkrB9oJea7dH9IK5X60S7K73llXomf8BbG3OGirIlpCFTDcEr53bOLXJkF6aRQFRuGWmtfR
GQz85qtZkb5m4M1bddWAP4/oLgWQDPtetXxe+Ddjr4MLGGWrYQIoOyig0NehHn5VVlO3pCYZf/S/
9r/5U1eIKGPgWAn4g0RRLsbUr4/MGZtnY7gQ5RK4j4x96DbxkoiaPllVxSXJ8xxgvJw7+kqfQr53
hx70ePiVoj0g7We6Z9LNNLXAAAz0locvSzYnH8qhF6MDwTkCpRUwSnaE9OEw/KND8hGERy7Eww1j
3Tm4f8oE0YTUydOn0Ui6peeP8e3gZ9MmrsBsh1UrHhdOoSHUFEaXauy1hT/F9TwnCh7Hf7LJep3T
cM13c7oDtF/mX9HHo/YuZtUPjljDkeLvUyzMdcwBY6Xo/JgOBgQzkx1F86nr3+xT7HYXunCR6XUV
QwYC/PT4oZadVrem3aJCLe48GqMHl0iLU4uiodPkhE92Dok4qXA+eDSiglx6T1kN3tj2zy4ysEQt
LkDavFoZ2LsslBPN00KWBESX3S8yVdPTXNT6y/R02jdnamEjk67CCHg37B+gk9BHd1yB2UrIuC2q
yc+31PQzPu29zOsDalbK5C8OLDLzLWKH9Q1KGnaIrYY3JXQ3ru8n91HjvQPXBm4Lv78CMou6CGsd
fFSy/egpwf2NWynYdVBDrKt16HiuJTigmXCfwTehf+2Rs4bIKpZPViT4l4Hdx32J/BIYYbeg8UnX
GrilvqY+FJcMu3pI6wb/iwQoTur/f5xV09x86aSagVyIZWYCLMYgdKy4VxytkR/9CXXAkSKVov7S
lRc8MlqUcaN/7ipLkNeCZ2oZkuJloVwVmyaZXF9AEwuGYqg9NynucnQp9Vk7LHANsHlJBL2ZYYFg
JZvXQNRkanRSCyZNjV6NtUnrF1tRmIA3jY4LTks3m9UBqZlAofxdk0ZjaNkiTdH2+Nvh3SNFleMa
YfnOJS4sVG9Y69aoQOihvgL60BakzM+VMAMnGWLs+ZSLaZX5LiWyrKtLYkCcomumJycC//zAwd9N
sQ8bRDg29p+PWuMg2GoWGcLlY/qFmdqKDCbHcRZaODUn8oQwT7IQKmqSefXsWRnjq6c7ZOkXGcZr
ircUk/beU6+8eNEoarK3c149oTw1n5Om/punPbrFfpJQn4Yc+jfZG91DliYZdgeZthHCMx/iuvxK
0Zj/MqCATudgdapmAMAsBWlq826GfzOYHGk+OKz++heDj+8B6Y1DhoAxgMxgWHNN3T63oM0Hf+yI
lFrSx4+jE/1CNaH7D9Bs4I5JnW9TAy2tT6aV5c2mjtqVvJnSrL6a1XRsY1/r4EJ7m5VMRzAcoZra
/kamMhO3VuaFm0GJ0RlyZ+LO8oTSwe7cDm4BGA8YOcH+n25EIkD7q6wyYeCfD3X2059OVmtBR0nx
dv7NSbrYKSVqyt9nauqhO5MTzWX1uMQ+nenq1Je4ckfv6X91+v32yKl7+0zXM7lIT6NOK8XPrFjc
JBQLTihw2/YuuHg71wKlQegWO1tU2nFuIghaYm3oJRuyoRdTQHfcESxfsCS1bqnPamR2koncNjxm
7SpkNbCKYXi8eiVFWi2QewTxTZiz4N0zJyx1cCqF7pruv/NDpwFXLPXNO39T2YBT011f793URzaQ
W1BPprd5aG4ydN/moabTOTfGxBOUz2RIOmRTEu9bxSzAQ5meB9ZA6jN1IupTqttZhxxv6TpOF3gD
Sit1jp97bYxh9MNKmDbeQWULlDFasqx0z9swVSYwelMGLjSNLxrWlg+1zXE37tNNr0BSZCEiDZrI
iXemVpU5f7gPboowuHLoQ2O8BS3BJozCZm1AqnRpGBz7XAd4orjLzTMkB1/5MWQJElSRe/GSuDGI
DKNTkEoPtloL22s/kDcQkUnjZBkTCxAZY+cLolaJDO+Ej4ON4O/5OLW1FGJ4/oTFZCzSO9ptzFsO
vwZvqY2PHakdiJ2Z4uSXkElQLXqBuDD02ZQFNbNCiFNYx/MctKmZtDwMUs99b+H9trjOISEWsSOH
j3OQhaPeB81RQEIChY9QByBhdmzDIVQaVTfgYBOXj10qh3JpFMpcWXUZSi6oRaYfu94chbKaQsgE
6HHmrDuzlYd2yOTBAeCwDuhwcE0JHKgGXLNnJ8BnTQbQn6qThslnNp+NUKtZh4t33WRGro0cfzG3
A3Ej0FkHXknQFxc1CPs0yNQfSvxKCbT5kN1zrChavesk+7kN7ZqFaTKPt2AIWKF4nZ1txTToDsAG
aQ1S5KqLXnLselgARp5oEadNCQUH1Z5dlLWTaevZV03QEiMhWScgzlu7107h6PPcs83V5zr3uxOC
oOlJzOmcTjbh0gLlt3BG9SXiNNe3h41Su655BTzexwGwBQI1CK8GOVxERN8+ojIjL/BTgemB4cbn
6BkoXEHVb1gsDCZURu1sBR5zIrs9jZF5oUHqAj4Id8UOga6rRQ8Lal0trnPYsWxPWmzNFmPm+UEL
qsKDTBjY+arsMdN4cgnd/MIURsqUvdjXSBEjMTlVz7UijG7r3NrQKOg5AG5r3OFETTVHCQ7mx1rX
UE+IOZAZqp8tNQcHseMi1VPtoRMKN40sdZmY7XYs4gk5ETSjyAFrr3iJQh9JONXTOlIP0kbyPTVD
y39vj+IKcRe7L1DK8YLerqaTl3feJtITFYl20meWa1ssz5MXD/B4RMDa9DzprD0njo2knKKPnhqo
WuURe2qs4r1nNEU7MgiVJ+o8QNU+l/j4PZNfwjhcccWaLHLj0rVd9wVysc2Sua2PMtLE3KXgQt34
kZCXuO6g1DGV1ncZelcnGymHL5VmArGpm9omRg7LyFnnrKFAwVb+2AyBDySge0ft2I0OTGRZ0MVx
+cMArQZARwOEoYpunZmOu9MQH700odUFLALRlLKIO+ANhGi79VSN7q73K/cSYh01W5huPltc57ha
iLhw7twq+pEZog3At1MfaQtPzQhw/3fNRDVpRx/H0A75NEq+MxUYQAifR8kXyuHsEVT270cN85cu
rBcFsz/7EAF+zrsNV0mAZIqrkwHoQkDNuu35uoau0YYkECdul8F/OY1d6oD6Leci2VQ18NGTIgZw
sJY/0hG9qDvGXovThUlcAjTKUuEZaxqBghqIX1atL4HVwUOoaW7kNPk30h7LIIRG7RbAVjRVH6JG
05kZv6jHtgA1DJy0s9auC2gbbibgh/ybL5mTr238snWbHZ3UWwveCNTboeDZwZ0SRSE2IH+/u+jo
rZ+swLGCdCX1gdx9tr06xKLzwAf72k8OTM2dqn41d5l1yWIqIB6McjoPip2hdxywH5SBa+neEX/n
YitD455a9AKNsFEGsw2ZRzVDLWEj9u+Gr+Y0LXIoDfCK0oBM6dvctjrB1ZBOJezpfj5BPkbT79PM
Ro210vF7JmyH5052RFkGXpy6zpbvDpOer4ZCgqQiD1HzejVU1hYRK5D1fCiHZqXbhbN7NwMd1jT5
x5f2g7GsNMBbKxfiw1qSHvRQTw9u2KQHaqajlW5Z3Oyon7pokF5sZXa1/eRKA5/c/naKq50OzW46
2bXresZPrhA9zpESB7yLFsVMj+2dzzgiUmr1TS9TNOm33ipEyrJdIQzys014uLuOh13lLesEhMjz
6nysbOvdHIZajptOqd/GWK6r1Xw3eN7BiLOLV4v1lKbj90aDRvbgDfyCum1E0Ws+7vxhjG+0RkDs
rq70L0jG3LZKJFY5ZYM+fC9qqHE5XcEvIVZym5jDKa5i91jlPqSGQpCboPRuh6wiSGxBKh8gj1/8
cBCCgcq9eLpapKEnkiEwh9TcdBCeCguv21jYOj3VA8ICDSQUj9R0S+3gadK9dFCIexzaMoCcqvZk
VSae5eX006qa6BlkPiOYipJ0SYMoN51WfmQATaxsdcN8nZGaIWjiacZUrwuakU7EO1GAx82f9pVR
HqHe4s8ZP0roqa646v0j5f8o46e6wMqKCnKVJaQun9ezFbXI9M2RMoETapGzuk33ut7buLfhzQlf
01YiZNH86YvQSBejnsgDjfaNvKlYn11kmWuPVnGiT8DjsL3pmfhGLZqw8RuIp6rvAmUurxPSqOEM
rxPO3xQmTACXh/RDmy5Ey/uTk+sWEE7gcs6iYV1bpf/csbrc5J3kW+nz8BEChWAkggEDbSs0PKr4
hjylZ1kLVwn52fn4zrOyS751+mqbu7LcYIdpPJSyK5dlr4dzExdVu8EWalrGmWE8GLlgh9qJm4CM
sYtOL1Lo64T5RrcQGQJPneZfaLBgXgoGm6w9UnMU9R8TF5mYQJmL09LEYgj568Qm8Olh1zcLMfbO
8frCaog6UbOLcxS7t8mhqL1aIg2uXq/Dsw04BYG5BIHKpwEavfa9zXXtbwtP2+tIs+A9hufaNMMz
6gTTJYqFPYj5mCiqm9om3rNMu5CJkTCU0XFz2ImuQ9BWABIR0Iij/ITym208RKX3TuJfaFa3egBK
vDr0SRsfPeR90yUdzm3UtuIvPhaLVprxkfqatyPqEw2w92saMbMIVcWJv78aXz2ufZ8maCZsUWOO
c6RTXAhE5XGm+dDg9tZ2GwRoQZJsK3RqOYT1jtmmt8QWAxXlFgAfDYv9k+221SPisrNZgaKR2Yy8
yAyMpN5sJrrk3WxJCaZPxCBeZ6vVbF0WV4/qpCCx0ZFFz42Nw4zVKLLwhhb6fu5UGxTrA0usdgHz
Qh8W0HcIb6hlVXE9W+jEKvHmT6PYIdWbBoLQS86Sd/5gilN3UPAwD8T+nSo2cD8HODSV476KR13s
9bvX6n4tSo1Dmek6QHmlPx8lsn89uvZFf+nTUtbscyaWVjXxFaU4o9QCt0QUm2fko+qHpvU21M8l
N7eoiuYrqdKlZFYPpnGOgcRBtVRcLyC3Bs4CsztRQIYiJ+Yg5y4Kz1D/W1drqMRAC4pCcpojNs3v
Jtk6fPil8XS8gdhAg+SIosbEU6FZuHYiTrgtAveu9Vuv7wcIPrrQPpr68VuHf03AhFWdrwMgNLcX
ggF4Bsq4Mt3EEGA+CQ2TUmKyBAXM0bfLl9ZMUD/tGpCZt4243n8c7VBktSsrPPH6VkdBnSYr8IGP
EJpIENydj6590V/6rnYlz5ydhecFk4DSyGFDpbWAOk1LZM6r5VyR62XYRNMhpOqRW2rPlrAtdylt
Pi2TKqpnO7Iw2s47ZlCg8No4PgFP1a+SVLcDbWIALJUWeN3pkF4qp41OTma+2iQ6oLHBZyOp5hg8
ZqM+DOZX73eGZGNHHCQ+Q4nYNNgOStN1d9GgdTPc4tq8jpYIoMyoVxrV20rOxlLgg7ku/5VX0HRD
KF0RHeFoaIW3o6ad8GNml+1dVPTizuha4BMG9gykmrf75ER9NPrmJDVX3JnYXfy3k5Nr2NW01Xym
Nyd6AzRrwrvXtwfhsfsoLJLvow+GSSgDJ4E6wnVQo7j67ajkv/uuo9e+f7MrIdH1Ajm7dZSaPy2m
GQe6IrO60PdIcSJqRBfsx9E0ka+jukRio0deOIN0JdHrEeOeY0bGGUJIYDHCzkK9XLuZjZqQ3z3X
bjOZpaP8Gho/dZ+YK0rLMNBcBbHBnTkPY39sXkfJGODvaTb+b1879sd1knHIv2el3EPL0QwE64oH
/M6QaUTWj1qoji4enKr8BgxdcQJ/b/HABSQvdPB+r8ni6k6j+KX+5j4OP0ytxcLfATMeBAYLZwRB
XRha4HKkjrlXsT9ia9jtvcpe/GHTtoUeoJI93xZaeXFVtqFFIWARasjmOBUIGiR3jz04+I4IIHGl
UDk8/2mqlTo4FbFELGqUffEinou7PFX1NZVxGJRg+FpR81r69ckOhHFQOlV2RZu/DD2Ilcac2wsZ
eZD3S+wqW4K5DxyzWmyAts7OZHZ0QKVxdL3ut9VbH42iijRDgVPnLSTYeJZU/59GhbtN9PI7gQWY
a9nuMirNHz6YzrdXhACNvtnOZn2DHKeZ/XJ1XcnTJELfmDZDeq9B0BtihcOtGcnstmILarQFiDOk
eplsG/zQZlVsP7uSIdmQa/xU805HHKBJGm+DNYO9aQc9f+JWcmaoVH+xRGYFGsp1brUSF29vufaS
BpK1X3n8BRydACiYQMNnrBhvXQhzBzTeQBBZJJn/2IzYBwmf/y8zV0MsXxCA8Fzj0fTlDgTb7LYu
uwX0AvQzoCTYc7XIjAeeV9dbGrXjwrqNBZKZUdX6i5FsgK4bD9AUuNRNBZe3aaTV6ee5j6ZBOePr
NGRC03h2bKFof0Wfok2rn06el/d9DxLjsnZQA2Po8dec6/PXACCuvsA+IznHbumDAAvlA/QpQL6w
dIHb/mpqyGnYY2ztsKjE4kXrfv3b1Mwu4q+g4vk8tWf43inP+Lcq5xct9+uvpm9NgW6F4qz7nntX
ZM4t9fMe0ueRGMBIntj8a5SBtLvNwO1UQ1EaVWkuckroN9nw6l57lXdnZNZtlTX8a4w99RrV22xp
VtqJ7qCT1dr7GFnUYH7EU3lShZQ+0Lv9fJP1JtPee1MIBVxVqER2rG2ioLVw1ussIsyqoDOg1wRo
xfB+hlRk62iwwSsuUlQKgY4dHL04SlKuGK66/jZSR38b/R/soKDqlw+WxrBgU5VMCGKrfRHgT1R8
hC+1vvOsZBGDkL9d+GI8pabLb2gQ1PMVWJTybke1S1Ves7WHgs3VdSYRD4DNqKKot5nmEidV+gQm
utPERLHCAmPYdE4KuT0r9R+NHKswsM/E/xiOtwAwF18Xh05snHDnezlGVmBHVfIga29YeTIBjXkl
zV3hSWCokzG7QdrZRA63/zzTJGIRBZpo5pkcV2uCSXxjndfdgcAl2sZ95G/1AptfM/PBGYU67x+W
vaG6OwkWwaDX+1dTvav8LS6afzW9zjoqU13a6TzraPnXWSuG/C6Z5sDTbPJ4xDnaYsPVFYeqlG2N
wuGHEAp8R08KXBvqAnc17IlNsFqdgErCT8YQiVD9rLfDNQAgxYYuZKPQNp/cqT/zsOFHFcvdCOa7
GyR4EczK2/Rn/jMZ0u4nr402sLBSvx9tFE5HgBjtncGszxqQ7kvob1pfbGiQywwCSfhvHQTIzL/m
OkNOswI/WsNUeYBX55sGW577wtXBuaX7yc8I9YD+1P4cQCOI6jJEF2n+srbHPStFfeZuDCJ3NT84
xzcOouQxL8H536FyL4TuT2Bo3s4rBXtxEsh0YMsSPrU9/rb25LiXAaor6zZMO2xyIpT8Apq/42bC
jm3BpnXFUUgVdz3AMdCQfzQY0qpG5ujfhcdOPGGozMmdd6epG998QeD+9TSQInDm0+hd8/404Px1
l3bbj2szacEo7MWgWlSosSuIbD5SfYQpoyYZd2mOIjAFNqM+erEqrPx838vOdeItwdoLOH/reuu2
S81tUhv8MePAVrMxeSlDFKeDPh7ESX4Wn8Y2i5YUGVGenpuO7zzLOGkep6a6tSpZn6K2RGw6dcuj
IYanOCpRFG+BC3lpmGDZRskf2h1vD4l0QcVRdu0daAxK7Nnlq3GL9MkSRBbgaEX9O3Z0AjJxihg0
tFfpYNm3MzoEITFsyJzXFlTbqEXYxKgsHCRtYu/QWYOz7HynP4+lL3bc7yX4BBp2g8BxufSsynlm
xvTFYUqXq9kAS+r+5CYHT/pY10+h47161+Bd3KF+Rm598ErP3pbDpgeJO9Bg9tiGRcYdQxb7Rirq
aDrSgQDeh954V5Jy+bXvzTZSy9hEvdAcHbd2roZaDTcHKrSBUKTKL/QAghprSjAYrcSKTw1bYgSP
MOUW9BZMGqKxFMtL42/bvImWxIMKwiN/2yd9tDQlGB7afnod1T82afSTLzVH5Ut0pJGJUIY0qxFa
gHgHNUK1q3YssUKbiYTnYyIhvnIMY6XdBrz0xhUNENkwjVKzbdt0XY/AiUW8ry/ClbsmSdkjz1P9
1Gj2xi7zg1Fx+0mMmXP0UEIaVJLZT3GsG9vUgEAujYKdtV11dTxufPznnpiNyiW/KLvZV9bRQ++3
xS3ZQpKg9FP3EVgz9+Ihuk4u1/nJ6Do/nc6ByjpqpOS4oVHNrzB/ZY7byE1v8GU3h9Fp7UOT29ba
9nX7MvkoCRtqO/2KLeBDC8JcPHDLANk/7ReUzVBnaXRfIN1lKaxIdZHe8H+0fUl33LjS5V95562b
pzkPffrrRc6jUsq0bEsbHtmuIjiAAwCOv74vg7Ioq1z1vV70hodARIBUKpMEAjfuTbY8jsWRYfX8
bhxdQXUtVeL9OAG4pRQwRK/lgT7A2RvGnQEMtIkHqVvb+hJoKli7Mm+31OxaQKVT1IpfMNnPPsf6
d+r+26AgYNZVqQb5TmT1pF26m5KBoBeFosGTyZLmKLgTPpidCh8GZxUHefNAPUGKXzEoX/BQRq6P
uhKsZCHxYLVLcifDPOw8jiqjZ/ttaOqHoLqlfOB5x8HiTA1bOWC7rBz+cIFaAYFmc0ktxW9m0vFP
oL9qFg7L2VG1Af/EbB17e65ZrsnqZXw4jZGlMYAZA6/wD5F61LKjWzXpYlqJgrFY3VJAVVa6k2Rb
mkbZmUzvoxS8yJaL9AsmUdC7d/x0sg4F1LWkBknJUWpikryuI2XtwDL0dVaRiIU7fAt9yDxgdQqc
a5/cE4HDW4uKslApOtkoF/HWItubZ51AlibNfQ0LGV+soCSa3mVZAm3Mtkg2NnYIHsHr/Uw1CODS
3IH62H8i10Sp9C4fXVkaJxvOWv/IdbfcewMUBAjSV4nwATKr0eMA465FwmSTsjL4yqxkRQ6ok0lX
Zckd0KfH7oUiCUaIWdMUabxF4s0JlQst/gN0ThDzUnXlY98fEmWGjtcIXoxld25nU5yX5hpPBQfM
ekKs/HFZSQdaTE4lRNDcejB6FJqQgdaWAd5hoInoK+TqbHnSURK7MTSbLZuqbNm6H9tQf/7Hdpo1
n6PauFmAW36B6G+7xRaMuUZNU/klhLrXElhX40BWyChcCtXWD6gQBSTRbpbUnaZ6fq5R5ragoEav
223cF+aarDSGDjppFL3gClWUXngy5MtOA2Zfx3xpA85Z6wjeHv9Y1hW23/NCuyrRYh1Ve85LFZlb
Z9SfZGUDPmPseQFaHS39OLOvFG5wZR2rEmImPfDLU3ikZIhaGN/+DDzgqbY1CCvqSb6dPnL69F//
EcC8TSbMZmJwR03VMh6EdFfTMnxakvPEyg62xVbg5MbanJblr8t0WrjTcjzp6uzgedGq1FEIOP2s
OhTrboeRuKXvOej1ClZMSPGoxWtcDtAXHI0EF88bO8PN5N3xQwAhzVM/Ts/SdnYDlgPkQHrMfef9
JciNrXxFQ9JV3gJoHH0MkBBFmK7iFcnNrSCH5vMoGctr+a0eou9EVdF3UPQKHQMLW1OXx7CLg6kS
GlvAiV1qIwjTXs+BUCj5TpXSFJiVrHmg+mroOC3eSdGw9HNluNpuemTMUjMNDJIMCZKqnRBfbA4W
mcq1tBumA/1ay1l/djmY+BiSdbuqtPiliDwUngQWZqBDkkM/s05+oMRomQoHa5xCDWAWrqyX3400
9Jk9ygK9jgSCaQMTbu+bPvjI/UesCI91AQye1PpvfW5ZYG7whlvm1QlQJEqe3CDPQRPmBptGsPTq
anq+xOTRfs4H7eC6IISRCA/yepjCIa023Mwajyojt17Dk7JqFv6gg18BgLSrP44xaJr9LGr/EJog
hoH27TQG01wLf9Bfx6BboHCRO+/CPRva1G+3UCTsafpOFgU4i5LsonmRc0jdRF5EV8uLGg8sT6Z+
6io6q1gOSIRsyx7Erm3CtK1CVcgn7vts76K2bElNlDM2oHpS4G+z+CfqCjwJhbs6vIvHLgqngciY
B2n8MVxv5Rbv3ddfYBH5E+UGTYKR2kf5WpznC5rqzn0dAEeLaWpMPvroM9E9olZP3we8+mmPVJFB
ftg7+llbrxLkN56iTOcLX2+Ni6vhS5606on6oQhTrbEvhTUPN8snrbzLBod/zbRGHZLaQHXJ2D1H
A68K5BKiqd82Y7FOs37dsJCvZpLNmT2T23249Qfvu2dbClIYIy1nFEskmgZhf4k1vd1RH8VOPhTC
Qvs7jdLFurXo057vwKDJbqHKDkxCoJdakMiLd53ltEtqUmlypeIDai6cu6oW+NOCuNwEjVsD/B6i
+NOqnQdItf/wwLL2XEpsAYBSND1rles8BE3xo42K/jkKw3rZjv1xmLnUT/6JAWAmiCeaHMUpVeEe
aK+d9tOpq3G9Q0xlrH2iJo+p+RYwFb2+Nafd+dIGp+9UM9SApGojPBc1Q6DN/ZYgMwmSKifRt2Oz
6sGTkog407fSF1OzRRGegeVso6/DDFstHF+9oxIVdJ4LycGAB8D+1NmGPjrJbvmBc5S2xf/anoMq
DjVXcqeDh51tZTuRoWGfBZwHQ4ANt4z5hbwJPNc3igOE9laY9VpP1aBiSI4LwtEQUo1WhhqQhTVk
+m72jlXe3o0DUNjcH5o/B5gNUpO3Vo/7PdeqEw9KCDiMc0S/YXtouMb3NEUE6BTMpW1v78gImiKo
n+Eli/JIBER1IS6qLE/TXHMMdWIjvp+mk2NoAcn6VZ2GNejBMu+Yg7P5GEKrbmMUkXuFtHq01Fx/
eMmSfJdxvLKzxt/m4I946Ri4DAZf86+B1zWbvPLdYwXdhmOg8Q6Au5/hcS10Cgf4WxwdPeMb5Zlf
VBlqtxzFk3uda9km9Fj8DFKDBcEZkqjvVlaaRadIJha0BSMgUkacg5k7U2SP6pUp0jMH9uwic1ip
ovuqZSUU65DjgGpAuo0b0XwxywxPYquuz9TUyhf8yrRHrEOdi2njx+HbzRf8Dc4OJe5YCIwxWhJE
qz7JowNZZR/fG0GKWVLD009dgQ3c0avvGTv1FaYu1MQe5+t1X4dkeA28Xbf3nvNEe72uUerPFPPh
uizFdQ0H6e4ozdYslfpnN2F/5k5fQ/TA0ZFVzzduOCaBYzt6LJACpW6GHP99Xg43amG5BtRxbziT
0VU9XoeiNlfTENkwrBtodG+nUK2poS+VdQdqjpfDJ/n/crlqMF8vR9ccsITbxX3IkDwY2AX0iU91
7o/VBoAarZoEoJEcbyno9pVtuKpr1u70RI8Wk90KuvZOKzdxYroR2JSiJzBpjdiCsg5XVaTlq8YT
zkrrJLcX2LKvT65W7vNcf25sz78Vwsn2TakMvL9TsI8DOEOp8r6DsLBylH4HZJ048zjXpiR7knmL
RFrRs1c03tr30hwU16W8oqgVy6hxM6GwTfyvmt+OTQ5OgHXc//exe7cSZxWKd/ctc6w3UQn8et+o
WpZXH4RU031n+Ey6Xz+TSAv4SUZRj1rnag19y+4BhTTmp0IhU6g5bXxq/cr4hByzWjmOMLFusAyU
7RrGFkkXtSKr3evslLugtaHYJK7aB12pNRkpYB58HG0enIxiCOWqq11zSwFdhlrksKgxOOBEp7Yf
06pWxrZK5BoKs3L2JAU/l00lblJL+7uUAfoYcid6ChRGiswA6ihjs19gyqV9hRi8wlZCI1bUO+Tg
p2Uyb+6gylffqtY+UT9dwyxqlGz/cg3Wu93Ha1gVFwe6FbA1GWVxi0GMRMQ2UVEPuzIWMaoyBmTL
Rik/YswJMUOcDNRHByrxBqbvvWGu8Z4N/zyUBBRuoQSozMunjrvhxjf18M6wBywWOYQi0iq8owP1
01nvx8+V6QAfPxrnfhFl3TrwVb+c+8ilAInjSQfWgvp15QLa9DZSaTNUeLRSW2pA6208cCBCEKfa
Gh62+AbQ5X2K3NJbmga2kMiolUrfD23EltTs7ai96nhyNZ1K8cOpJJStWesdydoEtQC3SsHXYHWl
in7jnBTdoz623q5VhIW4py5tfNl5oGScrhVjBjddi6xv16LBgNH2V6+TUUu4+SZPGAhDekuc/Lbk
y4wjL1iOfSUUcNWCLL1evfpQk8yzN/WJwGFH2/cWM+LQbzRwDrL4bkYcQqh+6pqmSuFPD5pbkdvY
5Y9B8zgJ8IeetNjURa5v41CLXH/tehsL2unxnQbYz0I3cnNfYL1zas3h87wNp/PSXKSRZeyprwki
e/YYYqtcYQYA1oF4AKYnzGJwUQ3DbuAdVo5jiw4QaYFQFH6Wm8ADRNTz4gRIJvgJLRTHYihcpMFH
M4+w8+yIBjibORrFErswLuSxMEqgbWwD3DofxmF6GGz8HA82IrjQmbYC9h3iP9JDtkcNYC8awUhv
/SVo5/d+77z2ewxvjtE/H/vJnwgxHPSD5CKFoI346E/9nZUXWF5UDzXzbfAHY8er1UuUUThCPGMP
+KiXg/wTxbxbW1jtiyvybOkyFl8Lic0pWSBBMmh2eW7dWq6t1GseseKCJmwaWH+k5WqKzvofwLF0
n223ClZ+GKBAA0iG/XxJLanfXbKrE/mnh0uab5d0LBlfMW/k2wRvzemSYOyTwNwF+j7VMIeD1oBc
SjNmnxIU6q8aECM88BwvDk2LwDwoS4X8X6ZOlWZn+7QqywPoq7OjTHW5k0Uozp0WWxvMhJ2Lnati
3WJP94oVB9RMQ714FKzQkAtzq69+mUNmHE+wl05jN15jw8xGOX8E7CWDCORBltDXW6AAYBHnLY8W
ZpscLZ8N36NOPod9nz3nhdksgELWPv8HN13bnpxuOgm7v9x0nPvmxnTk600bjgSSCZjF3950kTr9
Xd3h9WMlyDUIbIGfor7prqBhe6Lv3dyfKa+7BjJ+ou/R3E/+oCKf+nuF1DiN8+ZP39PYBdxmHn/0
p/4P/u3P/nn8RAc2QoH+B8wQwZ/Q9BHHIO5t3CIyw7HhP7ZRaF/bjNvXMMZbvrcsdzs1IxU/lBFk
0kfjFFSAbyIGUS4ETbIYNaRatAE0t79MLoL5ux4MNCjoUCBo+5sLvob+5mK9ElCYxM3RxVxPCLDG
nMDBUqwhadDfBh/6ZlxDbnJs0QEqewIJRxYcqGkGrrXTfafCXj9cqqoabq69g/Sndy3GhjaE/lKz
gDghG0TdGcpy5J9NBH6Lpdvq57Zw+zuKtoH93MS9U6zJF3nP4KJM8N2oWlZgWMKV89z2P145JrMD
hrbxqjRSA+XnZRE81KIP9hGqpL+GA4hPwyL/XICB/mzlsb8g2gw9UyBqLJJwT6QaotLeuYEIwV9Q
f/+r2zhaGSXFu9HIDZKQzcoDb9MeOy0fL4o/73U0cgtGN7qHX++NLuozgZmkge0lqMZgi7zv40tZ
2/W5s4FVp13TPqo2aSu0L2GLJxl4IMWuySz/UXATWARsq7agxPoYSUu3DprdFAkGSL61Ff9vIt0G
gHvakO2h6k2RQ4NHWf52TWBJzuRAyHi620QJbLkzTITqBnngctxuM+ysPCc1cr+0+zY3CQAX4k89
k7MMm1fnOTYyYaVYcp5jaWSyzs5knZv/aWwaVaOe90iYEkN1t6psJN+wL74jcjuAGuNVIDNvR9sj
ZJ2bQxG8d55jNTBNHF7xV9KTX1PzuwNeT2SzvSE9AWUCuNnbwZstRogZC5ynrimEvDNozx+CUgfp
la5tOjM09mBMCu4xNdIWbm4mPwb7FvaDDlhX4i5jgCzudBMLe54pa93GOWQfq+DcQGjiB0rXXuy+
TB9B6IaJjTCNfWWr4D4fxyIPjOXVsfFuLAsrqkOP7VgI2/tIibfVZ507XwhbInVjb9RSPdkB61eg
+bbPJliZjr+6EkVTBde+VNnRVAW2bqWL2ltVgEm1yk2o4GLmMoyTFjrzajasHei7TBMcMtCUhqwc
uApba80ThAMwSGYD7NCLlB+FCyjDesq+5tzDE3xhATZwKjxsk4LCrz3WI4FgwXvnYIqkWGhjWi8R
SXwjF+yevrq0DR4M9lRb2QtUEbehibI1FJ/FR8MW54l0k1YFb320oPjgRx4FKqK3E1WU6UMHONV9
oX9LfMPbJ46+c7gPFEMjyqttme5mMANxlKjyO7WhQN08wxLJRxnaQgCq/i0o0o0/IgrqPj94TNOe
KbyxtOKq+sDdpAP+8wkHdpfCoyBUU7gG/uiloaXRxAZg166zaVRnLCck+tyeoOhFUriTnbDoIHH9
lMok20ej3kQ36rh3fo3nG9aqa+hudud3BrKOh9jpsSFXBc4qLNRSJhIbXa5MjmEtg3sNe5TV1vYF
W/77X//z//zv793/iv4o7gtU0hX5v/Ka3xcxCEv/69+29+9/lVP3/sd//duHLrPvA2AVOKbjgTnP
cGH//nKN8wjexv/gblC4JrcDlEw9gpxO3gEEYD0Wg/FMLa1roHTQdngWdp695BXoj+lLkAdKXJDK
2PpmjY1YZHDsZRxiZ4y+NrHys01iZKh1tvPPcmROLHw3WKZWxE+u1LTr2J9BGn7qByV8NveTf2lp
7/1TIwLLMfHSDBZSIPgIzZ3NNbXlaWw8Wq11IzaSPMceS9bL7hZIoGnIA8gk/dM/f26Gr1sfPjkw
JruYzru6aTmeblsfPrkMVb9Q9QAdrP3AUCwNrqcwb7W9HJCsTlHvv1dtmRw1Gcm93UYoHhz7fneW
tv0/WOeI2Q/Mf4Yx1MgSAk+CHd5m7VgiGMlsCutPC1DRRTs9qqNhHzFovvEm05f4P4N9pi+Qh8ai
CjyBo6WBItgy4gE63QpMRJyJ+x7PA5Sxt9axoyJv0yy2CiSfK2qCfQ10OL2zphaVejscosF55L4P
6LkUK0D0k3VrlM6xt/pd0wTFV2xXJkDRtNUBVNX8IXCho8eSgX//1YM7GZjKsmZP36dc96ON54cR
dJ5HgV2pjSu5+PrBSN9M6vvpQE+tQovZFE02OrAKiKo8vk5f5r8ZnqL/8dr/7dCyNF/vHAs6tayR
8t+IkQabuLBRtF5uNWjCLqbmm8FMqwJYOfVqnSPIMFttFMkuqEkDZEMarntbBzDDarqLxp/rfhjL
NA0BjHCKcnKF53lWR/Y9HWKl8E9KZL+e+/oYRfdJhToNipJjqBhHc+0nD2pI2FcY499Gm/pAMi5W
LMD3ACqqkNirgmpkIx1L2uNLDmUkH8WXNbIBFodYH1mDOn4B67O3532dYc6pteoYDu3dZAV3PjQC
8FVcT+2WTWOhqhBjyRC6ONjW+jlWEWjPaQ1RuSj6FDgCsjFdKvjabWMb+wO+d695rXdfi9Eja/FT
rcB3vvBtqCT0lr2amuTIcmDMRVWfsWiGS+MDrVnUYb2b2qnI+HpggbXyaQjU7cf7TA7QLBgvQ4dw
HLYjndymvUjA2Io0cx6gShDfhULtMmA4H6jLaXN+ED5+sNQkQ4D0/gaci6AoG6PowJhXr3SzjDZR
xtNkmY3a3Jrmh+/Gspvyvs3FcJqH8uuThBwdoM0/Lx9JtZuHLZL29fLzLX24PBno8olMog3Fxkhn
rwbLB5e+h08HtXRIWltj4adl5kc9r7uzU5neg931/n2oX6jhjT1gdAyOlWY+Tu5eWXnboU3zJbcq
74H86taCwHAF7mU7rOpkGVVhN12CRiAfPeFHCDS+XgZMVP69W91PY75dgtwr7i4i27GREsNvzoyz
5hBxzH7efmjIBkJZ882AqnGQ91MzcfJjHTRgUK0Giy8UOAMPrXWweKJdWao7N2jSS8jbBg7q6dCs
ITq/F0PlLqhJB/inYMO+tjJy3/nrI8DC8c1gz1GhjqmVy8XSgdTUODYF0tiul7k78pVvY6eA+4ul
VR9a3mhXXqeg/MiaE3I03RlZv+5cOlAUDqXAOhVMhiiCGEUvyEJnQZrwJQrRinVsZDCThaLJHGlh
NplDFJi9RrMOpWaFC6lDC38NJNCsZh3EQILSITbZax8fGcfT8UB9woaWAbl0yN+86yMXcp5j5/Hq
QVqrOfbDeDTUfF3yIxdVBOWdHKwNj1NUiKleAHPZiRuLCv1kD+oJ8nfiRl29PfyAoBQDahhdvo9P
OYh8viQjHaCbsUJWtr13wlTcUKRmr904xSbBOGLo2dlDY+b438NIXUOLqjTHqsSOhgRf2HBK+/6J
jNQFvtgfnnTYiYI0R71eMwNiqhx1OlZl6NaryhjyNb2gQJThbZy6B7/IOBGnV1Fc2ktZevo9vbVK
23Unj+mlyHVzaUOB5Z4CZuv8Vhxqa4pXBp61eq2DW9uRF3CVguO/8c8FlCdQwRel6tL11dQnRwyG
niJNgeW+WEiV+eepSZa32Hd+H2Lr+kcqkgAyCpUeZ2uwc9knrcpB3IpvCn0NOr2ZugQR0KM2yj5F
SXkuqUkBc5Oc0wFkaeO3SqH0mwnPucYe+C8tlO4skR089VgffanLwN/bqZatnLFIr24DDmmYwdtT
83cBiSYA/nK9Zake5h/O/POgvjhyjJPPHj5098L6HDITeL4ua1ZFagP8WBXqSgc18B0o1U283NCF
4oD+yCr2LVEVoAp/F2AOgXFn1d73AFQkmPk0KOkJmnxt2z5/rhJzCfIU/p1jObfMc1AEk4dK8OIV
+HyfkxJaHszeBKUWY3nX5pW8b0f9DFvUycIBFu1YjGoZRlrlkDpN5coZOWZDyOHeJ3a49sYWdc0B
FF+ZbrxmeuGm51TTrfRMRcV5P7RQWLBR9zqeYTEQTGfR29lsnc9QFBDsY69qD7NfbsofvO/wz3O0
9pxgIZwguT61qOsdWnG06uCF2LusLI6qanao2tK+WuULZSWLoB02SHnlOzV2Fzaq0Kz6Xi8MkK+A
bXzlq5xf6azVmuzvz/7ZD0DP19hhPAP7abQawkdaTMm2LVZhJ7odKLisx7k5W1E30u0aab5aqTlb
fxdroYjgk2tPX0LH8L5hd8JBeQ3eAO+e+/R9Ha2QRYeW02iVoqq2gTmKrTRWtjN7ZMGZFaN2xyrN
M2gavta8aT7RQTBQDwK0QY2I2y9hHgJYOdq9qspXpeIgVh6b81jUpLEKkX31axcVRRjHGscxAR7f
1kD0edWm5uCQssLk4OlAP2A7Ir2aup9cGVPY1+g1bPIXeZsuk1b7jpRkeiRrEADsqdzt7P+fjlGX
hrNhnneu8CEhqTLukyXj3hkdAEWTp4a34pC76Wru/50b9VWiR32NgRR5JdxH+pXQAdtHd22VGCDr
xK9HRRFYaHwwl1MT+/H1+Vf/OGZ39egPWEZyBpHFnUt5Lh5zfdN4oCMfE2CoMkjLL9Sn0AeBaFDj
BOmTdAzrrg29eBcnmdq3Pge7XIVa9U5X/ldD68FIV4R/GDnY2A2teAFgHksDTNAf+jFoKJXaIymS
X9QY1IxBvq9fsrzcun1QXdSYbfQUpP8K+ag42FV/NuSYtPzZgJ46NYzR7WfjlxhktCS2j7orptPZ
nUqrO7xphjt6nDTYE1qrMcFNH1IUsfaMIsFHMtIT6u/8UcqA53Ur23Upxj2wEAlgujw1dWU4S7pp
amYmUrWzNf+1SdbZ+Xex9GGYPAFeY4y1gFE9g3c73VQ6q4+llVZrM2+i58xApQeReAGsvjSDzrl8
8Iig7xRbAixhmbwj6KCH5ckZiiivIl8AKHpnkPRsyUgIQ/LopbM1dTZAZKP+In1IeGNqjtzgKDcM
LjXIowX6VyXTYB1BGfXQDZ1/jyJJsO2NK2wng/ZEG7gLr+Nm9a3A7t46dK3wmOCLBuaR8ZQOqqnD
o8FBBjj3MaVbaxGi9IkMjEIi72fI7Jg76X0MZPoeWr63KbftF/VlQMto4mptW06+huws22kcKzFC
e86H3xnscZLCQHDwLmLGh6I8M1gOpD8nVAlyeN6dsOhOjobGgMNA8e0DIBPlskMd9bNtgV+QcLBd
AjS6gGpW5BuLKh2cmw6V8w1/C4+AjN6GkH96AFTtNVwlkD0Dkcq9Y4Bex8GHvLRGRaLBSFeWLzXU
lTogqaqFOkLX1Lv86hF5XX8/3WltxumlxBedoSbrS86iEBR9kPfGZLD8oru2t27xWW3J2mFzGpoj
RXgiq+Xmq55J8SnpUwf3Js9p4oPX720MaqpYgziG9EpUdLvDMYoAWSpcwcAMrg2XpMkY1nKVfolS
7JvRGVkjSKFf6KwokCrObV05DlgK0q9cFvs20pgAwaOh3DXp4ei+F59jz560uamL9HeyoqmwYdvo
74TnhJUlZwuyOeSWuDX2yRpLd7eAcHwmXGjVAwduBIZ2GEZlG4DnqmMNbtIFXlfIMQYjGJ3MWW73
95CWHdkmncGO1mBZBhcHpsaPGcAX0xn16Y3vPtJZMFpnv9kqXRcc7ty1q2+d5n+iZwCEStimSetq
Qw8MFuHhNDdnq1XaGfZCsb0BJkB891TfHfCrtC+taUvs+w3Rj3BBcs5cQXiMo7jx4gILduhVJjd1
0ZafG8iFk4ee9Dc7U/VnGgplPN0BYnj2xYkhSZoYuvbdWM5DWX0VXFo/aJdYxqVL29UA4XQTMCJ5
OluQkIVtGasi8/MXw4iCZa3J5OKZwAuTby1aIKVCaABQbQqS66u0zm0s7vCuUHl5yFPsMFA5syuN
eBeCTnlJKIupDseEmlbCnEmtgfkKL5MGBUYzNgMl8YdYB5sWdTnByJvZAgpAQ85j1BAnBIKyRFKp
AO4YVfgPZlvkB2WzbBMzJ/mqR/E+iRL+HfTnA7bWzeoB5BH8APqVDNpGfYHtT3y5Rc8gJpcNf8gU
XAjNKIQSjsonfHCQ45FGv/Zi8SUwhhgKjXiRtRUTZxQcojm+5DppVWfsFsQL+o/PVnrRkZViyYrP
CBxnKXDyTA9QVdYx8xGU5+26ZgaEAlGfeJS8l8DU9uFN9Ua9ADWT90OZBxdPhD8oCIJixqPnu+16
qIRz6rWqPQJiKjcWVKL2AeaCKx3ITyoKNAbIiyYoZ5lbGVpUEhj73UfbW1zemd0i8cBXyOoB05Xx
U/ShHaCVMniyQyXWwmbyyHjoXWaPPMSCqWYQgo+tFAsHX2CKWAYl9v9GfZY86qBJ6aEcSNrhA54S
3+EELp0c/34HcWc9YeFD28vJP7c89L/5C4wTGoAW9x4LVl6M9Af9GR7kFI5gv3Cnv1FL4/dN5EeK
YwGkl02/0z7L1ArzHHlJhwhlAuOZUfjp0gssCagN0LALIRZg3hQrPUrcl66+0jsylrG5jELW3NkM
S/TM14c3h5AZ2ffI5Z8LS3YghMj1kF+DqCqW/kgD2tauu3Vj1wBas/bv8pH5k7FBfbW59UD/1sTz
sPCyrRcK6rroNahD9dK7IGQ/65FwAvIU9roMh+ic2kGEtS7O6MALLpeCV+ZqNjCjjNsFtQsQ4G2n
N3gUgHXR6cXJrHxxojM6BLwIl4kyreUHQwMyHbWYHVGQJE7am7frY1fX5xDoq5s6uLN6o1nS5wZR
+4VbavylNzV3hcpAfpo9aG4xeii35S955qJYF6jE/8Cj6jgkGhs/X4WSHf2YBwfiA0GlsGYu2lq5
m4obxoI6baIzgoDOwdPw7iAiI+IMmShEdI79gtE58pxd6Q7yS+lJwLlyz3kAPbzapdhW2hmWYT3U
WeQvbM6cH6esg+JPFJV/cdRbDnVGB1URJB1ro6R3nfSYayV4LzsHatulZkESGcqyL23iWbvGRZX9
DGuzLODa89BGhnToa4YkD+Af1CaIGzk6o4/hYbt04jQNjfaFCulAWmGAtld3AdYe1MhFjKca1dlN
JXaoqF5DDpodCMJHSEAd6tSLzPQBQGwV/s0z4I/Oeuqc8IEGEgBRAVUwstTgdd62nfxzEjsh3ZMC
eRNoW0TRxkpRO75VFna9tczV1n6aYbMI5SfFJJNCFvIk1ZTBMMD9Z72ARBGqUrHvbcO21O9DV7rL
BmXnX6tiuNK2rMS6rzWgcxJpFbjGXS9/HADHBeFNZJyxwEk+hvddNoUzM3L+7AC3Bx5HW74W4fJi
cJZ6EVdLpN/E60Qa3CsVgB5KTDPpcMxaUh/5TPqHFFN5nnhX3jP30Qw86KMvkRcPO21kyELFYA+Z
E1QXEhcW9RGTFp3NLnixTAxbLuu11QCKgm2Gmejaq8LgPoq1co2p/OsZ+BCD+2S0FnoZArDwi98H
K7bV/uKnK91dNVKt/Mi015PKLv1GHEOok521Ky9wLG/VBZ19h+KbCtSwvr2eeHZUj2LN0aeWPT8n
IV9SQSzXNBf3CMI+gnUUY1ND/mIjxkQGvi3uWphBuyEMCGAvAOT9av0QS8208bIbRMFBUxBDIyxT
V8915DVAXm9TD361oiYZ8i74noaWOFLX0IPacAxitUKabw4gX9fx2SEM3ZuuBWDz0EIGpodRzrID
Ocs/taHlBiqfwVxi19jCdgNqw2o70y957x/6Ih9LleviUA+BjdJtFJoVaWssO+51u6lwzKrr3YdQ
PQ0Pc93ZGN40ULEEEuWWOVl6NByUFgsfO6IVBDIVfk+gaohqeahN8cj9KLgAowl42Xjm4r22GqDq
sv5gQCHgX+JFXT7S4ImEYnwdgzwiBfgPCZ70Ks1O+5T2oCmJGcp1lInfIs+ggzESbRq5joQCJORO
lo11C2qq3KmWRTPTq8cy7ZPXtsEudwxz03r4GY6RhJgyIrCtVIhuWkgSE7bLQRULJNW6xyRlxrmM
QigrjZiv1k/tyY2wXW9u+PffKuAkMNeAlBOS91GGFdsChSLZtcggd9tlV1ogiMQK13nWgyNrWhF4
R2M0TssFFYTrupY/jYg02yy7UrXZHEkD0SHwjk7HY2xcRxBarp8h0jUcZ/oOYvgonAg6DsTf8dOD
KDwmEWk3tZ5fJ0mWG4bgnC7+IGLbpnpUji1/dALy7p6d9reEVcMmRbn4EYve5Ox2GioYSif+HFfZ
FFNZjzwt1I/U5f3CD9v+xh5yCBRWR+A7QLEc5NbaMyCz23p4AaVI0h/MiO+mcm7uiPZ8y2Q4HDuO
SpAhzeTn1Gwm6JHfeftw4OLJMnxAj2RnnXlm/K2rlDcTQsffbDvFUgIK6be86eydTC2xzaHo+whV
AqixgYF39khs3u0g/vF/qfuy5caRbMlfaat31CAARAAwu33NJrBxE0ltmZJeYEqlCvu+43fmaR7m
K/rHxqHMriRBjlDVb1NmXV2ZlBiIQCwn/Phxz2jZmx80mA+TjCFUifXr7z7EHQOtIRYJ+9785bXx
8XPoRG92sMfjmRxkO2SdALBEcNj6sAdisX76x49PR08DCXeySMyTtJ//cAkY4OR3f/1w2EH0PgFZ
1HZ9L5adj6/+8dMty+U/fv05V8QCpth+/yh4m4l+BWIE7kYf/4G/8VIFf/PnR/iP4N9/A+tA/SEP
stcc/gZ7T8wMMUqrnT/AAkhUy2yP9T+do1VulKNe7rKAINX48fH0d5Oy3o8fnuzBCK98Ldx/cFj+
xxn5p/ogA71l+VBCi7Oe/fG/b4K3MquyP+r/mn7tzx87/6X/dt6z/WvyXs1/6Ox38NU/mzZf69ez
P1hpHdTDbfNeDnfvVRPX/2YoTT/5Vz/8x/vHtzwM+fs/f3vLmrSevs0LsvS3nx9NjCZJBk/nTwbU
9P0/P5w68M/f7v/1v7J/PGTJv/73P17T7/84lv/6P+lbkL9ffMX7a1X/8zf1dwVGooquSpKkiyJk
gX/7R/c+fcLwCW6vsOgVNaJCjg2fgOJQ+2BN/Y4qU13SdZVSSMB/MIMqlADhI0H8XSSypur4hxJN
1hUQsv49GD/pWj9e0XX6FqFnJCSqMlHEg6kKm1okojR9fkLfaoI8VRP1uTbFzhy/Q4VJtkGfTDb1
qjAF6SE4imbphM7JkF0jjU3Upl+ksZ+twrlCVqisgwaFvp+2igt2TXr2nI/Nym19jqOXQ9GHC/J7
Vj3E0becyBsYWVu9yIyo/9ZEqV1Bww4n+R4QHR+qCiUdB9VDrvtVVktjEj5r5VUh1S8qHDSmi3VB
JdCCUI8At04knpuut4ueGUPdAxR7aAtQM3s7gcJ0OyomVB1tWU9vUyavabOuvdvee0elkpHDT+Hz
vpNz2pcq6aqoQ69LFSVJlDE5ps9PRhxY4GTPVULvETyz9lYbAqPo7yhkzXA/MhvIwYaNyiG1xZm+
kUHf1HPV+vwZzjl7Px8BhfaYgZh/cII/fwQmVWPQSuVESYCmQmDEfQpBdIQQ+o0OVe7PG/tgAP56
2ZetzXhuqQQ3bJWUXHEIYD74AnH43ZstVzhseaWMQy334Ec8+jbcLbR8OdREnWYYEwlgVkJnQw0q
qFgGfcNbWJpDjRxsr4bXJDATrz3WyYa1FU9bB6mFdei/6f4fpG/Mzx9BUs5m+tT580eYPj95212b
yAHQcN4ZAHc26XqwaGt0N8GqcYgZbFCZY7ZWyfiwC7e1JZrxanwP7rW//cLxFJqiYcNgBK999sKJ
UCJ7nkPMTK043DiRXjWFcQOtTCA5r5/3GN94rcsnjc3edwl18bGoGo70+n1Y+SsxFfdRTrY0VrAU
n+DufVOlolkkveUSyWQ+5ZAnMlj/KEOQlwxfRdCZfAAcCS6ZmRabKUpdI/nBb2+gv2Vp4WiVGvQ+
2m+aEKAS07egFmEVFAabbmgmmb9Ws2eoTUJGae+qMFxG/CoVWwlSIJCHk91XBiooqW9TVH0HNTI8
areJOqQ4EuIU8JZLytyGBb0BT1RTRLGlFnRGS3CtiKnTQzJiBA0PEpZcy8Fkk3eJH23gl2srcJF3
9X7Fov5R6sEyHiNLF4ilqjlOMCApUroifgCxHwadQuQtdORAW15KgKdD3RKU71XzPqQRl1LpTs9a
rkOHuYj6Y6qi4h272pi2nFBh1Qqogyj79dBUHN6Jt3HeAmA/Bv64DeQXUBVXEepiPLwA9qrA5LCA
dq9CRCdKpO04IEpHmVbeVuYQf6vdtwGK5sqocyagBp70XBP0fQycPHL1bzFJVr6LvKau2TD02xO5
M4tCtTzpxQOZGXJ3Twyo9CDkUGP61gce3KwIh3IgXm6GOgQF1SkA6txXjAtK3uDsJn2VRckcIFCk
hcG6SRm0+ULTg8+IHoB/nUnrQIKzS68a4GgbvhgeccM1s6ZYCTm5UUh7MzbSTslcs8wy23f/8PJJ
Qxvs5Xjb62jLgwl5TOwSaAfy04nVjuJKyrr3ABrWjMuSQVXNGAqJowDGUN1nooBdJ7ay5QsvYw4/
vQzK0h5MbIWE44q2JSw3kD66g2niJo39LzDLtSsYJiEJDY93WKNPXH7SmmAJ8DgLbkgiP4xt5iQa
NaOa2v2IF5qAhcbgjsWIqcMDJ/EGewieSBXbDHRtJXjUBcVMAwW66KLRqa0VQTJWIfeVB4z8FdCI
M0ZPfi+BlYTSGyWzUSt3E/kFNLkkI6mgVa8+o+jMjgQfBxw14g6nBpHvW/ipx+1bAhNrKe83JFMM
HTI6ozK5swE87V1bH9ob3w8tAm2oUSR2WoPvnwi8rpJ1QHz4SlGuirkt6QGEBn1jHEVkIUI7LveM
/KFXXwZgbr6cHxo3vev7BwaKTK/jdxRq9OyYaOsCAx2hrExgAZT3csONwNKsIwNRKUQ0IM1d+kcK
NchMSVaahhrHFEzJrQAv03I8aDnheXIHkB4mZUDBJchVQWmwdNtdpbcep536pZHDfcUa29VGoGD9
yiPEEFLsqm5tg+R3I6TuOo86p8zTJ+hDPDc0fAx8eANSFP7TV5eIB1dKHscxXKvpaBRd5FD/pogR
M0PJBPC9DaMLmFRFG4/2gOeevFg5CJhkXZm8tmEPs+/E1FBBXgzpDr5SXyaPqh4FAFQEy1H0zEpL
eFj4Tp5AoIAVmwp8N2gB2VRUcd4HViijQlWKgbXuw4bCLYg+tkKP3Qw3e5wIpN33/puHraTIBRv4
92rI3nVsTpW4YdjmOhg8ZhAi9YNtpLuGnxGudQOvBNGA1KbRAe0d+31doPKSIdxwD24joGRYMHoQ
GMpXAFmWhKnlPqbkqSQucq/uDtqSGBvGczlwejGHuERkySDqZCizUnqYF7feagDC1CRwUIJi3edn
CNEvjxBN03FqqxITGSLE81NT9AfPTTNQjozelAxU7aGaQuRJsWu3dOS51VuZWT6C8pJisvJMWTWr
hSeQLp5AQuSA+FuSMFURQJw/QThWsJ7Mv1WWcOgfcE4/FBknhmcg6bsaw4X+XsZjEqh2EpNlpCup
RGbdVfwxE+XurQ9xCmogTzwUgg94tYKIcrUQjUlLbWnnHevbMEzV7i2EdLyl28xijsw7SzJ8AzW6
dm6TbWIERo0hDoxsl6yHgDNbdTwDJgZLgzwN4nlkCLFtRdckTVRllJHM+o3IDSm/9rsEF1+tOqbw
bVSDKUcV7oocIleQYgqS1hALui7qpcIV6TJMkSh2OVmVmYJoXJm94SrBvtGwF8ohV7t1X0Z78mbs
ONAfj5eZyXaNme/db54pc3FTPpWPwXfxqdshhPDsxRj52kicPsw0HU/CRObSQhnpz4cpjNCEnanN
bGmrrhcm9vR+52N+2tIsJq6SGNrL9AX13HvcfSSDBJyY6QH2wXYYGLhfGf7Gx37Fyxv/5vO2F4d8
FgyX0siITl9qs0fU33CIHCK18ZTbmVOu0sFyd+q+eEyM6WoAZIVrW99Sj7UzrANbXQjMr1zDzl//
LCSmiZp6A8M4yHZlJLcShtwAk9oBJ50ZzXbxDV+dbhpEeXVFk1Vc/M/fcNwFEaPui3ujm6XZWRB4
axCVcs+KDNkJV3pvVMfcWeqmJF553VCoxz1EESnII7NuglAl51n92hmiMZqgbt3nkbFGbKMh322o
tz+3tG0lcvBZ5HWxtMQvr2CoC5NERBuSomHEZ6usY7Wrqhna15x2l9uJExidne5DHpmCuTjIV1uj
mipquPNNt9vzQQbRty9I9lJZvUnMCmxGQzMVLtqpxWrefV0aXXJ5u0PvGKUaCsA0AjTjvD0/68VO
+bGHBCtoTIe2ZiKwNquju1W+pYa2sHtP3zdfvKftza5WReeVRKAvIYX5HtCTBC/t2+drdAYITRfW
8y7N9uQoLZVRZS/IexsMFu5fQNQ1a87uw/2wq434tuPsB4x4hiKelhAuNjk7koiAdEyGpRhx5bb4
InCwVcwEfufG6HjAn/Lb5Q1Xujzfz2/Es26O8DNlYJVxytO19FpVNojxTrcvDN98k+7de3j3CREn
G2KwVV3w/MW1WLVw7F+ZPtNDaDIBCgQPqQl5PN314UHZhh4QpmYDw6Uv45qsmMB1AzWRTxS6nbzj
yt3nr/dywhKVyYipmAawj9FZt2laFUlU4JRTHiBWXfbP/8HX43TRxakYFJjLeYeSImSkUDoOBNdU
ysLMl4AMcu294bAGr0XCMhfnIQODPGwUxR2XxFtYovKmeU0VgkKnbJVIUyY3N3uoPDSwKxtwgYmX
0DsYG15bgpoE4FRVoSilzZY8g5b6SNTnwe+Q1usBEngbMMgteRSsHJSbuOydKK0NKYFKEZE4GQHR
KwFvdJxr0tcQZnYpSgretDyxclyShSjmrMX/epejxsHu3Be9qCFIhnthFthuNFqkbK0OIsasEt8F
kToVHKYRSRoFiAHwcNp5+ndNTRxfGMwEWa88vIuAo4Tse0RgksneMiBgQ9vh4gjf8JAccggFQuwT
QjUQWoiPPRgUSQqt1HADdhDkLsnW9fWvohQaLpXXeQhcFg8q674VK2Qt6ftUQwwETd8Ql/1Qhj6C
NqwVFDxQlCfnjYb7jArjioDHpILAif9SCuu0pw8upMmgEMmhNGYoYvsEQz/UQz9RxV8j1DbH+Kte
efApv6nwcCMeCVJFvGwehvF7DkKLX3dmoAa8TSY5m8BMEadFlbSGa8hNEvYQQ8s57jlySmEBXgFM
Bbg3dKYYwGsn3bASTq062Jn3HSqQSjdF4csXUBUTFTlDVlrNUDsgYKLuvuGJAJUNstGh1DKVUrvh
1y7ZS7CUL7TcGCN4TbWvyAzBCKSykhAmHYN6V42NQUJYkhcu1PBQvFfCXCTZRS5bNWph1QECGRgF
5nt4TxiKsmVk5E3xVojJXdCBhQT+mojWw84cgFMAPgEO0Nl5Xm70AtLVwqM2MSe81ioYCiFd6RZa
9Abo+JYfSus8x31UwH2553n7lAZfOiWDj5awIU1puQoGRAbg0b+qvWQnOXTjgrrikAXiepquVRoZ
cO+5aRR67JXkVovvaZ5CHa51ai20YQRnQjJxwC1eZr4Z+jAViuyxajmKIY9t0m+Y0D6NowCviTdS
AYSTRKg9P2V5u6F1CLcMbVVBu87VBQgR3HW+imxoY9LkwQ3aVRDvw1i3hs7dBbByKDWXJ2B1uMKR
hHBL0CRD1w859AFE5h1raS+Hr74Ck2cZvkzPcg/Xq/wBs9cKQDLNq8pMId04Vo2VoZSODhXsyjdQ
luBUb8CbfRFU3RkHdsjU0i4KupXlAEWQqaEG32oosmewdIHbnjME+TqBQJ48vkMm1GCQ+oW/UohC
dlp1bwOJHaBDEH3XzEFAs2JkVC2oJPGzHwAwCnYtzEBF9SGPA6eWIlSdQ8DwSJUEdfCqGaRQ+YY2
jNsd0iJ4xXZseTIsiYd0XfcPfj6gBhLQUQ6tEWKF2m2Giy9UsDjxYBhAQc0ExGU1gsZRQwWZCxd2
2QkHKwnJkeGhqlGt6t/WYWMSCJHE7kuh3MqY8HXtcV3Fy5kKERkxknLLoPwnebrjxU+S7Jl9iW0b
RQEQnLQLqYN2717IesClmt3rPrwSI+TgURwIyo/fGDmuhVqU72vXs/3se9yOttu7pg5CPzgAtuz3
htZix2OZKRS9XQO6BLWOy+ROV+qVl/aPgCWMvkz3hd4+ERYZI9I4iqavxwLYbh29CO0+Cb82dYeK
1cDu8P+sxwjAMjAEy5pBiDTUoB1MRUsdRkOk0ImIckdHBgu+u1bbCiu/ABUK8KCUvFIYxvqi/xgE
VYh6i4THggKqwC1S+yaO5R3Tyq03QNAqOGb1U4ttrkrgcoiZA14ZUk+US5QYqtqs5VZ7UPNuW+gp
wDEUNSdJeD/08q4C3Y6SehMImUnlDkL+9aYTtYNM/E2jBJBZS9YhkFwNtDC19gy4coG4mdglNrox
97aZKzpNo9wEBWQZerIvscFq8VsFk5M4JkaoiRxW43A70XOzFuuNDikOoJDavQrZ+EGt4adD/ZAH
UnODc8Us4tgY+gxWRP0L5GIPMaXf3QHnU6dDIXd8zZt3V1dQBwx7XNTDZ17CAZOCxuzzhNJdQ2X4
d31NUtlRoKo4qoMZ4TTTBdmpsJeEdBuEKtRefTuO8UaE9kUZn1oYoOr1XlSwuZQDDyE40jb+A4If
B7wvUFhgveDqb2H21peZ0ZSZXYsKT5JhP+rDRqfZ90jQN9B5f3MbvTCBzxw8CoXeBIXeKMJtXtI2
VCApCt6WF3qTXEKwhhrPmzyiQBY4ZQnEq4Z/fFr4VtlB655lf7TT55F0qAE/wgVQokbQF3hKj0Mw
3/Rr5J/cEV5MLSttvamwrFr1VgqE57gYDS+DnKI1eRVp01mn+82dVMbrxNOeKlbjUVIYgbew1UJX
IPK3jwrpu9TvSPeoNJHTIu2YozY4LRHdlYI1MMlw4QLlI+xUSmLkSWwkw33mSRaJXUvoc1MaJKg/
ljs/hfLIhMoy4C4AcUn8JUNZMYFTNqj9PMBB5WW5NWINiT2z/TBcR9GLXCk4HWHXniumNgCt34rA
kYn4qnbFAeJjEg6jNKhuvZJZgxxboVAZMC5etT2kDsOgQn+gVoRsI/Rx7agcb3X4BAwDA43Pt2pF
RE2Isg/VbI1S2SPkkIxKlQCSw0sM/EIGMek+sGTsTFH5ta0RWBe2VEylP9C7pNg9KkzmhvsBbJqy
53yaq+Fj08NuHFICN333SDqNwzPE6nN57YVwDR5DwKPwmPQVXraNlXqq0SstIPpvJTnC2Arg9B3q
/3npPwp66lSAedMesQRI/oG3Yp5uqZikRX+PYv9NHcWrioRm2X1Lq28ydCGGwoyGnQzUVRvGDUte
3LTAC+l4r0eolU8t3wPjvkkRhN3TuuNeosEIvYM0U/8Mm+cnFqD2yxXNXugsWlbrUugdCmRD6RDQ
wCuycJsvrQiTXhUKT/UhxqbSYDZUJTIxiTGUEKtsVmmyh8yggZ0AJj/ZqmSyUcZwqkNKIWC3uK05
goTiJlpwOWVIlBwppEIjSrAHwNKliqDFgO4S5M8J9pGhtsGit3MVTGbQPwL4YXdV8R3GYqvQxUof
UOAbPpTlEWEaV0dcNoaHCKK/ZeaZml5bMlsN1QMRXvMWU6mH6qX2mrrJCsVXiHKegvFrLSwhBFfv
tBqAH6ZSQug8SdsGEPRAQF1ZxBa4ug1NYa9aqjMhUYHtO3ASX7p2TZeci1v0SYszGKpJlFIZNLTo
Ov0TsX0jNseH6eaHWQrQD7kPnloQDXL+7uUIN2udUQATgLUv7l6Is2JZEp7bnuCFPav5377aSRTI
EuBMeUJA1Nllss+SsmyqF5aHXI3fmbL+/Omv4FdIHctUhpCNSADlnF/tGtqF5VDj64nVDTJvalhP
dPAZ9BfezpXpgHaA+SuiqCADMOsGtMjrselgw4CQR9rQ4mtKu4Umrty7kWo7aWM2ASKtYKhse1Fu
FCfZg+ZpILTegYVqDSauXo5rfD50i+3Nxq6r9XIM+5dwnWxrU3jDsWuyjkNp0ZH/EDbSammmXaFc
nHdwhhP1DNb1kPamQPbdjW+wP2STANvvV9mT8gTvJwFLaxEMky6X1dmozrAF1C+lsdS/QIXiidqV
IxjwKrhVbIn/hbauLGEGPoemUNCgGLhS57Mxz1O9HHogycFefRrXE4brWeyII/kescKwU1biV9dI
tp+/yEv0BMP6q1V5AltPUPpRlzJVa196CdmnMrDKNl+aKVdn/0kLM7g0bv0AwsEQAeXysX/THAhj
WO0KgA0uRdIbMvs2VCO+f96rK5jKebemF3vSrTiuqpb2LxNFpdonwPtQGfQi2Znt3S/iwVcnCRBh
GG5KlOL8Om+LNJB+FyBWbid7qEF+AH3dMVtn5rCIzl7DvpksIoWHkmMRxOLZYI5qoza68iJu0mbj
adtgO66Yye6LnbvygRG1Rr5RdvDpM4o1s/8Cyw1dmR0zaF5TEJHB0AJ3l/Ou6myU85i9QG4St/K3
Kn1aeG3XZuPJ9+uz2Zj6Sd6l7ku4g9CpxTCUbshbjmSvMZjlRjhmP2b/T87l8cejz/idsz/+Rbrn
IX9P7+vy/b2+ec3/P+B8YmT/34zP/xl772XwekrwxM//oHcS8jtYmrKsI7mBAx254n/TOwXtd2Cs
KpKbog6cFVaR+Ognv1NWfxd1hSHjCQ4ecMyJFPqT30m033VAs4oOYBGScagk/jvszjn7TCbIvOgq
lSWkYAhE+marbaqZiZS8+67dIM1rRxYS5nZ2U686J7T1u+xGWYMsv05soIu4iR/8DTl69t89/mQF
PdEk0FapSpBqlWdPIeUdKOtpF3NhpYH1lsNakXtOvynW0J81cX/0nZMX9HOinmUUpiDhZOldtDjL
KHiakMphjRYhq4+lEVj9loVcWXd2uCpvAEQUf+9kuGhwttbrNguTsUeDfrsN6ucAl82FLk2b1Sdd
UmarnQSAuUBmjHm8nhgRCFdtZg7IEecOXQj15vHKvDfz1Hjvg4FclEClFaeE8q/RfusQVKo8X9WW
v0pvASGCnFAtTpSF16bMDqJchfxgNPVxSuBNURIAVeW5tKq1tBKOVc0XE4bXRxXRLMwGkYuZB82a
VKVZ7dXQ7AYNQLVj00XmXXUkU9wuTcrZdv1jUCnyIlShWPfzzEXq6XGuhlWMYvRjlTwzcA0WpsiV
4SMi6DLIJIkExJnZJPRLCkifyD86M52uHa7IyH82ZreTLagnHBcanEUrU5cI+HoKmMw4XjGI5ydc
1aV1rI9oEJWsR+l1UqFzUErOAWLD2op7RmQCm19YavNw5aLV2eJ2UeHjo1nQmRCwKAZBegLn3pTm
zezooCxkJ6dBm6270z6yadBPgqNQjcWuHEGIVBxvJa+wd9qIaVeLXJhrL0+WECvISDyKF7nAlMFC
uUQtEs/hIr/O7XYlfk+/iodmV+99Szguhesf0c9ZxxB/4ZgBNQAHEOb+7FJSqEmRJj3SIjA7soGt
3asJgoeusvJjagsWudPuIeayghS/ivebGmyfNfbCBJomyMUzgAuBCyVOQ0WblufJ4OquqGYoTsK2
ua6+SFZsQ1byXrAAYpvtZjQURGVSwmG7vNT7i5kLKoICzVoV9CM6iYafNyxqfQTZK4jfjeV66G6z
aiXFC2yXy3k6EUwUrA9Rnq7j85tsDYWF3k3AaPwxT2Mzea9XlTmdt+lN9nVhKC92Mtz+Ubuiqajk
AOf8gjIXaIPsQrGYx7v4mFjuEcibUTzUTmos7ZpXBg9Ja6g+EYY8LNo6H7wwbhStCTB4PkqrQhmH
eXlDZc9Y6NGVyXHWzGydV4mrZaAxgxXg1Gvwlj1LRumrhdSGURvj+7BSVsKzvO5WizvMxVrEWJ52
cDY7fLFGca6PlitrtKc9JrULg95Bkcaq7oNF2srCeGqzo91VqQADFzSXCorhazdQLkN2bpFtMH3N
bLGd9mq+2LIS9cPqpO1LcPVphhjyp81kUmqGqFWtCxuC3tsBdpitKy+8yss3CUwKi40B6mQUZ9/5
hPEBMDf5VJZXZyJquCFnSpHVhpA4/d6CA7Uwby7f3oSAyYi+QaUUEf2et8b6fKSNByL9RHpq1/Gh
POBUN1QnvauN/HGJUjGnr8gKiJuTITRFTI+If37PE7tWKcIepnaK065Tswax9pv4XH6VHX+VHOAh
DXKV8LzIhJgBch/NMkQtFGQnUILnRAQh6CDQLkx3Prv6Aug0sZAfY8fAaY1p52yha20kS7vMRRCD
vp42OgOW4iGntA3R1xqAUruuHITyvrKGOszHqkT+pGhtd2nqfoCL51P3vNnZjoMyV7eBRWP0EaZh
kO9hAwYqODbUzcQCMEAPNuCDeBC3yPlG97Iz8drAMFsPKBRdL8yvGYQxDTyiN40Q3K1QVDMP5Gq5
hga7hoFX74ktWeNKWhMH0qbgBnvmIpR3Ze2ctTbbBT2a5HKaCCGHlUmpwpLlURQfMx3iJDLyJiso
7R9aIAwDRiTxd4UK4xn4eWgHWtuh2C4s5CtnGvqOcxN0N7BmLyK+2mv7KiPou7jBa7CDTWLU4GpW
a5R+bOWF+PLKZENjGsBy4Nog/MwilATyTcRjSMzHZN9BE1pTkoW94nLnnbrzq4XZdPZTZaoWxuCK
/k0UqAZEyLgkrRYmzJVWIIwgQ44XnHbxIsqJE7D59RLJUQjGmrItm3DrdrQH4mTrAnieCibk0u5w
rUmg5zLYXuBWI615vgfGadJRJcOdl0IEv4vX8nDjojD+845dmZpwC/zVyGz00pgwcCPQL+qLVtHs
MtwISQlyQHGnSks7z5VdHY1pBMxOCYtuTiStkJ9MfZWGOJOnExl8IFNDjBPzYo04wFyae3N+8LTK
qTLNOwLe7HRBPB/BnjTQBoGOJtS3cDVUNKN+IKu4wu0GNtoapJB47SySs6+O6Emjs8UO3lXaRB+N
Wu5tibKuV3VFeHbD1ukKnERH2GTP7U10WKRgXtnTzno7i3i8QYQWWow19kEU3lVO5Cgc7TkiD8wl
sESevm22nVME/bDNE7EeLkpg49Dvk66QgcjcqmZleXfT+wxtd6c850d4HuED3ObeyEozxcN04yJW
YmORGK2FOjruW5hn6/GpWYHkY8Kpx/RMZn0+t+cplI/3j3wk9h4NWS/AZ+fvP4cqfT1EKM5Poehl
TRBrtJ1yhOUqupGODUi+EqgSh2rpdnttCuBWzUAmhjPYxbEOymIidSKGoDTh4Vg/wfIBCSpoSMEt
B9driC9tsrUggae+eNRc2zTgaEghIwSNOXmOl4cwvItQmYmIgvDktX9oYTli6ShLMkcje1AdYuUO
iHhL14kr2zyuLr+anebmySVQgdG56MHngaNgmWduCmG0eGGnuhajnbUx7S4nbVAN7tJQEcKZ7fPg
Sy+jrsg3UIQmWCjK/IOWNriTZn6zdM28OotO+zb1/aRdSBYqozCg3fSJOa1iNE7i5JYGdiwkPm3P
yHuum7BhL53FCqarE+lkWGdHQFkKEIjqp2EFcIGK4y39qlvAhhwpx78QID5C+oKafrF4ub7ED7F3
Yo8GJCRPDNl5dg4GfvBIVZJpr/YfIK89YTT7N4XLf0hmbsBqben1XjscThqcJ+Yqt1JTYZpC7uN0
wk45rOCxe65MdRNbgkmWCrbI5V0KPcQlYyriJ1MZ/+y9RkGjuHAp+9gvyU5eRQ6YUevssHgkXFuU
KNqWkRTAoafMQb26JgmrYuxDGMtj+Aw2ivkGgpQ9ZXmgp3oDJ9aHz7e+a+vxpMWPvp/MWTCdGlC3
MGYUNBUPZC4JfOvPmyCXaAWDLfCfvfr4/KSNLKSlVIxYF8IqXyuWt3FX1a5EUYi3SPdY6s5se+kl
MRO0aSMPkxdReheVw0Jfri20077M9hYQehjU6tDAhPPAycqKXpD/Bj4fGVnAgyOdiga/aneCvdDw
5SBqmA9MQXZJYrBemjUsK4IfS40bIBinNgpBfVMwIqQyO5//hdqaKZo7P7TPW5ttZUMNR1FcwiB3
tGNWFvMRO2h6LxjMVA6BIYJWkJj+7SIuutTJ2Tamgw8K5WA0O21j4rgJbplJnXiVx9vAXqqvuXK/
mS50kqhIExkJubvzdZ2yAGKbKojfLYrRuW67a1wuceDiJj/VKzkLb/BycZ81N19qqKaF26OPzg23
o13ckRVqu9XMhAX5TrFDK4dMwSF2lg7ca61KwH3BQSLACufn/Ih69CKZOqkkEq+7L3oOYrD//nnf
rk0XFagIBnHK/83r3ShpI2RN0YgGh5gpVGr9yUjRjuCk+3lL17pz0hKdwWesqSCxEKOlpnsc630T
3DF3KSq73O811LP82Rs6iwZrXQ/HHDXwvNvka/HRXUuHdI97x3ppBl7uVucNzXarRCSKD9FDeMQO
2yw8Dsrj54N1/ftlfbq4AQKfgxd52/TQxsT3l+HdUN90wfPn338l4tEm0SLUNGFDQmHvbKRaFW6p
mBABzivhALHviZjQQ/uTK8hWlvvuACn7tbBeDAGuzIKzdmcDR2kHZd7q4w25Tn1MNr4ZGdq9jgvb
YIqmtGq+LqWGlpqc7b9xQaB6GKLJYUxBs73z65qn/hJ6cGUDPOvYbN9NKVSeQYNFOc262Jf3U8Eo
yPW8OiaHxf3oyuw4a2vq8cmxLGUMTGwEy1x0BqMbjfpIcKrUqze4JqaBgejN6bylWGB6M7OD5azR
GYzQhf3k1jR1cKc/pWZ8aFeATu9ko30EK/XvbxZnjU2H+UkPiQB1MQYtaeihQf9oAKikfcvEu4VF
ML35eZcm+XCgz9D8usitwe3ZJX3PsMoAkwqcruCg5zCzNxokYvObxUTstTly2t5sCEsi5YoWo1fT
9b1GHaGLms0E6QpIkq4/79ucVYWLMagp0ClQdQQeuCnOFnhfgMfae+hbZ5SYKKrpDpb4Wk0sygS0
Dgqb+5jDku+2v5VRBLWr7/5CWfO1OTMFwxrYJFfA79YFNhu4FN63bwj4G4N+pO5Vi/Hyi+Aa2kNl
dqZkTsE/JPyoAS7xfzSVTp9hNugKidoB5BuUELk3qTgVpqGoINX/k+Vx2sxsxo60gNXo1NXWHkCh
kXhs+jZgAKPRnYmtSh8+f8HX9oDT9mYYFJPCOmsFtCd5D0P4qC7tmleQNVwJRSahShtVlOAknC/B
CvfGvpkmkHovArj+MhFwkRh9EgZjtEK8sSW86XqLEhAVQKHgXswPPdb4TIwkFHtNZeiwiTH0b9nN
VHev2FB0gciA+fkQTlHifPnj7vtne7MhdEmSICJCe4pDbXmlWxNnoHQWY+MrMdZEJQFNDPlK6QIg
V3zUN8hwneD108QqLg/E5ZAVgAvnengb/yi+s8oMrfh9WNyzr2xwCB4oqG/IBjEyv3rocAiBZR2k
8CeKMfhIRscMkIoN3UmttOfdon7ClSE9a3CatSf7dhGFSt5SiFXE4Uvpv4jqqulu+xyXVER8WHwa
+CCfv8Rrs4aB2oIpins3MOfpkU6aDGtZRMkc+vgjfw8q7otgvLkH7ODGX9ASuDqkv5qbh7GQCNNz
KPcHHLpN5qTVENrsWb4VHJRbbeJFKYErEAZSOOjd/yXtupbbSLLsr2z0e82WyzIbM/NQDoYAvSiC
LxUkRVaW9/br9ySkmQayECz1THSHFAqai/TXnHsOlhHUKzPSGWM0aee3sMcCK3KV2zGCx2j9n0Bb
5HNL3HHouqguUZRlm6VD663VvuR2ape4oQW4GL8BULiQ7oNF0PfIoHdh8sTcGxVlUt6HwsjGBmK2
b+iNW0UPMUpVvRPYxlW09YEqWfAsJDYM7tRrGioU4LmAl67zYRVpUprlHYzGT/qz+mS+Uc9/7NbB
gAJlh5MxgZjdih/Ue/qyeMNdiE9wDAGH15B0A6EO57iBH9zUSnoc8IDsPfN9WflZvlq8cy64GmeW
uFcPZNJZ0hFYQv+7HVyVKx+2yErzou2irUtH4nRU3EtRRn6U1ugqs4abzgGlByi2cbnJjxMr9+q/
08NwwaU/Gx23VRND6Q3C1rBxWNszWOJAY+hMKEQwVJs5oR/MEh9RgHAXLpulaeUvG3CDoX0bQzX2
xha8R9ufCUXtajkhduFiAxcmqmiyrOqqhJah84utMUlXiKJJ4VGgcw2tGmwJlf0A1EDqmc5/ABow
kVMBCB4Ms0iZ8vCPzMd+FUyfgudi3znM4Ac7E9mTbzW24Cy9vhfHd2qPOY8nFzcVfDI0Bez9vLhB
mYe3SXfBhLhpVoE3rv7y2p2Pj23jE3tCXof9ZMBeVrsVoHsQdroOqQN9BXvZ9b2QOj23xr2EYIz2
sw7SWMfbNLttUap7b53q+jfKkXMv+9wUd6sMUgqBoRwDYxc3owhj0aDvsdNOt/9BOhPWUHJFhxwy
wzOGJLkBMWXa4wiYD5Oj2dKagoSLYXGjl6Xy+NzHBeMBGjNUtOMhrc7j4gcylKWmIU8aygeB4C2I
Dwt74sLUsewHMohoDkD1nztjZWR2QtUFbA8ODkhEgc5Zo2HakTsL4tb2YplgflViRCf2uIurNRRQ
HkAy87hUIeS+3tBIiWcHTHlIvfyO83nJooIUEuOv1swZdJrqSQi6a9SQ+q2/0uxpnTnderwF7T/r
HELbrr0wpUsGuY1vdvrQlD4Mqqv6lc1naI8eAOIeI5NaviblJXvc7u/HVo6pCnvd8+hmTvlCPZAs
AnBQIwSbrkBBCh1tC0GSE1nyG7R7cjfalqK1WLxc+iDck2vSpjIyA0AntCveN/QKjDLUMn6AfMZp
4doUG+ouTval/Xu6utz+RVqjpOjlDpDtH124vlvTNb+1juqJ695a7EC7OEKNtanoGjpi+LR7Hsqi
WIJK5+iLmtDsRO1Effh5WtzxLbGFpYTu/KE3FZxKdMWgEMVabs7vbKVJyziPwavRb5VHaCyE16ob
eeE+uSrf+xwpwxyAg8XO44uzitCPMK7HeVJ8zNUxESAJAfcifkXb/zqGTpOVPUmuuJZuzd3XJ+bS
Lces/LLGRxSDYkCqXgZLkjqm4FcHuckSxvniLCIHA65M+L06j0GsaQlgpwAic/ARr5pcsA0x2wxg
3/l6IPOkMgFBFhoN2F+odPFYdUWNB5l0Q4CkcrNL3cCt1sI1CFr24aZ3EHGuor2wHpaqvLP5gzmw
ckoMsQpYJw/gNkktmkGM/JFRNI9QO3LbTvIWRjabwaMNE/hRAODRu83tQ3DUDmJqwkb42SKQBvnZ
PkUkpt8xNsJjSW3xbF80iR50MNCjH32GbAlQ+xFJLTFli71c3JP4IemWaqKzzAQbFlYMaR5g0Gb4
elSNEywlFqxxQFexDrfJDUUuXt/7D73Tb9AXYouivdRic3Fkf1rVuUpQMvqqkBUTBPX8h5KuC/lg
aNuvF+wYxZ1Feeg4JmhL13FtoKGOXzC1aAVNm5AF918SG8zliRXekzVDdSQozZNrcIS79KoDlXu3
KmwAQu2vPwDPjYuskom+AsCbNYAJ53G7WAxTB+TdJyNMKMljs8t2iteuQD+WWYKLFx9xCtBB43eT
3slomVrydmeh5tE+yoYgYEMdiT/zud/UXUPJp7oC5eGd6ZIVewCL1RJb6DyI5wxxz14wdGY7qurn
v7z4AIBeeDTCqvToGmmtFd0tJbfZq8Yvrqb9OTbu1RPMRGigXPSpV9smf8whv4U+BwtJImthG10c
HEsVMKIDUILyAIhK7bI0rvXPTn5yQuDf4Fl7Hyv5BmwlLG5Ybpmf5+0xnacW2dt0EqXQVGk1MdI/
xa3iZY70HX964Td4EjTfAFzmDS7E7ck1IsDNCHlRazHEvTS5px+AOQEnH8CIxJx2kv6p3ADAiXZU
DQw4d/eGE+90O7nO3ByCtkjTLx6YC9c4oPnwIEQd7vhM4kTNwjD16c8Dc3zkV40LNT8AJcQ1yOo2
fx15hZk+Ncht3HwMK6hma9i4nSOsWX60XXXrGCWg6a7cMPwiNEgWr/VL0ws8OsDM6K5HPyP3kkwS
NdsKe3cA854GddNgWx+qsF91fr7wHM9ysWx8Ov5DCxVTMuEW0m+avAKH8Ge0QQfANx03QL9ZPv+z
ZYM0DbrC4CmhiRpVJ3bZn2yXyEy0BBmMTyF5yVpQGN0t3KOzx4L9fvY8EfyP3cHNVxYAzwIhFNyj
9FF4Zj0+05uATL1wB2rFh2kfOksZwtkKcRa5E5iUkJes8+kT6E+GikDl0MpyEOv0eyVdcP2OiLez
m0wDTQvCaNZ0jSokn4xshDGSm2r8FFdixXJKK91T3vadF9xntyzhk69Mu3aMFhGMYEO9zG490SN2
tyd2D/aM+EF4XJjvmY9//EToA2coCiwnd7dOZj1BzF77UPeDF0D+xHeUazRou6BcdoDkcRfMseU7
nwBZQoWS1WB0nHs+e5+GZkuqRv3ovG7Xroa1amnH7G+zWIaZb1QZbyES6BrrcZ/VQtC1WSZ5PX1M
5U2Ns9dL3xaGMntxsUvByotTjR5bIL2489aYzSDXZvPBzltyE67yHYhAnMBbzMDMwhMkBUHvg5wI
AeX9rDIH2bCCCsT4kWzA7v+N1ZBRyUWLOeukWfQjLiyQgRcJLZjI0QMrwu2HSKFmN+XlD4yqs+oV
K8jhJdi2D3S7lBGUj6EOtxvOjHHpESib+VUaww1NuqJ6apXQLIb7Kc1lsdOsWDf9iEJFTciDZ4hz
aFG11oaqK6FUG8d+Ck68Xm6FKABfWJTI1ceIpWrU1NZLIfTFWwnTNg5XQlImgbbS9UCEcEbajmEv
v5DBLLvsQKvEhMbRIMhDP0BNYehosKkJjYddNwlTuZbyqNTQTENqQ3kazTScKLQ6CFQQweo1mZDp
TkeD6s1z0+clMNJGMpJOtMBDVoq1q4UE8bojK00ZvslJScEJWep+1x7kuhnQvJ9SBRyPVQ3uPHdS
Szm70lIhB/4yjqoWDb5DFLdUsQII0gJ1HqiRRNCOCLclPLQqFWLRnZpIGMINrZRJHoF4Aa3bFcqS
RbUBQBZXW2jX6LyDnMlEzMBUIcedRBnZQ0s0SirbCCWdCtBxUKTxZupVtJHZYVSjLcYKwyKpJZD3
aY34I8rAFoqFKNZ9R/z0O/WpDuEMApJNkDai1mNsRt2QaWslJOtl4unBCCVDsNMGuuAVUyJOd+Ce
yeXrocsqXLC12oHnD2snkUdwmFJ1DWq+vnow2sHXbiptkiAaSfI6BnddQgSVQJinUdUgseNIbkPw
tGWRqD2JqGENGzUfKxT5lagXFE+oSujE9CWkelZKw7iBoDsGhliE2rQloJRVyn5Ity0ZpWZDW1No
S4soSZWkViz4WvRDrwwq3Y71QIz7ET8glZYIXfDxRsnGGEL0VDezm64LYumpzfRoAv1iUxSTrVda
YKzUcBzTaT0lTd1Ax0gvzLS0hjaqW4AyRAnkoaIGfc1NI0RVUtq6EI8NFB3IKMfEC6A3LVUrLSeE
vqdJG2MZaA8VF7Evuuh6yitBvlYbX5o0V/aVRrgHK60YbAjIVAvQLAuSmaGIhpVTNDcACXrshIkf
0hLilH4qEofIkQAC3rrOAyi5+VGvuQpt0mFnAjPRXRm+InffSlQGoHuTBiyLmGXBhJ5Ns078InLT
UjA6zyjKqf80akLUbmX4bQP9IbAfl+D8C6W2RfiqK7ibGtqHd13ddr6TjXUDmeFSosp3KvpJ8pDo
eQAwQ6QZEB3qJi1DMVwBlyV9ltQpaWswOQXRaELJyTSBb6J69dyVUdzloJxNRVCgCzWUaXatoSW4
3/tQ6n3k+Zsq3MQjGLavs6iNphwJEGxzVBrSPtN/tGUjFQxaOUBcz0L/l1+7BtVq6GCSOte3WuxX
GbkpRUFQwzvQc6riVUyhgChYk1FF4/CYxTKJke4wIBd8HYDptNqFRV0l2yIKNXMvUi3Trtuu0yOP
QGAn+MwiM60ybNrI0DeyFkXiZxViMa77sFIq0DQOhp5BQlrwIQxvmUYTRfS6zaYMCjGCgWPje4ba
Df2TQkUDbI9U9zV3mDKzsw3d8EE5S9TATNd9JIZ15yhSlWfguddxokTLV9UBKl5NhN/gZQOQT7qF
bTCWxMWVqJeRm0MwJoIiDoRQ/RDVtVDq0DTrjYY8jpnpUUjEg6YaG7INxxpMnILS4lusRqRRCH7i
bgoU6NwiN6T9UHw6BGAO9Qdy3RgmlNtJ2dMgt6ZaGLK9GstmsY9ysaWQ72pSQfZUue+K+0IRpvgh
B2UOyBwo5NAL+Mh1KG1bnC3/Tgx6M3qKxKDObsIKXW3XeVnrhb4pQjQ5QM29VmX1mx91yoSuUuiD
pZYu6CWECf06JJLVhyEOy9cv/wXPAmkURQfdnimpQFucu8BTOKmFSvFE5sHepNNWWszTzFx5DSXy
EwvsE5w42TQsO0MaYzzCxJNu1K1qyx9gy7GYAowPllVLWokgyGKJjMUU89whPLfNHPQT2wJYc4Vi
iH+gaLaD/tD9L6UBSwBf1vY3AOzs93E+ANI2OvLLEqPY0Dj3eyQVuiJhT4UQky1eg0fHBekoS23b
gFlAOUu14+WmqrnTj1GihQy0JQrEOvlEc1aUqlLK9EcJpZ3WEjobegNuuBUP6TODcRZXrBdHXKYA
vODLndnlRluGrSxlSfCDcS6pLuNlAXkCZHxY6m0xxJ6l+9g2Ohkkt1EhR9sqiRJhKVEKehU1Kzsq
fXRw7gFK1NYa20OrpXTfHHHB6N0gWIHKl2kYM8d40nw1iOLgB8sQGU/aFn0/HvEh3DO46J875hKU
cu1/Xy4Ozc8NQ0DC61cVWNcNbsBV2g5yKQB0hTxGBq4WBa2SywCv+Y5VREaZBWecaYbyCejEzHy0
DRvvphoFdgfHBr22Jq7dr2+ZJSvcHTBIQwgHXX9X/dsMtVBRARX7w39ngjvqcQy2GaR+3ssSAqB9
ILdWXUIAKGvNzvra0hHLd37KMWeoIMlQo4cQBZ82GEpBK3Siv2svLJ+uPuFN7tcqGv/sPrTyW3XN
tMPiDK64tcgbMr+vAQlDTCMSQwPfC5+CSYQqGIS2fzdepOEqXIPM1pN08Hwi3IcnmnrGd//6r9eU
cAhOjXIHXYghKRiG3Xu263YqqqIsaOueZEBwl7f9HFoBYD9qZiqiXRBNoXnk/M4eaZih3qO/M5yx
6ErWMCEna74yZhQKBm8bhaaF9bwwp8gYIHUH3VIQ2fFx/JhClDVs9Pdo02x61Spu9OvuO7nuPdlL
XMjQB07YLNi8cLhZ7yIWkMWMyHOdDzJPB9IPBnmH7BcYLlj/MUB4yzf0PKyHLCjwk0CJmxJgnJwZ
wyeTqtQDzDBoRXKjuyManav9YqR9aQpPDPF1QBMumDaJPRx9wDiEFLnmwAXyXd+jhxBya2u60t4W
sVtLRrmdooi9GKC49c7KFNWPGB2ZaId7rvAiNCvjugc768JGYfucO/gS7koJpESoPM3E5FoyQZhl
HHAlmxbrJwf0DoKTK/YMLA7u4g45scWlE/weWZqQ9MCel0/qk3ynrZhF/9bf1Wjr7VbTqkFNtwIn
xqLpuT+BXXNimts1YRiDpT6TcAKN1bTLX6iDFpf2nXXs997kEgPCq3bgGdfm+r+b4GOB4cRfy0ln
QnNFfq+e69FiYl6+0/cQY4S/Rte/gT668C6djpRPYYLeBkm3rscOMlZJ6MRuDoQzg3KxOQ6foU65
fCjnNpEtRCUbFxwuAKTAzo8+ND60qRWrV7Xy/PzVCO8nZYFPbn4umAVsT9QitDkzBynDhDZT9ZoK
T0xflRjUWVinuQV09qExGSVlMI+ZPP+R1NTQ1JiSVx9cYI+TMzyEW8PpwH8UAh3usfOwlF+7bNGU
NOQnwavNMyCloLc2cyF+nbRVmD/6Qr5wIV94djAkkAWzSVNRL+OWhYI1WBHC+FWkeHfCdb0HMcQD
dMS3YMu345vFUhU7v+d3ybk97nyXHeishCh+Ld0OcY98x26U4gZN5SjKk224qtwJRbrlxoHFgXKn
e9KlQUuV+JX5lX5wJH4AbLnagezQaW/pFrIyX++W+YbHLhSR9QUhB7IlvMsSqGjTBBDudZC0WzBS
BmPl9mLl/mUjBtoUCCJNxi3B65w1LaoBflK/KNUmpKOVVgcIL3xtYl5Q1cWfUqJ4r1FdmHEOgJao
r3LpoK4GgAc7sE8e6TpUJ8KrV1mDSxCBtEulsDnVAczioIFHkDlEs8NmplGWIlFw6DzF073Ia9ao
h+07lyF6fBsiNH+ZVZAzyM7iyS0swv8au6w+6DcSeA7yFUFUB3kYQOCW47rZMwelNfhcYPozJbgo
/LGLFaoj15awOUUNhUmE9rvfuOhZsHR22jgz3GmDvA7wbXVyYE4lPUCze1255Q4iRY64/g0fduYo
cOa4M1an8ZgTmFNX4xMrzDKixOJa/q0ZvLQtoUOJ3rwjVmIm+mAEKM2FqvD8k9G2to0B8wjm/zvW
iYCH+kHq7XbJab6wbowqAloaeGEuFP/ioY6SoINnyaJTA7THUCdZ/XW/Elv+1Ayb6JOtOKVBY4Ar
4p0MXviGwge2P70BrnttDB5zZcX10kMzB4IdTSpA3uAeQd8Kt3bKqMP5ycJ3aPLazGsGMw4YpY+0
vZBds3xLBhJlXMxvzFz1c7M81bpfSxltYJZCaYCJmNag3/AtdZkF9sLexJT+e3yMGfx0SuM8Vwap
id6DV/Kse+VKdyvQT+E2kXESFu+SCwcPbTJo4DryR8xAytUwxuOQhHCZh87qbtHBia4cslV/YpSX
75N5zxHm8dQgd9Kzvq1LGvhv7EJhaZNu2++gD+EIS6/BzCNB0RvAGkRvIGBVcAjO57GiUwHSPPNN
XBkr8SkBd2hsBxvD6nd4BpDMXIo+luxxA0OvUY4eTeUthyhXVd2PxWbhebuwMc4GxG188PHVAxJE
b/JKgroGY8aaVmSlbxlU6K/XztnsIYWBRl9WqOfzToOuJdA/YsaQEUZKwffSDeuhXZ63mfsBSwZe
F+DI4Xuglfd8nXwlD6gkiG8EDK/+vR5uVXXhwby0MsBu6oycH68YX2YeI7PwST1hZcAppkBiMV6C
El+wgI4v1P4BiQFTIR+nVLo4TanZv5kPLQA/6b0Ecnb5EG4UeKe/I10tz0JAOGwgdkI9wESrxMzd
hpg5xMmS/m14Vo7iRcN36Yqxpfu3jBogBCseatpI4IPAPbCz7biG5p2rXeuPpbvUeDYHyZ9/Fv5m
bKZRztOyf+vtbNfag+dv3yCf7Yb3GZRLfKe4ap0SeERs1cTaDsiRLr5C7Ghx3sPpbPBXpq8EDRHy
/k17iWxtZYCjDXz/TIYZamL31Hsnd0CCbpcBdXNfHUNH/hmpMDhH82yfGfVVHNblG0sChOvEye3x
MNj0/gjOcMT7r2+A+S5D0z2wrSauUKw9zziljnVhKlP8JunIARvfSbCQor0wHBQoINmLIADg3RnR
VAn2Rj8e9FdIiHmiy65MbROsVEiio4t+s3hDs5N9vmySApQaStGIsiFYxd6mE+eBkg64CGq8GvvJ
U0Giauyia+YRMZq/r2eOI/UBIocgGwsoMuBeYKKBUMe5KVLTyZ/q5pnh8ZCnwfEc1sxthmyot8Tf
d36hHW2piLtBBoxYFU2o3IXW+EQgvTxAN3DwRPkqgmIrNHb/+oCYEhdal3DbQNWdm7sB+q8QXxWf
zQcNvYLSFUM3TZDTgMN8tdhZdP7y/BzRqTG2MU8WKoqKtFJhLHyqNhrSlPB+nstN4sY3ib2YzGaf
/M9dMTfGLRUEZ6VYTcXnaJPfKwCp9eqtuSfbzO2vhMfWlskSDndpdBxWU23GPhpj8Vm50bag6diC
z+qBTSTd/ob7szQ6zitBk5ZJYoxOf2BtguVeQEeysGcAuN8ytzQ2zilpgfbpqkx8jlEaUzA2w5Fv
evAUA2+3TB2zNDbOQQlzWRB8TCQz1q7CLSi3d6OngKo9vvmNqVwYGy+HUkd+3QqYyvCJiSVEN4yH
ON2ZK5BnbRePwMLY+EOdD0UjDzAWvFYgPf5pjKwA5UWAuswrwgU5vw4Ba8yHW46Xhb/qh1LOzSSV
nlMDLdZsNqFFzBjMo5Qh+53kxXTWFMypC7fKxVH+aZbvnmjGsukgM/usroRn/wlSmLb6I7Gg9gkG
QEvYNEvtNeduzL+GibIxeMDgpCvc9oxIPmUD7CmCJ6sPEWBzO2nIgBmqraik/lJIcF6j/mUO7qYs
SSZcJP7BAUiWZEEP79mKU8cAKWVpxwEGqdt5hXlt7BR5xGyZAvT8oftpl8U88NhQ7EGO7fz+bKYy
BOhKRQaAJWwiT2m9zu4dVjCLDW9hDc+9hLkx7rIGxh4oB1F9bkewJE8IjCNo5a6wcQxLdqo9e14X
g+NL++Z0gNydnRtRNISD+hwklgG+EyjxxagKGDe+BW3D32BX4TyV+SC5O9vQchoKKoQMV0b80Dmi
y5pBxdum+za47E1fcnIvTKqGqpKOpC+2DZp5z1fQyGsCVcrwABHabsMo7USt7dcLK3dhezKqA4RC
CupXiCXOjcRxnVOokhz0B3UfvDJHhW0W1ONN3daewTkCGsDAW3pwL7grqD9CwAxxBOQ8+NhFpV2X
NSl5nvT1gHboQHjtypeFkV0452c22FV+4kAIyRCrTUuOB4C96UTZjN3G2KWbyppeWFQ59BATt4zW
UwprwfiFzXlmnDt9Uk+rMtTIc+G00JQ6cv76G8aNRYA9t8e1uEiNc+FlAp2KJiP/huTDLGk6qElY
DwM9jL47uhLyps0a5TkKwujfITuYL6AuMjI/ln5GKx+fv/dHyWjFuDxoxvdCcVT9NQyW3oX5gGAC
TFtHThMkVLjzHcXorJmaCvnS+Bo874xnFKLGYIOeXn6jAjK/Ls+tcYc7HSGRRdsKyWADvDT1Ci25
yM/2v5G/nO9LXWIsmHiBGD8NX+sLaRCqZoOpa3a5tNPj+yIdLRVqViLUwb/ehhdWCelz9CCB3BGE
yHxCpe/oGNGkPxj5yh9ui8HV6UJZ8UKQg7a1ExPczT+NQVcEcY9VCtYpxKQ9VvMTUhecHmgVkKf/
YERQGQPBAdODwDY/P9Rxo3f+oMFc/D3O7zUUkKKlKGd+dNEVwNh0VPbnjEky0gapijo0MYH6JQC7
QOAGH0xdDP4yuhvJkrnzHC97VY6ElURjLSpIFnE3RdIZowFQ0iExb+L4OkjBLQfE0E1TVFaJto7K
sFGPdr/eF5dWDRGcgpPLOqlmG6OARbXy20PjaJXFEr4m0pTRtW916BBb9PAubMMza9weoU2Ux4nQ
HrTYCnT4QMjYO6jqHACezXOL8ZFXdo9s0deDPD4i50EdnC7oXzBVKkg48J1WmpCIo9p0ENzGIEED
ldwCkAjPC9ianeym23QFH2yj2P6Vadimhgz+4sgv3Cpg6mafAEJ1qCBzYXkVg54GEQM+gvnOMpqm
3UEvBrKzodcdvh7upUkGxhRJfKQ3gN3l9hGRkryE5OWBpF4QvecxLpclgNKSCW4dJbNOM6npD2O0
8SMgHdNNYC4KTrJfwq/a6TjYhzh5tse6pwU0NI8XSocVizyGvBCIFV2zE2g6i3fKBcdOByvLn1PH
3f15l2tVkjGTEHSusD/iFdCOrNgeZ3a18t3UdL5erEWTnG8ni3pjDCVW6xfDjchEUltviNcj2CP7
dZN5/6VFLuxpjTIw/bo/VjvDdTpsGDZ3sHtjI9kKLErZQuRzcSHRFQpUC5JSUFA5X8gKcOi2h0El
ug98VFVNY2ESL21HcCSgtZbpIaF57NwAjXUKwbThIIxXIF6zh/K+Qi/6wrSxT8lvx1Mj3N4IOjRg
iMF4kExoU1SPaPL4ntvdFaNWGxWQhYgeq+D697K43PJ+aQZPbXObJNP7pgDF2qGG/+i0TwRKuqxd
TbzxH1DvgfDTMvXZxTmFZhpeWMAK0Gh7PqeGApKnJhsP/jdjxe5IJJeHLaVgWlNs0eo+IKJgOuXS
Vc0mcTbJf1rlkYJECdGKlY4HQx0dodwWBUjeACOa0iX3gVMmPr62MpjWoO0EsOwcaJWJJBsmQcYp
kJ4nMNYJbg71BpCDhVvlvvfQe2AnL51bIfVQ2CZywu0nvfulaP0+/F/wkd/+HNiZTvCl8Z5+Cu5o
ZGmINKosH5rnCGXItb6OwGGkXLNeUVa7KXcTCq+LEL4Ljs3Z2Lm1jaMJaZ+ejX1wmEzr8MbcGuNI
OhN60pJjc2n3ngxSY47PyUUuGHJYQ7sa5pAS2NW2Ajk6m8mEw8t4Kezo22L9cGGAfFASgqQwjTVM
K/jlRDd2u2Ib7Cu4ouqaDhYBJmfBxbh0Wk6HyEKYkyEWmTppLYYYSndC71H/e6QsXNvHIJ8/Gqcm
uGe9QgtCDtznQZSEVaE1DyFgx1P0PS53eVk541Q4QT6AKmKF3jErRxei+Rn01yQFkVk7enLygqZ5
KxlLN6tsvwZ9iLEtmtVUXKnmbSKpThjsxACcVoNXR0/Q09LjvSLf0e4gTrEn6MTtdXlh1jhwyr8O
IVicIVGK94HHygtNR/KokZFzqOAN1hN4rVihPLFA3Bw+JusKAfLS7mebez6Pf9rk7vE46bpiwjxG
6DEG/xGgdHS9XBXk2C5+DQ19AEhtsBCF34KS1lVTO8oIHuJr9VX+bFeBq952tui1XnBXAWEkrMDf
j9pWTBYFFhatc/uxT/UBHcHyIegddVt46EppPbRDpmhSsxE77/MNSIv2ihXtJqR0gszK+oW1vXjo
T8bPbVdBCuoC1cRDH8sWaV5DuuBUXFzGk9/P7J+cuDFtayK1jD1vfBmVe1X2zDpwiyJ0RQTSkmIb
48eCB3DxkJ+YZF8/MdlRudRyTGrzfuTHxWYN96HLKBsQpzEgaOjI91/bXJpFfrOixivJGKWk2uB0
R3ttvbBMXLvKz3165DBnzIeMi+J8UFGWJHmAq5LhB1nCT1Bu6JtmSTZBcxjS0yC2KxAcms4SORiH
XJxb5lYwVrXID3IFh9+Elou+ZuJm6oYlW+rHCFnUxUI92/TnJx8jBEcYqJQJoFu8S0NQ06ha04Cr
3bvI7KBKH6/8tehl7rhejObnm8VgdAkAWuNiZqLr5/M6tCgDxFP6AgXfxNM01HwjR7/v7ALknHbq
ka2MQtESx8V8u8AopGOO0hcgSeEWM+0USDA3+Uupo3u4WhPt4evteCFaOTfArZk0TBXanPOXKrfa
BNTpjNqU5XlEcE9ZjEZj6WHlWuzYLjHBcg0PjclLo8eOOwFS3rSZWk0H4I48pKS30Y+fGHzcZ6ty
x9T40pvuN7hS5ut3bpdzudGRrsSknw4TvR/r0PKVj4o+fj2b84gCJo6a2YBToImQW61RUYNxiMVD
rvduVBZ2k7S7flJcFORuNSO6rykUCr82eeHFPbfJLWDWkkLJqXggAMXcjG5yUCDVoD2mOxDa7ZNr
AcnHtbZwiV3YNaYkgsPOAAKC4AByc4kstalWgYhYQlv5K2ZRfQx32jGRFnhLF8uFlQMnEOoligEy
x1m2x6yyauw66dA126wEu77uxcbCyrFZOr9JTDDbALgOYiCAR0TucOddLATomD7I6YPk46i18sI6
sV09M4BMIFAcYI5RVG7XZ1FDGUvGoYfoSdnd+doqCvYg93D++nYACuZPO9zKYAcm0I6RD4oEojyz
Qn2CNUG/j4GTfBo/1wciNu7XVudPN2bvxCgX9OR6I1Adj1oef5fCWxr6ti+Dfky4Vkv8lW5lgOeP
Fv/3LNCq//l3/Ps9L8YKdCoN989/7sP3Kq/zz+bv7Mf+/W3nP/TPm+Ije2iqj49m/1rw33n2g/j9
v+w7r83r2T/crAFXwl37UY33H9BzaY5GEBKy7/zdL/7Px/G3PI7Fxz/+eM/bDGxJ9x9BmGd//PrS
5sc//mDsfP97+ut/fe36NcWPWXlT96/ZK/8TH691848/ZPNv0CmHviiAPEdqbCxE/8G+Ipl/M00E
xdjhSOpDZxlXU5ZXDf3HH4Kk/w3YTAnUusAJ4wCw1uM6b49fk7W/sdK2yNoJUc7G9v3jX5/t9uf2
/rkql6NjhQMi4FIExyHKPuAvBgmmCUGL80e0N5pArJq0sEbdNyZ7qND8A0rHkKTf/DKqVcg6jmKu
mRaoMo32tgc5ReiQUhglJ5eCCNEEWldF6NnLubFJy7YXHLFNY/+qpYWuP8pBSP1nSetLyLq10lCv
i7KOsl1OeuPHCMUL/bvfC5Y/GOorDI8gfYF0bG6HRJtAH9MkyhNYU8RqT0GdU9uFAvgC8vRmvhV7
1HFXRh/SwpYztC1d+Y0eEFuuEr9CUXVqS89UAB20VFDwKBYgqmbrgIEnR3++SUbiBlKqdJY0tRpw
3mIsfGuDQtM3nQTpG09CV8TB7OvxQ9ITehgIIJBW05ZGb5t6I2bPNQtxriOxHQRXH0AO4GKSxXGV
xfBgoY+cxaOXTmNX2W0RTajxShiyUyttjh5lKRNBVg4gOGhz1KnBkxCV0kMdtEO+6fUoh/peXCF9
XeVgL7W0zFQedYEW3Xe5Lo11D7mozE30EibQSiJ+1n7UfNelviaWMQI55kDA3DDXcdOKxkfVFAlq
hklKsp1O+r57nfKOiFujM2WKJzdts9GOOsHEh2xioW/faimm0Jav+wCVwFQwIgi5lOh/6Da0YNxG
PuTBu3JDUGyovCDNBnqXQJ2zPQB8aJFiVOWDCZkLAgohQSJuW4hSsZbBcjOtIaJoyDf+4NcJ5M4z
MtXg45Cnd78iWAtfaMG5oTVFDB1gNQ6fwHIEaKve6MQCl9sAxsJ8KtFh0QcSmIPTJkssPRsbeZ+a
4SRgMqLao4PfgAeoSxIrUhKELo2cfQ6yPr7HAa3DdRNGPdzwqdbqm6DNZGoHQ2ZmFvKe8W2njwOx
BYkiWTQ0sor8jS6BOzgB9ptaSU38Q5LEov+9zJq4dENj0uNrRU/ryYmVXDY8SaTjN0lszN4mfVuA
JFQtteojMgUKwqTBKIqnTKSFnNtg8vNHiA3IyCn4pjLgdcj6HMkhBHbpOpuSNN/2bdV0T2lXmaI9
QSHU2IYNKb1AFBuHDMNbFLWT8aOQkinbJV2dxDdhn5NsY0Q0JbsMp6UGS8uodzqYnkLoLFpKEGGP
+1OqBJ9pGVZkLzWSCIHHcgSTUJzpBE+UmgnfBtH3M4tkfvOqNBl9DvtAEWxw/kAU1SYB1dofTdn7
8QrKmCaCiawM1VupGcpurdbghb0qe1JnwAT3tWQL/dSF6JUdRb9ZVZoaiV7RjImGWKjq6E2hx3n9
mNBq6m06VINwj+6WqlijLvn/7F3Xltw4kv0izqE3r7RpyqoklaQXHpkWvQVov34vSr3dmSAn0ep9
3Yeds3N6uiIBAhGBiBv36gXw3LWaDTjT02gF6jgr7XE2G5p90Vtbm49LYdLVw5ccdH9Ia/Jlnlub
uFaFyp9fjKCjOVr6uqpPVJEgC+baeQJCrwawpPqcxfhZJ7OVxvZzN1ax+pBZuJQo7gzGfLcmKukD
u8gK80jbrFo+kbmyiOICCIfw5A1pqktnG+RC41nN0kY9zVorfVlr3J8TPoaC6Uw62bLf2Ora+K2d
0JMyKDWoZIqUyGvqLuhbJ8fU6BdgmRUtbiNVXo0Rqo0V2KWavC6mk7I44C7KU1Kgde1UaRPIxLC7
F0lWu9hd6Kq+THkcO08rfAiYpksF2hY5lYr1e57IpR46hWNI0ahaeX6fFZXmeKAtK5egGnATvEyG
MTw1igJN5brrmvtmbOMyGOBvoC4ylc0cGmMqrV+dIdPN6YRZsqzOgnrEpenu2iprYsieEatLFPtg
VwlagS8VSatSCSS7nZcBp6ZOwBiGSEJG+6MKERPrPJslvNcyGFn1HK+m8odejeXsgRDSUj/MWleN
rrOAx9iVq2a1g9WwpZ9ZTa13E5Qt3yOg6SDnycuh8zrIELeeNnas7pgOiXyfJhORfGJl2hcnXXRE
kyw3tBeqFcl7ve/aD1QjzuLNIHMYz6XcmplPrbQFbtLEiQ4Ls8wqVy/7xvZiEB7ZB/T21TbsHQvQ
BZc2c4ZJuQWj6GBM65c1sohjTRGVujF9KXM1N928rLvR+/8Miy4sw3rLOv57ivV+qDOSXWVYb//G
rxRLUf7DUhggZBhSQYMm1/+mWNZ/0FvBqChA2uBfwHTeXxmWhn/E/iXcLvxbqIqqfyVYmvyft6lw
6JgA7y9DX+h38iuuAgPWdNUGryMM6cj2lA0HfewUrZKoLRhRTtJj9w6SwSDTkB81MEgzwfvpLCLM
uX7xbg1iZZcVtLKCSLaiw2Cnnhp4DLmBg/9RpLlnqWd1XH8dyqus/7K9cv0S/NMchhAZQY4DqlXu
FbVMYDGzpapwC9KVbkydT6mcPI1UXwTPtR1DQEAxXlFA6JDGshfPZWXQyMvYXMsCnuqYVcRNNcNL
EKAucvc/8+PL5Vw/Ct+WAySKgXenwWg434bbLqyA5EhyzAJW2kp2raZw1bT0VOVJiSXBu5AdsYv3
55+mgEjCq50Rtb+96C9MpZY1GVYKU2OYvpcfzNJvj5rPpovTV6tw4xfwaYTKA/EHzOPWnuXL4q4n
B9v480dg+hcoBgzdYxD4elcn0oGnbi4Kd4EW6PPoL0E7YEIXam/PuZ98WB6tyPiI6WqkG23A2Fh0
aJZFt/ecA8hsfwT3BJEywHIUih8xnbIHgFqj0oeggRY5p+VFXO7a/cQXS+YKC8uIRmzKrDVj5hn1
p1i617RPTiECV+wdWFyLv7aWuxlybpC2kGGnMGXPMQbPBtu4oQkOLNubv6sY273jqgs1SCLMSoGV
WsNE/NT6VITRYn/hlgWulIC8mqrUZBbw/hqW+7F5XRFpl/FEFtElF62Gu+QD6SdpBB+ra3S2Bz13
4E9EZZ/ryshmw/hO6RSrFkXOXriS8jTLpTfnhj8XLzJpXaRueLMGw/zt9gHfnDjMMIPRn7X5AXyx
eNdFS2kZykStQGgJudIswhyTS41X1f5+287mxF3b4cH98GhmRjWkgLbUubp+olbsDcX7f2EE02Mg
1wNLFGYTrz0GMsRq1QcY0ecKhK6qlw/U7ZNGEFe2ToEt5sIOd7BjZJFT1cKO9giSL8io1K/pxwGQ
esa5IIuQlczPXR1yzhp3yPF9DGcsYI3N3jKMXhatgAhMvgEyvexRFKQ3Al8oswPRi6wArUtkLPxc
RBcbIPxt8OCuMzlSSzWDqDSGv53xqy3hv+RjFqhE+SBTNaJEgQSsXE/H2x9S+Bu4y6Y1ZluRAWxe
cy+3zxPV4qhWxs5PZjM9dqgJzFL22VKWQ4XOZr2mn+RG/XT7N+yd2Itt4Cd8IDFYY6oCP6HNMYnS
07AbnptSPdy2sg21bLcxf2hgKgSD4jqHDATs3sFRZrt9R98Ptse60s7DCIK4c/bcn2dPDe0w7d3i
ON0BHxmR1/xZNDS4zQS5H8HygYt4Xy2xDAAVfsT6yPhLdMymxIDDhM0xgcgToCmhCBHJMt/Nqb5c
N/vnFyZHXNOVaDBpgT34oXpYscmn1QelyL0Dog8FkGvrVN0xja3eVe6tE6gjQxEYgOuHwONyC+fC
uwlovmFgfBpC2fppPMZRhcYgOvUYpAXR8ccFCm3iedCNm+eMclEeAwlJU6swqkddYD8vQXJuH3OI
5qLsdmjPTENa+1qE6P6Ikaj6Joyhl4YXKNgqMTMD5Dz3qRvZzpdeQSULylQuhFxewL5CXbTSfTok
7rxMB7XDbZ+qd0s1nswcFFEoXw6Qnizs/mTUwCai3pNnUDLUjqbZeLoNSUzzD8n6aFAM+yTdc4ox
94FU/jhBrS9O/IpawPtaXquPHrFpqHXwmtT07TWSgezKx87tC/AUKi+mVuA82Kiyxb4ELu/OEQG/
trcay0fdESAz3YRsHLf3RlqBAZiVIvI0i8jQuLFaB5VJBdea63mBUx49ZjAGoneJLGsLepxo2TTm
rGJDbM/4bp5qsJW1Z631usxdgzJIfFHzd8cknh8oOskozoNS4w1BdHGjljTVWFkHLO8K0vU6xEyS
FAFt8vQWl4i7gGjvtvNikecyMmkYXLi0yP75hcW2IR3NNZavyPnqat3ozgn6RXP1pOupV+k9/o/6
t21urixvlAsNYOTOEXpgVI1GP/5JvBIrpSAp0T6qkOJj7BqiKSX+zjCTTG/ehPA8gypxPrqtzKRo
ary45mLI76ZpSE562xQimjH+bPJmuKuZG/HQZzFIyGmtBuVUPddOFcpd/+72DvIpHzODcMMGAqFu
slGm0JuadZZhpjeXxqUpKoGzDMAsxu//yHRD9L32Ng/NIJDIos2N+MYlS3Pd52C3hzk9Kp9SFA6j
2QIbavZUHmS83dxSh760SANHZJQ7mbnVWK1kwSjg+K5pn2tnEqxr72NdLos7hhAjKGy6wIJZJB/a
+Kys2dkisyDV5B84v77VX5vHcx5qAzpG4FFGZSEpDzpFOEKR2BiagMpG0FcCryVYE3/OmzhbVvAb
YRQOCATl0Et3UitgKxGZ4M64ZGdQMEBhxu07lIbn6WnJ2wwzt8vz7UMussOlF6tqTuCuhx0FPbmR
vLdrQGtNUWrOfi3vAEEege6pocmoMrFfceEANbIuikkgrMGow5aAeCuG0+ozG+yQjiJvy7VDWUzB
xcVsJm6RBV5F/vPksUqB3Ic1ElQP0wmCE9PP/liB+oNNZ1sFiAP6d+pBOH6+u8oLu9w3G9vRLNB2
K9xfTLFmEaWh6cuhFhgYkPBEXEab59XbOiHaB0yMA6fLw0LTZZhrA52sv/STV/mdFBAMSZdB5jz/
u/Vd2OOejXmrKQP0A1p3/sTA7tmpPhOIw0OL3hWrQ+96JghO43mFWTw0tq+PTIWOXzY7LHw5wycw
AD/S+I/bR383QkKE5C8T3PcqJ5PmE6vesVO5+gR1hM8z1H/HQPVnqLaC9gGqFUIQtGhl3JUbl8rs
0CyDR2zJk+ocabkK7tvupXbedIggP4hwfL13c782spEgDg9TESjOBIWL0jWk47/Zvwsz3HkAiV5t
9Szc21+6r8W5hFwdk95dT8mRPYiU7h8ci80T7O3QXxjlwiSUKwget8z33rPJ+XxwiwPjESpd85Ec
G82tI9H4gWg7uSA5zR1F2w/rBLXPc6IRry6Mr2ir/5sYdrEyLlJS24xRS2bbaYKbcqo9oz1U3Ryu
chMBAOcKvt5uyPzbHF9pijWbYFQH5swvLeYKf8qe7i0fmnvzKX3MPFAyp169ujSCpJRgobsX4MIy
d7UlC3NIE0s6pmwNlDT1e0Aobq9OZIK72qtSx83ATDikc80ktPr/qwXuFivEtno1xfapRf+ll6yH
oVKj24vg4Om/Ahk4s0DyxEZON1RPUzJozixnqOx7gHUc+0dI6ro5Yhj5VEmucz8HX0+tV/6Re4ri
WqKy9O5D6cI830hpNDmRMGnE/OMMWXkggbOfDWZArUgLzPmnmJ/4v1jEFCp0/qD5zL86J0sG0KH6
0yLzyKhepSEjJmt8Z/osfrEILXI+rEqybF4t5Ap9KJ/AWIyiYRIp0ewpQR5IviLymexs85kQAFF/
rZBzX8pQZnbXYYXyyQhHMDkErHKjBAP+X+F77O0L3bLGeS5HX6cOslLsTUGP2plRj+th+U8ok/Yu
3OW6OOdFsoVaQPL8ykXYsJRWMDUTyxtAZNR+sQvLpx9EXaedFxroD1n5AAPoNtCS13HOiCfSdioq
cEMDwZambHt/yOvzbAxflnHQft+nIJsE4zhD2qHuyy1Rgy5qv8QOk/ZATbkERX8ucsrse3Df69IE
P9dXyhR9vMoBmw95NwMx4dRaCCcN2bRDuqDUR81/syY0ARjiHz1TPjEfjbo3lsJuUeYZnseuO5R2
9eO2F9uJnjYM2Ej8Mc+9cWK6NsSOPaG7bOg/x6GNSK4dxvn3+MHeXOWlFd5XpSSuUqAJ87dcrnvH
2HRBAc7UXjzAeATvP/aluc9ko57DVCRNdJn5c4f4hSbgAmNMgLE40UNzBxWBSMRns5fgg1UB6ANA
ECxrIxVL6qrUjJaVHCAMqvkJFJB0N3nq3Rx1MVFU3nOFV9a4mGmuILQyG1hLj6yLzayNuL5sxDP9
B/Z2PMbbgAkkslnNw+I84aJ2q1KowOJMTQCJZb8dBv/2ydvJFcEjCt0f3FjIN8PpXvsHbWzizq67
HCtaPCU0PXM6MofLAtisu9l34BIFMXvnm13b5HYxVpIE7U80/yc0Q1zW9HI8JYof2Zj6v4iY4GnA
qBXKbnCCjByFc0ppU7cg3xiQxYGfkTW9RhcFj2D1MO2M+CXiaOQ9LmeO77yu1loYgEQWbm78mK2f
Lfk42Y+dLaIi4s/GmxkFkBQTmGuQ2nCOHTiwWO/spMMLHq2GQDtXmCEHcPRuChk9j6x4Frb33e3j
smMUmbUDxAg2FC1/7rQMclmQUQVa1jTOBSl9hbYCb7s5HFjXlQn+cKxWPdoUJvI7MEK6ENc9fi/d
/isbnhY913m/y9vi9hDSd8kK8aPWXcvYKyjG8dtPVvVv9gwhmI3EoS/OM8+TkVTQZIU+aQ8+kBxx
xChEaejeZ0EjQgOtKsLuplxfNnmxpjrCrqpW8ym3cu1I1M4W1Nt4l45TBjJQAJPQ6wDVEO8qprHR
ksqaKmCS6jvgnomrD05kovlk98ahlqvz4kj3GEO3BIa3y2OGWVmMAfc3JMGGM+QAWo5ATEs/xzJq
M8Hf3x6Dq7/PE//2Rp4vSgvq+sLOfZTlPXU9K1oriIhvmcllSHzbP8DjLBTLUYDjWXkqU4Eiag/x
V23UleroYLZIck0CmfjamF17/arIcg3QP4TCW8dK74wFM0fq0HZRXCyr7iUTBgYkVYJibmE7gU3S
/GWZey3KKtWBhqv9pRxQ7PKKwTQOpB7iCeqs5KdsLQ+UkO/YAy9ZYsPPiIZRty4HUDUBK0KZLI43
j53mQUERsqFrXQfFmDX+RNTmkz3bzg99MYHobXQcK8yMh5MzOniBx/17VUn1SDZJ4lldC7x2MVTH
XFPGO5mOkj85eO+1WamIdpLLLbCRgK7hOuH+YviHn3arjB6j3iMFeq37bI/PnfOt6F5vO7qdI3Fl
gh3Ji2psW1kYCl5gouj+IMbTOH4zY8Gp2znVWADOM3vIAYTJBXfdAnnCYgLBqE/y+AiUHDmqxlKJ
sr5rLiiIeTBONcymwPEwyhSeLqhsu7GRZobMRAUvA3WqfrQifGahdvimpvxmSVfQpGTLcfhEuQRd
i5QtKJRApxx9/9pfZ2hHR50/Yk51NT3MiUeGfccwfrc/1p5lwHRAUMRUKbedWKRlSeIkdfXnGpN3
csBoOBi1vLag+6555CUNlFoUq/iXKlb8xi6PRQMAa8pcZuEMtQ2c/ttbpAf6wNRnv5uJisYz6rWt
V0yOjtIK9KdLN5NMCDEn+qB/AOZecYmUrr3oW7N4xXkYBT1FoD9YU97mASCLrBBrXEBPzuaSmYxX
At5yCwkxIwcQF/020Bqs/8oeF6vRxyQZJH4Qq4/ZoX6khxmkBHrIUu9GcOc3qTezhcuO/2Dso4ij
1zdySS3iTL3D4BUsTc2C3ADDGNOT6CM8M4zcFfF6swvI7+aFRf6lWTXW6GAkCWGBvJMxLCyPxxUO
WsupayV9KDjDO99O1aBOw4ZAFZwPLhdRM1WhVYazREB3mnqM5MFGGQvyMccxGs6igu1btOZWd2WP
83BLOwI/YaxIRx77o/NavtBv+mcJswwLWO4HX/bzoP0AzBv0j/tnBkbTfgAr/H9cNHPDF252rEEi
KudYdO+v4RLUPib3w/5MwWeWntt70aJ3vTpG5EDRiwfPputV2ZMJoZC0dW3tUzpFbQv5aF0QOXYS
WESnCyPcpUho3zeGg7H2+s5o3F8MbcQ3P7EeEAQuBD5od0kYZ9dB64qGOE9eOOvTtNojAQueJnuW
TgNt0o768iL4UOxHc6fF0P42o3HEO8gwaRf3E3r8+FAxJKShHANN6lD6qUPNRfTO3guNl9b4Z0ZR
r7ZBEX0xpRblmn6AWoCg/7MXM1ChwigoI6hVN2hVouXr6HSoueR3CfiDIL1TPWcnzMmckwr9mclv
wr5zh4Pog+05MoAXIFIGDk3ESX4SdTHyStekmpVhfjkyKffkMcC0ElynfBjHe9F2brp4LDJfmuSu
mU3aFhr2MJkfGYsR8DwtGNR10CRSLy98FXe9vhdJyO59REihAEGrQKQWYgzXd7uZlkyZKaiwtLlz
beWuKj7fPpQ7BlATQQYITAPSJ/4FnJfErtpizl3ZBlJHNr1WhAnfefFcWeB8JLSnqE1n1F/KY3/U
wPDD1KfESo17Z/HKDvd95K6VVXvESqaTjD5CcRjvMGXCtHGySPqSvH/TMQJrcnR7AzfNE5yLK7tc
ZX/VS6IubAcHTBK/1Ix9HmM7nea2ltt8ZyUSpkLFnD/kVg71H8LEbSeBuvoB3BnRknLN2xo/wHn5
BRVNfe0dq/VXQlZ/0be0r48jqFUUtWxhKmk+JrPlaSvmTV/t5WWVZRDEzaE0xv7t/RV+Vy5nQQ+v
bCV2fljuPYJLK/Ogsw2FkNGNBr+IAZtyk9btIxEvwrYGBe0TEGWACQvPdVCFXi92dNIyl7q0ca0M
kNDybK2Jb66vlD7eXiH7O1xYQF2ZiR6h+KopfElAM4u5yAdU8tTmAePjP4fSwizDg2R/TFVbcFp3
rvuVLS6u9i2QWMPiYFLbnlxH+zxMImrjza7hgQ2pKFUFoEIDmwH3ubJUb9NVBs083mb3c6w8mYAe
Slr9MVlXUTq7Cahvtkyom+p4QmzUWa3eyZMyKfHeByUwk31zQOAK7kyIcUbLN0XI1rJJLzl73PEf
6Gqs0y97CpSWiqDy6m9MLlAP+8h40o6/eTBgztHw2kS/BD0v/i0oV2BCsC1spVPmeICsVlhS+Wvu
ZKdFNg6lRj7ctrd1ZZxBzpU1K800YsAg9ce3/Yydj/R1zb0xgYj4hBjXRtJ7u3IT6jrHHjPqH5Q8
uP0jNieU/QbGlA5UMAis+YBk0Sp2Mg0PBqqXrkTCsvl628A2d2AWAMiVAdyCdCyf7VmSTKc0SzGv
7qpvUttgOfHVJ+Yxy+fJFSUOOwvCcx6M1Q5QYnAm3Jukso2Y9CUGCBqgjwdQTKyL4FJvs2VM1+io
UDDNNMdGWnTtqVINTdGxrGs31wMmf8JI+8AZQ5BbQv8kEIW8XXuGjvl31i+ClBK3pNkcZ7MrBmhz
BHaP7Hw9FMj2yJ0e/pPRhG3mxYaHLsyxHb544DR5rpgZZvbdHjoWbg2VFXBIVtHopdA1U93hE6vV
/wN67B33cmWX29YCE01WV8PuGGKZms/YuOdTdZyODIj22zA7nVsmd/vMObNbKQZmn749zpkqFT3U
KAdgWw+L5QquwaamxZnjwtuU25MkZ1gdZO3fazCVHfXQPos1/RgHznWA4yxxbrPO51mbZSzMerQI
3sZh94DJUDCrZl4bDH7z3j6sJSb4Aw0DVCjMeoKViuxzIUm1EqqOLVaqRwBXe/pP0+ugwlAf6o+Q
dvqcSffLp/Sw2ihxMUEU4Yfd8QAYEHdQusNUHdQFuJdYgv6IXDkrrucRmFSA5B66CCwI3hyUhwxM
TyUI70TJy56XuzLKRfqiiZulSVBqYS+kPvOH+/HggBvRDJvHZPoHE0Q7gR+1EDQIAaJEPZkfD7aH
ajHWHKucpxcnjibNcQfz2NifBV+T3bqrdAls/HBx0FYE5hBPT243y7h07Jz17Fi9zHht7isPsvOM
olfGZFQBulLPDEQ9O3ZEbxnldnNWLLOipl5jssJM3GQ8Fvbsx+nDtL6QAu7I+u0qJLdKzsU6kr6S
rDTqt35rDFW3xnOC9CMoYvDOTHzRcdndVM10ZAg8K2Dn4cxJ9exIPbByuIVT8rEEkj5wcmkFy8xQ
Brc/4NtB4PYSTAkAg+iQWNA24u2kJPU4roBCqdWapO5YT+PrmDStS0k5HzExox/7njh471rN4o9D
1X1uwHUEYD9Uaa25kVCqHBeXrJPy1DbUrLx07Iwn5Jrq5K66sXqNtvR3qQNGM/AiGt30mPe2ubhx
twzKfV6tVuwO9hznXtwQ7WDU61x7i1HMD6mOzlzcorPu973yqNkZuBB6UkORth0wsdPR/pgZoPdo
mgFNolW2C6SBmjGGGZIWcAhloCJp46Z/djLbPNEpzkJ5yjE2l2gYFuiHDiKYmV2V4SKtVeCUNP+k
FkZ86FuZHG/vM0cliqYFKqAovSKHAmu9jCfiddgk9lIlndQwD/ALVod3Kah9vinP6nH2nAgzjP7y
WjV+8nrb8vYwXRvm/H0+NiQF5SU8Qf1YW6fM/mAogr7P1gSGMyFygxov6BfRsL1emwbeIzJVUAfT
IMUxoKSWlF+yXOBqdvw22iEoCWI2T0f1hTMCdpgO5BiIW45zNPo7ZXp/e5/YB+AvwuXf5wJ+79DE
0YChdmtHdfVEBRrgSZJe5JEe7eFPRpj/Sr7BgtzWGChM0NtRQS7G3XB5VIeEKlP9hiUaIvtYHBnR
8m+jAdDLAAAGySh7lm20NYsOYkeg3qndLnley08xNCLxeLi9b9uWCTOCUMoQefgyPHxzrFdHyVSs
JT/S43Sf+oyjGvyIp/4+DgS2mGff7NuFLe4jLVCcaVMdC8qgnvsQR0OU+tRdQAYQsKRTZG/3zF2Y
4y4tVaDqWrNcaVXG9X7q49oreqqJVrVjBu4BU2Co4bPBBC6ItjYKujkrqugQtfDsU5e4xBsPC6qa
bzzD2uwWQh3pnSMIVCOIQPEWwovW5IIoBaqIlBmAX/JpvSsh912xF8MhFyg876U+SENQkwamDeq1
JreHTjbnqUNhZzrVAM6RCPougfqDQjcE7Cj36r85jyZIYPDywtLAcsoWfvFAKfrGJOYAg/kRmcFz
5X0HqZ+bH+SDcbx9HJnL4U4jw0+ylxeexptyrblotMtKHX9cHbSHpTf7b6Mjya9KLhXhbVM7rzwk
AqBMBuUjOmob2Und7sCIV4G6mGmhgAoP8EBctAoql4SBiEVp8raZpmAEB4tDxY0RMfFn0oorrU0N
q3U7NO90VFfiY32mr8WzfVyfB83tD+A+XPwcYSt5AfdApgSNIHJti41wKQpzkRDAM7TNvUhrc4o1
Pe/wG0bfgW7pYcXZMaLqff5Qv7Mipogk7r3vLf3KLHczLLAbN5YGs6zwomG7jScw6z05YQOUOOP2
Kbzirv9aQRQJL2w/Fd2Y7c28XjYfHHSwHqCnAiYQqIWVIKG3IXhxQPP/1YbcTkKO49fKr6P5CVsf
Ts+3D9r2TMM4+u0yCgqgvuW9eUOmxQK4qwMd/kNcnA3zvb4KS3fMoV1fnGsjnBtfy4ZYSVKwVwPe
JsDDKdF0x+Bw4oLPzsUBPZICvkEVpTtN5kuguZ0O6iJlHeoGIMnG11t/SXwyivEMehuCNGLv4+kg
UEcVFGPEG+VsfSxXJc+AlWQf738bLLIQcbp9AjHSp7/NsJBy4eSMpJ7nvsWLpNeTR/BzHlqIaLsY
WHqdifxiTSjD58UkOpns5PHfDbA1GaxXOt4MfBFe0qQlj2uzxV4yjnjlFUwJnW+++YH+QwwR+9uH
cSd4YJUXBrnkVaEN7XQJHrY8GiE2dX5JQ5R9PMVrESNTjH2J6hPs6G2XaCMWgyV7m81Yk9x1cPit
m/3sVTy7PNu4UzoRW9neqTSYbKkNPXeUIvhTGRugMo5BNftWLGeTEyvmNECJChxTISat2aZNeHs4
MAQVOzQw+WqAZMcrGG1Q9TQe8fJiQ5yFR08DRouPTVhH5u8nNMjQIUAIIV+ITgHGeX06m3pY67ZD
jad1INurRwvgHxbxWINdUd8rHlN2E3XedhzXlU3uRoBPIgPBKD6cNv4xyX9UkGclvykIwV5xuHSO
AeIKYAcQhLlkpsqWrsM7unVT8Or+XALT00Lmmi3iNjUE2CBgcmQsC+WHWPZu3wX2+7mDCbZ/JjjN
GmBo51zvaZJVFOTDGHtRqr4/6GCx9e1pqgQggp1dBO8J2BXxzAIBDR/2VWUtlXQBVjlrFlcZwVWb
nkxRYN9ZypURLsBOy2xXVIORrjwqGKZrcsW9vVk7z23WQsdTW0MXD/xB3G7Ns15bi4I6BQmIjRc3
I+2pELyTwIL7IO8VAHRcVl8UsWHs1MdRiMbBZ1EHPTf+ZueTMmdV0wEnE5GvFvHJ7KUvps8aGi0U
e5TZszKQ9fz+8WdmISMgY7l4UnInkyICNnIOUGSd3YGDKlFfxkxUBmN/4/oIMhvAyGN6A8zC/Ds/
Qawxh65nI/ZToGYeAEcpRm/xdtDBMOIgKXG87kd7ah4pQnsk+KRbJwbrGPcxUBDDm4XvRRnEaQhV
gEJawSvGHhLjwQqs58WHtIYv2s5tGL82xnkTvGMgSA5ULoZw+iOkMM+M1FCshLTzeIYdzBSB7Y/h
WXiHQpsirgp2TnvkmiskBpJTeYZani/mo9nMBaLCd2WLC6aLOUnJIrW5u6hQr2nB8pM3bgVBx5pA
hQjD8HnYQ8aqNjSBU/kvq4Sah6qiObyBNy+NVKirBRwt5jdOLC1ywI5pu/QBjF2H28dk61sMKIka
yGFx91XT5j7ciG9mGSoAcdjUT63efKhLET/kNvcCPwyj8VcB32c1vWtPbLf12qDJghqoKbtZ238q
u/kcJ7U3Lah9T118bhpR5rX1y9c2OX9mV7JUFAPQd0yo3shctUQYTxDG+6D/OIEQDFDh5Syqf+xa
RbhTgUQGtIxHWoPnG+/sElA8TCh65SD5tO0OzvDutz8ZJur+tsLtZ4xSmAHa+sYFq/rBVIlv6MnT
bRN7C2F6rwxeD2AzH9bINDjQX4YaCWYKPtSS7PVxFYADSzTKuRk+wx1DWgzoNnSGHFTTOTc8Zwk1
G8Nkz/TkAbTcAdAZb3kPg2xDw71eKgjFCxOuHd94ZZa72mVK1LlVcTzAOnikL4yqGKKlfvsOaoJ+
9/tXTLFskKxAJ9Fhsr3X539QiGKQGVO/DdLjGgJ5k+BA7KT9huqwITDUVAAk4UEBDXhR5V5hy3le
Q+WuQ7+l8EjYfk28FkJiIlDATqEB9gDMxYMNZS+AGK9XZGaknqwJNxoKxI8dCasMWP8s6NGFjb/P
nQcJm1+TdaJsYedcorzCaLNQIkNo5bYSagidUkJHACo5d0tB8WZLgVQLbh/+nceGASUe7CVeNTZg
muxXXDwWiabRWYX0BEpw9M4KWRFlCPOHBMOCaPCKrDFXxGUJUE5B2o8KAr4d7zSMDhXh3n5LgDAn
G5Tfmdo5e7I1n+1XMbJ2ZwuvzHHeY1DXpMtMxBbqjP4Mws288TE14N7eQ5EVzv+iJ1FQncKKXL4U
zkcIR2u14NTvhBWceOgrY+gDkzp8ylqVYBKCKkHjKjJgKfm7an1eNRtt2/vJuF/Jt99eECrNEK8B
YYyFbJw78gjGbS9THPlGerXmH7b2U00/3zaxfUobVya4L7M0xUqULMFTmmI+cCymL6hi+rMu+xA/
FJy6nbCPJoeFqVjAiHCX2fe7OOJA3BNNqaH3i9KSpzQH1aLe7dXs3SI8wJA8wFeAR5Af14izFF1n
BbfIemEVWKAGfiTHCby2feT4Ilz/3noujPGTGk2FmwxGA3jAvHdb/dBqItezl5RdrsfgTkCb66Od
qDBB/RqdG+Zk4zsDBQh6L8zdtwU/sPb/vXeg5r/6PFLLRmRZOl3faWF3wkyiR9Ejap6qUERut/cA
u7LFXVVaKN1ATaxLPilhGypnqXh2PAqB2z5SmpDep8/2g2jYZcc/XBrllfgkPPhwoZDDEOu1SCDa
qpReVxTCdy3bKM65IkCBUYHxUaCrwgUMq6wTqLJQ5O0fZ7wWFHd9zaL4xQxBdvwi/Gy7p/DCGpdW
oJ6i9jULHNDQDRbD7UGc2XhQfcoy1PyoxypwnjAa7x6WC6vsbXZxlx0CnZjCQQCx783TEFX3wDfe
d4B5ZaFoIGrnUoMqgOlI2JCSANqCOyxzYSxDDzZSvEyaj+MdqHZOKnwVGvKNnyNARr/tRGAP814O
2rHwvfx7T+5HWWopkBBM71n3Sn+ajkwjUg2bcJwOQu7iLa7s2h73BdWqo4upY33OC7iTIbRpHoew
ffgHiH+2U9cnk1lCUQwVCDDn8vWpBYQznWHWzJ1MqIsp7niA9g6AQGDjiKaziFNnezRhDs1zqKAZ
yNv4WVMQLuR93JRw+OOpLzrPwbvh9rcSWeC2bhoHoqgxPlVSAmFoJoHcUUHU4gQ831AhqoaCCoY8
ITKy6RZUGKuqZgtHff0+oIxOXBLhNLiDXz5033EQUcV/YF2mrvXXyY2/3l7hNkBjDy+ssx24uGiV
HetmqWGFnQGGkRqTM5kVSa0D9TZBBWDfEirQKE4xShgu1oxOmYytha8Fwk4kn4O8PDRgUA70fGgO
hFJHFKx3Pt5bHgASFTbez5eqbChglamNfG3pMTiqBta3Hiy4bjF4ppseyGMG6V6oO9zezz1vcmWV
bcPFhhqyBN06gs/5i8FiPijoUoSDb2IKajgoPwTmmLPnrhx0iYGdRm0AlMY8d0U5xMRcauhWW6k7
hwjhzwjhPybNZfzcY8A4XNTXg/G0vBMY3rnrKEKzKTMMd+K6c9nWanWdUYDEGXEhe5j98X3pp77j
oUYWKeDmFhXjwLKzjXvoprHIZ+Jx7WyS4xlEoo0yGt8rdpC8PJfr6r2Wtcr6MLZy8gp2wFI+OFVZ
vhunwqDuJK9d7LFqehZ1U1tOD1WWauuzka7AvbbFOIY1Qrbq9mvZaaEKBNy7WOniFGIfegXumxrk
zR5SfjBU53NPM0+dSWa7hTFm57SZq0dkZDUgemk39drZsatpifS+roB/XKkkndNUll81zC/jS0Dk
bziYybBIAYQjizsrrfVHLZ7ro9XHEuC2rVz58ZDmh6ToHSfq6gwxd25J8VTJznouq9gOzXxBWOrn
5MWUyNfcUkCRhnwU4+ArA8Qt1AP3geFmc42na7mOXqxYXWDaENOLIXLoEnXSQdRhfu+UJf0Um0m+
uKPGeOYAz28rryPtlDy2Y6IdgPxzUCtBT16jhjuDvIx+sIY+NaK+aTvDl41Bbl1nlqQkpC11bG+i
jYppUGcC7K5Mk/JJaVAtBj8IFEsdolYW3gAAbPr4n7WS349kqcKuNewkWvS1f5Uh41b5gxwnNKzi
1nicRwqXRGobMoVNQaXsvqj7sgNDVtZaD5jP0f6HvS/rjRzHsv4rg3pnjahdwHQ/aAnF4vCettMv
gtPOJKldXCRKv35OVHd/U5lVX+X0+wCFApzhCDm0XF7es32eEA5YwFETBFO6sawVTXWHfa76huuk
7jEhZ7pclqRn6SKXJgeRYLzzN9+56hf7EU3UpItuuh3iAnkax5Yee5yhYtridVeJ5RgSea02yJvg
bxXualpjBDEnyB307Nku9HJvUMy+5+oz3NbKKhkfCZI3c9Mi7Mdl640H2XzWgcSZy4CNOVWBQMyk
vR/WiU/p2lu2phr6eTVsCyzd+7B3EF5o210dzNNa4J7xkdliw0wPsn8NbA82yxIQxMO5x7Fa9W5z
J5WpqfdTB+UzjreDK0Fn1iNcYNUTQg+zYPa/dheTeIIYRZU4c+5oB5EfY4J5ucMhL2/1Vph+GXee
1udKW3LCcb2yVuA2CK/AxGxXKVF2HBZkg4rvnHlAEGdrnzskdd6byGc4DTAlDF3BjqytbMlZuGeB
8954yZuvNUzqwdpPOYL/YpiczJHaxaa6YUAOlg61eHQPzcruLwftiHtsJTkEHeC1SBp9gMT1PhlH
GFMFHUWeU+O+bghs7TLMpuAJgvicHJcxcxta0mTsLyHw6xms5zr3JDzCQRRrdqACuS+TmK9NhYJo
+tdhq3ZOUvNskubWMVPeJWGu6uFqjXrM6CpsSbQ4ujY60K7ZAyPbh0GVdyyUCIGpz8g8PG/NhitW
48yjP3YPISXIAhXOmiEK8YtJ+hjD2Ha/yOhBdhZ/Rwd4K+lXr6ji5YFCrbGPqHloRzj0tBwlxJpJ
pV7XwepoNbdxRCXCAKKtiAgpx3UtFavK0JufQtaXCdnc50U1Y2mb2V61tR8WcSc+VfX22vN2z7vR
HEbXqHLamptxJF7ma78QPM540DyDuvtl8Od7sM1y4XCg6MlD29grw6o8rpw8GKqzpZBvkTbK3HjF
o+Z/OAQMXQ5Dpn7OF6/S8HQLvtDNHpYpuVWO9AvXI0s6eK3MplGZtN/mIxwkkaE4efccmYopRJG7
aUa6INUpcimLrW9BZ3bJM+5TtB7C3nDRtxnibG/wjV7cnpTCHW/laPfoG8pNR0DrpKoy3tXxtZVT
UrDVfdo8dxc69XA2xNUZYgxhoM45O9BJk3IK61J24fMc9vfW5/3e76GolXE93QfQHKV8QCDj6C0v
LUHKxmRblVseR+kKXL5QVVCdCLLNXcQhnIaeO1mIEl90Xnwwk91PgX2YO5I1zccgKcGUxuZAqLLQ
w4A3bBHCiMqJjPtoD2sZkKei4ZUEczmEw6vl055uzT2ChPdtx17isSkmvZVx7eIpoc0RrnqnmvR+
Fm6OwqlbgSxo5+gPvklH+N2k2GhmW4xbn8BLkifb9RZEb1GHUl1DkSnnM4fcfCcGjN3k+Lz6YEyw
7Vk6kyo8xviN14C3wbfgkkDgJ7utdWTR9M7j1qDTradxPDqdh4vkIyaK0KRwYGrd6OTsiJmllXLu
5xUTiSo6rXH/pkKALUh++1jrYU8G/+BX3SmY6QvybhmiK8ipW9kTXJfLKhZX/mSvR+GjqrfJTdyQ
FzZ6WA8jWIvI9TrqmlNvp09d6LwMNOE7EvS7BvnBuTt7cETUKwrIqIObDgGWUE3Sq55UohCEIxy0
gyfKaEFyWHl34Wmu91vjXIUTu52iqPQFd+4FpKumqOP5DV0Tu2txSmRho47X53oZFiyFjQvrQLUm
+QgKVi475GUhEBfLB0uglGFBnxEEB+dtzb4geLMvdec6TyhnzIPp/MrpsY4D+RTPugIT2jB6Iwly
oyJlTc5dsOiDfvXzWrXrTknkBnV1TzNeq+V67fVaur2qEB03RIKXlZS48Zy5zfyhbjO4lYoSeZ9x
RkN4wsfSHwqz0g1jG0R1fqaksSZ1liZ+UaZnbx4myfmi6Vr4kR1zd8Wkr7kkGnRjZK47T9WfYOJC
c99puyLSi3Po3FAc0DQ9U8dUU9p6cso2icxg03UQ+3KkO58EQ222k/dh1hUBvj1DgmwR1lOSd2QT
r1uSkGfMzto2F56ZPq1dBXJEZ5BqivRVJLSaiQ25rDyY8VlMEXpGOuBYIa5CKhAkt0EI0KMhWQTx
SrIhEtrfvCrvpxjxeoqtpWRNU8xVJ7Na6uomSZT5aBBl/FEJNITZuG7yXqCSPNJEhaUfaltlA8JS
dQ4OUc922MmhN3Sixo7pEK2dzly9Cdg6bXGTLcg6TSVgnZQ08XvP1ZguBPdVBFdwSqMPE3ga2D3M
ptuFXsEJ8sCIup4RBJuO4XY/NMltvOFKjWP03omwHAd32bVrchSb4+8lyHZpUkdfXCTVIyp7dUF7
gPZIyp311GOk7YLgVuwXYMhoT50J/Ue2Mf8wEVIV0ZRogaSGcPZSVsN8D105fYjXuC0R3PyIHgKn
pvuoAnMItLf3Sd9fLQmZQBPZvJPLltFmoNtlLBjKuWf3wo9Lp98OtQpKoavCNCgF47jrFUlnP8zq
aT5A5h0iaW98nPn2zVDUP7aY0h8XkXXN4u2UdUwZaknvVOAj92aNnAKrRn/kVsNua7PyAYZ+a+kE
NYyMRz7mmN4+bl30RsJoyYVIqsyP7cUmbKkL681BngTSHqPNPFFEs8bogkvjshdfLiLt/Mk5jI75
XJF5v9Q4T7pvsqrTd7U3XtdYAROL8tqS0tHcKcyUmCHrtvoZk9QiafpXeqEGSeXeiJVVKaxUFEq+
VPtobsDmcdYbRqPqkAxugzUXOb7OTPfV0qMzis41CVXa1S3JCFd3IVaQNJoHCc8c7mZdr06rXvYt
75GwBzuFZMqx1N40fbtjXluuI5OwMTG7TbLCLsgeRpBJKurwnFQXqjf85mj8BBbxO6vGrw3zXyWa
qcmQG4qE5Tw0tSn6plJlt1S37jC88WS49UWDaAECuodCYc4XBDIXmA2a1A7dmFuP4ulq/X5Hq6ls
wiCEI7ZBVju181U7DvGZeiTM2g4SnYGP5x7h1rg3JU+XAJFFFj28cfbuMJYzRrZLlBSyRtTXLNov
1J/0qVprnSWVI4rVjfpPKGRVWSE3unKHou/oSTQil3DnPblamgfhQ/3aIvUZgCEms2PaL/0dwiur
NxYEKPGxvh26+AJpI9uJAVLUbhuntWXLvl6tBaJeJ6bLaj2INuN8sfkYOhIPQutxv+j7ODToIHT9
1Ezt7WijslEfm5yOicaO2FNZQvs9YqwyaH9P4TIdF7l962t2kTAh0br21d40C925XReUJmyxyamb
a4vk6h1oBrki5j4SoXfy6PrNixG2GW0qcwJ5iJE/KAzmvK1jhldqFDnVTgWJb0e3wl0WuUuq7RAt
iGB3EJacU3+z17ZTH711ol1nVJIKd0P+dYMt2qbWl3UzXZLaOSKQPQkFzCTg84ohb1dH81sLZNk5
ofbVW4leNdw7IU7CWq+XGqXQVIGOYAeYGvEIvRXWTOcLutfh85T0kc3rMaiyaqk6uPeo0O6wktMR
p3wJ9k6l1vPGA33V1RLN9UzDgllrd90SSJbiCodw+ItmeKrC9ryb0aFXPseWxbgH7WCjGc5j/Tbp
pC7bZaxK3+mrOW1JbL6qaJyeNqfrtqxe2+rNG/uozgwlIJ+QKmzrTJia4nkxLD4gnpwU08jnAptM
GJ2PYVgOUwBpu1O1DxgLeAckwW2pUIgqwYggzkTgrx42BgtStt1kXu8c0DJESjqBlkfr2mGZr+ZF
FJ2zjrfW0hVMhm1pHzENloeWT16AYHhveYpJzE+do+qbOvLblxaxv2c/liByOHO/S8BPu1FBT74O
3QQNp1y6OcoCF2K8iHtDDlSLQcmzxvo+dmycRtrAcbEmWn5aXW/p0I9r9zViMK1JQVI0Sx5q3745
XBCJ1XCAaAqU7/ETcVX9zGpbXa1DZFNJx9uBTGwXByt2ukp9iiPhnxBlbc8G+nKElLW2PRBsUIsa
9jtbRvtEwexkWfUJrbDz4ckhLkPBZ8DXyrpH41iQtngLf1qj+LVoGjxn8JrPmdfQkwzaYBevszi7
E6ynVxXBeLjnzSe5JO6+Yz22DFZ2AusWHn/E2/tF2PH4NM7CjOCCxfU+dAYwUcwMmQIGp/xqXmZY
RsGDcZfUlcrGdnb91IuW6ZvbhPF4JD5rd1E/zFfQJS3+CTaf2Gt0gpF7BO41T9EwujLtozmAG5Rm
UZS2Mu6ejb/S+2ZAjFiaRDrEDj/EJmOHgQCKMnfaas0GqENeFVz02pQOMILEcCNEP8P9gZ/ZhCUn
C4dldPPqghcuEjbbcqk+JNQ9WOsnmP2JQZ1NLapPwTIhhS1ZG2fXhWp6k0G8ntTMbRFGNVqW3tn0
h4vtzuM88/Zp1ELMmYPd8n4ZYngAsxADudUk9kp5rXNWsy/yUa+og9gM0QUDgGRN0QGuGRsb5LQm
i3OdVKTar21C9lpNrknRw8yAUfk2XYmIJlnddmjM9DLxXOmlOfnLIPbEc71zwBoKm4aLUDQa8A/I
rovYF7+KyB77WtQAGy7NFa4vulB4AV3TcRuKyWlh2D7F+jEc6+pmitbxccBD+m4mYBJ2puTWd2tz
rHQDOSfi7PM+GBBxJ8RSzqhAxyQy/CUJBcJ/qyAAFIXO80q2o7hZ1doEae0pedVARXzyXOLczFZr
J6V8HNiFQwJLv9Ffn9t+kZjHKQKJkJDDZ2NnL68azmnqJCiXGIhFwWuz1fHVIJmDC32JfFpgoPhg
0Za5GdztdI2+DttgVtMoG8zyNDp1s1tipb8OuOFOZvT9KaPO6pxFohXm7p1V77W7xSffQiqQBTYy
rygH05PBA3wje38EhaaZJojLvJEgzE0otUebDHnzgpe056FD6bv4Fl5+y+ugfOfAQkRworjRHCmr
qLKtqMfPWz/YR9JH3XuTDOPeNvCvSqc5qLcUfdz6MrMq/jp6zYyNAm0fjTLLJz229qbpKoHORbaL
yEN/DfrTZbaN1WwCYkAw5EZiSD098trvbYYBaH26oPL6Cp683RMCdZYXERskwbCpRcBNjXDxEEUN
j/YSmlvgpFEZR61CYmo78nLA3AYFLmjM2R013zsyHl7geYo2MQmqW4kGOsLOscfohkR1IaK6ghjT
4Ud3cNoiSPrxDvFE87mpqP958yJ+H5C2/zQ0yqfZWg1bguUujj9E1SDYDJa86MMFOuzU7T15VU9r
YrIWqIu6JsY3ZWK9+tpNKEzgSFOLBdegqYt1WSUp/X5R172AuiOdnUUWDjKRHMzoLJwo1AQuyDLr
cc8Rs/gtgOr4vZux/0euozM1mDFiBcp4MxmswROMf9Nt85esY7X3WA100xnuWsSKQvDn9PvaZwTV
1sQDVpuKRAARtDuFj+M2o7NCq1+Lg2imvvSRQIKLlCDQzYXN7YBlsJakQabb6ETs1mO4RA+E+jUG
JeDIyPDYMqgErsJRdu5Ng9CvfklHLPlc5xixu/XOG6nAohWP8MRDsI47ufSh1XjGp7LVfRTliaaQ
oB0WDy3xt7+e8v8R0v5+5P4jOrSGQzx1GPL36sW075P/wchPGCJ/cghkdsP3FoZnIPX+6MYS+97g
JozCjUV+cSgaC5F6bPdvfw18ehLCAgkrIWhQ32MyqveDqqrh9gK2aGpmXHaMfj32M270nyBcEHX7
IDkAk4Qc9gfQeuTYNHgUqsOLneC2Q0Rhbr8k1+TpInQcoYVFn5hBz/7XX+5PeO4xqBMOjSG/hYz/
xzMoue/ObsW61CkZEti3A93DMj3OL+I0mV1UxQ1sgqID+clZ/ROoK75YxQKOAa0sgRbo+9PatGzx
rIBvov8b4xCGCFD9bhnfwxBm/29nIlx47RcZogvHjosU8AfAqfHiis6oU6BjX2gPnpN2IJBgW1OG
O8HTn+mmLxfre2ANltTQySD/8OIDQy/41+9wvEZHfhVOXZ82XRd9g1xBHaJp2cqAkuWBx5ixB03j
XQsv6I/MYIz4k6v6R/Ty++P/8OjBikk7CFeG1h0oRdHd69s2R+5uHsAFN9+ewj2cn67++ph//pVB
2YNeHOqPH1l7FVHOMFdwm7pcTwNDlmXH9/qn9Ow/QpaXb/Y/h7ngfL87s643ryhbOIzsoMcb2akK
unM8wCzMTphYDg9//a3+9HCQ6iDDHRiw++NdWs/EZWSFzMogJYaSR8torqZjON51q/8T9PePxQxf
7UJWBRsBCQbxj/coCZzeTLLHbizewbTitu+rImx/ptD503vjd4e5FKLfnUFv8zQy6XGYILkxCjJg
78tfn7M/8hBBggU+Bt9puEn9oWAKb1Gx3XCJMGkqZ+wVGwdLYRjqXHTBVU3bo3XlP/gB//mdIYL6
+3/h5/dhXDHB4PqHH/9+Fu9yUMM3/V+Xt/2/X/v+TX+/Gb/2D1p+/arPb+OPv/ndG/H5/zx+/qbf
vvuh6LXQ6535iiHwV2Va/dtB2Nfh8pv/2xf/4+tvn/K4jl//9sv7YHp9+TQG4d4v/3zp8PG3Xy4B
8f/5+4//52vXbx3eBhtK03+IH9/w9U1pvNX5FXlD+C+CRdrFjRC3wvL18oqb/AqKDYTR0UWKhvkN
HiPsbTT/2y/E/RXW6Ei0APnW8S/lEs+EGsxvr/m/4tHz4Ep2kWHAtseNfvnXn3b7j/r3j4uCM/HP
n/+jN93tAI8Ihb/nNxbF/9RJSB9Q/VEu4DQJ44JL4Mr392ItjSCONz6tILbeJbJh+SL86gbmL+Oa
Tt7sAa9sRPRSYXOONnMdTtPSdzm0s3BFns1806yEopV1QHJUbtW/R4vmr4E3Rhg4NAYRmlMQ58AA
vTtG2FBsk2MOs73gbXZhh24gXeZiPH9FL2hEXG/jBq9Pq55BAvCK1cLemZsOs13X2eIkrdm83nta
wl7Kn5p7TLzkO/4XHHg3qyJAM3ZaZttEWTtIUVirgBIhGmn8FAAtJykQCUygQEJw4BNlQCwYFz/n
41SfWDWMd83Wyn2C5INzN5jqDZOeHiDjJp9cgzyaHJZw4HDyxnFLsC77KYtkhFS3KYIT1EaqhyGB
zZ6ooJxSs2yOTQuLC5dXOjcomW6auHPipNUw0fM8TsCF/HZsmgO8au2Wo4lc8L5hqfZo25Mr6pDo
Od5mvovrfiNpDNFuiwhzwd7bLULyTsdgMC7cGTOVZHOcK2j97XMohSpZ0spPc6S9tK5InKutpm+I
PVJPCKyM944Wzl3cMspTXbXI+jK+WzphBXsZ5rj1zSKN12eO1fS1WhFlVa39ipPihQtEeLDcq9Kw
NeYt1qZC6jCsZFKXduosawEAEYM8mqkqqbHJpM6Wul2I0Z6Y/fZo/K16IYj6PUCWucCiBcf2AqIz
yRD9Jamp7jAdALRDmZcnJGA7PtkqXYWzvYpYkU9CEL3fQKyeN3MKQaz9ptDcHgftsp0z6P5pxLfd
rWsFv/tAeYW3euFpnFZ9YK4yN712vPvE6+D8D5ekkkTJAEJpqPSdJt6YNwupTk7DeE4Z95dixnPR
5dROyQM4yRw0J8FeJxoJmLR23uKkwKaBxXgaD35KN74dqqWWFxjaK23lbGfPsWARyTYidwvVQZuO
lpunKXEEuCpSQZFTBR4UmvB8xgx4nT2xb5TQmZDJBLidTFu5IR1tShsZj4BcxWVl95TXhLtAxRyj
0kBi68JJdIK3Vf+sZSQ/Rm0wjwU5ccmmSAWvvcOHKHfabXJTLol9CTeJIUhb+TcA8n2DaXldAd9p
sBbJFgp72fnRMabDatOpmeXZn9m6gxjGwj0qblZA/M120oAg79yF8Qzh1/oJz8LtUAWY09jel7cJ
ldEjSOPD4xyN0YsvtLoOedfkS115+SpYADtwSx5cmAGd497bbnFpNuCNHmz65dh+jv1BfIFTy/YI
8Gt7Z4uQZT859EULQGu87z3Yxpo4N13v3Mdijp8T0DVeeTQMV24cjXcbGol0VtFUUmvbKSd6SNoM
ofL6k010mCOlg6LI6LqE/bRzjUYA/QT3g2/BENE9cimmtxDEpAM2sU5BlRM+qmWibzP8SjGCVPMZ
1qHzDglOJg3Q1O48kHh2o5HqyWD7+JqEFT5+WjBqkN0wHtaY8B20iOuXpY3EnQk5fJQ1sVBt+0Z8
Bu1A3VWs4uBUzIqlK8xe7qaoI/sZDsBlwLi6HmLeF4Md6Q2XGqNAp1/TITbxEfYb3itCT6JMtdwK
4Bk+HOtB90pptJGT5rY/xqxuP23zGB/hl+Wlpp2gGof86Up7Sh3npbc5WiKzdwHjZQvoAieMF6Yr
TO/sjbUh7lEUzQp35gJcf1NB+IDprAtKx8i9ez+xPoVwdJ6bAxspQ70xE/iHAKwAXMzMrcmu5x7U
1XprNHscfJTLMtYbFKYgUiE/ZySyMjucwlGetZ2NhXIi9ooOqE7BIznuPcK7f4jx/q9Z+eUiM/j/
NyuASgd0aL9vVi5v+Eez4vu/YpGHVQNsB2EBD8/YfzUrvvcrokTAZog9sNuo56Ij+lezQumvMEDA
u2A/h7bksn39V69C3V9Byb5YqIKlh1exCfs3epUfhHkBvAnRSlE/xDgQavA/7ARil7V0QbeE/U18
JClM4zJMK3V6ybI2B6S07SC/+t3Z+ZP+6Ic98r+OiQ06CObJH3MWCfKrAjLhmKrQV8Dbcr2nd5CD
w+mryn5qTh9+37j/83Agl4eQH8YX857vuzGB4IkE1CSgaPIICWy2JX2RJOYqSBhmjGOeNN2+asdj
42GPQtQdenvQjuY7pwPN6uAuXoG19ki3JAfwdRUO1za+6yKA8BohKHCoAsYiMbXFwowEveSV65cJ
ELNBsqjkB99dd43nZdp8UtN67Lifz4p8Cdz6tlHwWp9ZMQC8MB86eb3EHBsD0y73Bqt9Pmn6MrsM
+ZDuYW3cs+HmjW/mDkmf56mKdnJrLry3+aqeRekstFAR+SRb762WLihWyBZJzgSrPfcw/fe+1YCa
h6DLSFAXU7zk6/IoV3MvTZdvqCrcqnQOaZ4gWNfILBgwOqycNHJulahSG0YA95rbuFmyDXPJBRBR
QxEqOYaZSsJrLtiKCWWSswg810RkvlB3kUyObRznw4J03uHz4ID40oo1Q2+Ydm1/w6lb8jEGtCcL
KuEamVTH7TJLrtHRiZct+jz1U8GWt3qKgXBgTMlCdeU1d3r8JjAmz9QC9jIitfDNzcnzeKHhF5Zi
MblrCM+nKP6CUr4LUPOG9a3176cE0Vf6nlUUY98+Bxdk51oDch8k+thnNwIayhq3I432/egB2X/s
wJQAxlDodUbPF6fBcJRYokdMg2c6fwH1cEjrDrA7It/glEifbEXu/YtPpF/Vd26jIWvtbEb89qkD
0NthfJoGXfcNATdlbFoKNHrdST++rXwwKXQirkQNKTMWk1WoR2wKRAZ1c87kvrf+vhG2RDf1zfFF
Ng3n0b+twugK91FG2XK3VLCLXcElWJOC1l052i/MnTKBRc/HGeWRd4g2eCrK6WYYHMD83RlT/Wfc
+pmeu6K1e9V9dCTKtKAYntu7Tb5dOG4BKC164/dJC+g1ClgB1t+BeC8A/PFXXs0g0bbmi+fi1uqr
81p/XmsIYCwIPSCvXA/wqo2TYq5B1ED8S1N/TtiWt6FIEMKGyHJdvY2Cv3Y+xFbBih3K2+rOwN8r
RDyb6dscxyV2PHtwyNOJft2cL04X7/GUHMKhKgFEAemgKdnIaweiGulkqR2b9Vi19ZYcwnHNPQ48
AGRGwddHH4QomIgWLUYQLYhBzeQ9JN6GmcG6t1wdmBOmrmNOAVgBS4MdCGHlCLePvgLX0UuKlZR0
DfOoo0jT4PlITLYBqxo3sPYivXfQvG7VlqOTOXbWQQhUnU4Gvq+ID283wPHkowUQ67KPGiSBOSaF
jNv8sueq8JtDi+drbG9ktz0NTn83Y4TvLM+2F/dVFR04HbJ62Z7qrhmAGfDUlyu4rDOYqkCN/Srf
VFP4q3nwXJjWgcegzbsffrJy2K9EpWhS0xF9AKwVYNsHTlSoU2+q8ZW9DEnTeA3Wn/23ir2ShWUs
hNqnT0o7wLPQsBRt8DbpnfC9M56QzHU7OHaH844P3p7X/Wcab3frpLoU5bdAXuTOH8MdlWQuwPrW
KffhSjiLV+m7u3Fo7lUPwitpz6Bj7QShL2J1b9QgghTADENTD07Q5PjXyDw4dCjVOGN1wX1+ch1g
gohVgXE4fwQ7q5hXDb+GxC2wI8wsxzAQ3k917WaGgXfVO/lCRRYQgJmWbFkSgHKzXG8TpqQqeWln
+0xI/Aaf1yyq3dzIbS/tcscH9T439n5U89GV26eK8Tdigh234RNtBzRUdb5duqxaIvcsxIY+swts
iyGr6MV7Y8XrxFDB5hgcC3keQZHVIEiAu5RN/G1qAIJF9z1/573GndEUgT1w99kzyE+BDm8BeYOQ
Ghlj7m6xyX5i7V65Il+b6hkocKktoo83XPkN09bkQjhovDaPmX+2sFfBGmTB6WGlMNhduO580GBo
Vzb57A3bter8dOIQzmzz3eoKPGUUS1Ffvy0OmL+steDJJ00BW8R0Y19b5NDGwetfL/5/XIwDiIIp
ZiTQRyC44odpoMY5B+cRrXSFZA4KLmwv3iieyrUDklQ1ebMlP2s3vp8MXtZ/HDKE3uUisrlEZ36/
/s8tKtRkNsyIf9OWqazd2VOTvU9X8U7sqvufCfV+drwfpj8qaqjgC44Xg5aWxNdO9JMsjt90/r+f
L/34jX44ibLraxMqHIHDJw5xew9JGrz7Z517O3tgRz83O3N16Mr2ef7i58Mh3vfAOvrMXofPzcPP
lO1wHsMZ/OPfc4nWjF3kFvwoAcaaPW6YIQWYYrwPF8vg+gUGQKlpvrajBndlKxYkeXRJgMTK1xBu
+DGDT/EWXWtg/L32nwbq7YbxPSQCy6qfDcgj5v633k2yMXiBXjRNWAhyNNqL+gkskrLHOGNlA0B3
bLSn/gq5WKfQf/ZhieyBDVaRHCRdFC69A3qdUWmhBAEzysecI2IFPFI+HB5DWqIy3TCwZkU5a5sG
6GGSqksHxpGDINK+fxydN4888ObM7OfVv9+8L4OJs0p9DsdPHlxNtvB1SNSzXZesAQ0ScCOIwrYA
pS+rI3ZVj88Itspm/rwuQa5bAMLL9OAKIHszKgRSAiaEqib97ejSHfFfOsyvHQ+BMXWUIlE4ETd6
fXAwC1w5VCkYr0FIkjsDy9A+Fz5Fm3j08Vdgb4FUMJTYtTk3My9QiFFe4WFAw8e4WneJhQ9s8GRh
nk/cXeuDzO1ec7Qukatzx6lzZqZdFdCzSmyBWmEaAI4gRdQgbMvgv9k7jyW5mSxLv0pb79EGLZYD
EVqkVhsYM5MJrRwaTz9fsHqqyCSN2TXrNiurzW9MRCAAd7/3nvOd5Mnopn6jo4PlgILHNWHJyh/a
eNpcjgBa0u5psx1QDLmSNq6M/sNs7+kRB7PVRK4TNpsZnaWFXcPkn0ZLTnAo5xclP3QKxo8CtcKi
7rSGHgjKW6d4Vy65L9al1O+j5YB41U3nYxLfs+mdS4GcEJn2gljwh1zYvBkqRKqoXRYt3Wml8HRO
6xanEcWS1g45p7r6OnLH1QR7dVHtzOmU5wijMvQU7ONK37Obll7JuHVZ0NMY73K9qZIQTauEdDa/
GU1nH05p0I3jekGzJzfPA/PSZlS8ZLDQPCPgk58r/cGo+FwO1veImCMh+91MOQVLiIFgoItlVSvG
2pAzdKkgwmPhVzrCCADXKcKY9Kltxu9YdjYJlp9wKSgPBs9GGDAPrQ/ilHeGKFaO80PrbMRgBJVD
s1jBm6Aj12th1ObdIRHfTXvA9EMLLGsebIJhU7tdzeNNGg8o2gj/lngXzIfOebDr545XKMw/Rq3y
IuboYXgVasxj+deLpbtFGPmGRWGSeb0lPYWLOFdmUMv3XVkFE5w1udktTPptzh1q1KzG0LopErSW
/XcnOjYSnbWS/1o1nj6Prmrg4UmGrWKhetRuEWEoHN4X/SWpjUBR5rU19gGQWq/jcZ8Ww5unfaXw
k3WD1wzYJPTHxDobY89RHdn6YnwH23Q9XpQTYeXVLdVA1/gMtQOKBs8BHQWk5zJv2kThHNQSEMGM
g6F5O4jRj2MspfRgsHruNI7kIqo3oUmcC94DMd/qc44AjbXEvB8kY72gqpAtL3LM+7Jd0BvXe9RL
B9pUXqSN62Qg2YdZWmwsa6RDUWn4ajo+mF3n5dPLlL1njr3qFJRNIE92ZvoQlt3aieV1bSBLDn0T
V8cUcRiFalG00SZ0onVRE7wsGr9JkdyL3m/mF0xj/lgXR1S777Fwvs3KtWW3rtTLQYxgdXTGtVQN
XivoMtr7jGdRQsVvl5KLQNItC1x0+auONUleEn6v/jBVsqd0/ckYK7+Q16Vsu2VMezZNVijiPNku
VgkCeTcP60CLG3dcbtIkuc+7FyW3nkMW2ISFtUqIj1y+Aa2/7cvFz3hwhty5Qxv3OPEG2z1qxaT0
8hy90Dis5KLcMv/gBVGL976mPlla9TE33iSK2TB6LihmxCidknIT2wiL8Y+U8mPYhv4oK6uoee+d
ZlOXN12brabKvFPT8uCkeAxt2evI89Mx6Olj7JGxeUU6AemrxVY2Wy/sX3t66caItlJ67CXr1DTD
O640Du2tqyD0YeJ9UVL7fz/vfMIu/OP0ATH2B6yXIJrPSRAhJYg0Mq9BABFeN98Wv/iBmWRToPh3
zdUFtvelMZQ51+cNGVoKcBsTJ6eqfHbAJjHyH9XC9oizZdW+5JkneYNn7LQA8YPtNo9//5J/OPH8
crnLx/lp9iqptKzR0RsUP4I90HGdatp+cYlf6Qc/7iPkURkJCec4/TcwS6n3SxXpfCUtWhBlCXYX
IxCMvGK53FnmwzQgBU/rG8d5RnkVJNnsGssUDE6xFvO0UpJhZfXbZP7AmbXKrLuResxO7hxnleXV
FhPmQ2w4j/Eyb2a44rohAqmod2qteJpgm+6sbV2Eq77GZ4f+jBg0maYCLMim314WcD72F3PzT7zl
37/xp7s6mbLSyJcnZ+wO8RJvFZMM3KgPhgT9rkEMblxd2gK0gofwesjMoAz7PcfgjT0Cps7joEZu
W1CWtm1zome+ztGfV/UXv/0nr/7vH/PT8RqIn5UIk4+Zb9tTsU9OlzjiFLRjsjV2xg/elgFR6WsW
4R96lwbUb4iLIIXBBHyuJRyBnReBL/wNktXkQA+y6/RW+iGAmf3pqMtfwhb/+KD/dMVPIgOzNBjs
TVzRkqmksabKUf7Fg/6HszRfSqf1S7FCcsSn21nXRmpLCrczlb9jffOkysKw8fr3t+lHzfPpxG4p
Nj+NatL9hbvx6xs7N+rURRJvk2XxXClBjCuCPly4MdudoA3Wsl9OMeeqOXZVLb+fMI8YNBD//jH+
dDvJeEaARhP69+w4KZ1HIY3czi47zEBi+k64f7/Cp1inH0+nDBSWIz2sdPhHFyXMT0tTbY5jGgs6
lcpteM3iuws/ynOBKquki/fBC/0j/zh+Qakeet3zF1f/w4/5y9Uv1fBPV6+MOUmzcDEvJIJ2duvt
JSQ4f+zfeJN3U3BJ1P2SX/SHm4r+DH0E4wMiLj5vOJgjs35SR8xUB+ntEi897TvIB9pO8+xV4f8P
oqN+1fj9uMdkWZMpgMRHvcDNfv2WYW3XKRBGgzaafpj7zlWcHZ3mICxUP7pg4sz3PIt4oHdJ/O7M
D1jY8Lq/0M3w6lj+4v3544bL9/9/xehlFPPzPW8HRtRDTzGqKS4kASQC8ONg08sKwjjb1ZFGuHHg
PH+16f7hLtBm+Nd1P40ZBF6wyHZooTQkvlj97Yy3McWt31nzVzvDH37iXy71aWcIB9EUKOMv23t0
wxlQ+MYTjiumKdod3UjC9Yr7AjDgtBsNtM9e95DuFeN/8NP/4fn+5YN8Wqy0waw1GYknhf/jIsMj
yrdx/P73l+g3NQ3dDgv82wUrqsiAPT5dJKvoJ+eXRbdJH1uijHTjejaeRav4VTxv9KjZGVLiOcly
dlCVTMZ8YG39wPLpm0qH9EG6ZyD+hFwIumW41tT2UHXs4oJa18mX2ylKkKeYq79/6j9uTqR7GACb
mPwRg/HrY4hUMmqrDpG/BhmBFlQwh4WXyS+91uIKfVElPTDKCku8QIVTnc2E6TLCDc0Y/z+WQOvn
T/JpEeqG1hT2mLPKJsm2GMZVUeD0Q+Sv9fp1WlQrOQR+6xDmszjFvT5xkIB5g1dypTf5rk4TnWL8
GxBXz5zxhBr3X9ypy+/3eS+6UDMvKS+XlKRPLyyRbKqEdd9w9dpDIezFXvv9sot39iUj1aN15X9x
xT88tpZzEc5yONFtTsK//jYJEakMQ01IGsHkd1dJkPq2/4ad1ZN9Dsig378EXP3hlYVnTMyLAuBK
Rxj86yVzBZtE31Ac5Ykb3yVgmpP75abJPRaJTXqdHpvA+uLFgbz7252FM89s96KCBrn9uS+Xx2ZY
LLmFzyasXbvTdbeX0u9tGtIVSANlaLZA3VeTNa4ZIbqTPG4NSVzVY7OyaQ7HMrRUWV+ZdamiPwo5
NdcbZcYWZel+p5VbzWpWVjZcT8w+B+ZmMUMMhwYAoqWgEuNBWW5V6XvBFFGdms1gPTiMAoZa3syZ
Tm1NvwW3YavC0BChp9ZMn5nzyR1rdHwrzA8xPGbl7TJAdaeZAlXDRVC10xJsR4a645OjQUEtk7er
Nm19jBa8V4WXo42Sx2ETSwvgqOxoj69DmXqGfr/IuVcZgzeUZtDK8V7JxbdL405ij9DD7zDkjwNm
CQwsdEUYcmRDvpZiCTkKVI4Y9bjKVC+2+AZ4JMv7UkHwdl8lKvIOYokgFWg9NsjwQR7vFdNXJ4MZ
Hfg0/VT0r4lymOKDM7I9pq6ZnEx0XGP6imR1Zau2TzK3lyV2UNbzlTG1NDsGryhulzkMEr47jTTX
MG4STi6leRAm34zelGrJm6ruVnZ0q7EJ5Evl13XvW3waU4uvYvtNRNVZLyBzpOlLNVluEzpuzRip
H2d/tjHtx704j7bYw4N5LWs2KpWxR9IzJNNLj7i32IuXZZUz457Ml3aoPK0ltjDGZjNDNGuU8GTr
LGDx7JzStoXUFrtNiVG9UpnJoUpTuugk65PX5OUmjPd6z8TfvhN6fL1AlMAI7oacO1FuBXpFv2zh
5etkf7k0lqYqUEqaxwWQ+qTYIR1zZ6wQ89t8+XsCK+hkPbKYennYu3npBHVVrQqBh0FyvL65WaIb
KWxpAM2enhHSOzIYLolfzpjz1m2wqJkXO+/pZF4XJPMxN3mKkZblA6bBKdvX9rKuJechSgSMg54+
oImvbHLrBfQDDJIcoJEmxudkysnqy9dyC1uJ5yM1F1/Qwa5DcWhhKgy1FMggQQpTWmPkm+RXOy18
uaz9GAsP1vhofO2axe/MN2Q9ga3QHEufo67ykmwvmUj6nXZrqNOqUNpNwk9YheUxmWwfJbHblxu7
v5nL1xhxYZ+mbtdso+p14DMsOsbeGs8gaYQl3RJUnfPizSVPMvYLuEGFfl1HMp+z9xRD8RMeuEZP
9rlRbZawPnbNbRZKH1ZfBZHxuNAUFzJsyu5ao+EmxT0z4Ev//F6uvy3GjZqcEqeGnX6vygPpjA2N
y51Bx0dnft10mStjKYz0m4m+UO7cDsSI9xb2nwT8V3ocq3o1ilO6XMnjdQ5XRx/p24/TrlPgFT2H
4I3t2wYvpaXdjApWPUZEnX6PrY0ZrfC68DgUx8sPMjM2mER5Mrs2yEMzKAToFPtBD3MGuPf8Rd+O
nzJpYIwabRZAJCOT7bG6arqX6rIFDvy4MdPikajEaBJM3hnd9m9GP1w3w7TV6ug8F4911X7YZRYo
00XtgJbNYLA7VFvF2CzDW4SLfsKCr1ujO8y3QwZIY7qairtJO6vaRwvUKIJZQGiFZ2vReswmF1eD
R6WPa1/QIZ3PZTv5bRK5ZmRt0/LKUF6Tnt+Np0mvIrR+dqD1RD8ut1Fd+tG8NWiv6b3MuUi6LeeH
sVcPSnmKGDTX6Hij7tANDJdNx5Vn/PsMhiVMoWjXV6kamrgnk1Wnp2cRTa45CQJCjBtzRASB3kwo
4So377qBE1J/0Wguq9HItjjXPelGcFlVVLsKAXKsTNvFaOnDmL5R9ucoemiVMKjIpJdK01NT4swa
RPkTIIC04jUqQMgsxuhLrGMa5Nu2jt4Q80Vu3Cb+RJdbl2FohtkKde2jExqry9epDEbYMAjCFrwN
ECrXanPmRfmdNM7nAdNkEaY3MvLiUA23+YIpjSbxQNd0rHapVrwgXDxjevJ06U3jCAQ9Yq1bYq0p
tG8gPBT5E6PuPe7pNZ8RzFD9pFeKS67Jqa+Ta0fOAsl4dGYm9xYZLiat8phGqN30/iRtE2ltNMrV
3BPxKle3oLCY/ZWoZs/WvJGS/qGDTIJX3526h/AsTRHT20OXqnvZ3CHH3RapiUJVQA7qrevOIgMu
q++mUKykrn+1MbK5VjVuskw/ak61a41m1UiHun+JDOIRUslbjMhrJvvHeL7oCIPOrttaOUKiuLLD
a3B5XiI/GBEPxZR7ZaLQyioDvKxxSzCLcXJKfaMMCipSNj/N8ZRFW3XGldLeNwab7GyvQut5kPJD
TNWmIhJx+tcpfbDmBOIWj4Z6NxUaHSkmbHrjVv2TzIEulNeYOD212NfMx9P2MOXEfDYFgCgyy/Ir
OTumxsSmQ5PbmFdjlPqWcb3gBWXmM6mYb4vbNI7Am93N4jab8G615qbVYk/wbWVSjwrGm06ykaSr
KFxcnOFWPe/p6iN37LBU1sGYdNtMdvzWtOiDkx8RfiuRnmDODtB+4aHmIjljyvQtG2/z9r3mkVLk
dF32StDxjYQxo5NFkwCWC8flwZkUTE5wevDWG91LCCkLM7w/RrArirsBGUPIqkunTrAXkj/uTxVK
n7xwtTEKunwfE+gqKzEDAzhn83Zw0bSeZ5Wxj6FwT+/z/BQPiW/b0qqJT0as7mcDFojdYnPkdXCy
JOhrklwBADmIW/oKHdvwmqQ2L0K6XZA9FY51GWQFaI+OTMwO2Vj7s44yWlsljenZ01krjGDEF28P
3xPOhAmDD2mu3vpsWKuscdno7FXndeL2hLJwJVQdNoi/mO1tsk4mmcK9dKel88rsrhe2CtRvBpAR
9BkcAEIsoplXDy9ti6IgPnb5qSdHA7uzO1TTTVaPrjk0O2XcowGkQ6ltwiy8akumxUpz34bqDsm0
bwygcHq0271fZHlgGrrn6AQGMG7UQx1ZzgmQlW2FQY0kSdHeGiBIcnLuuVVVcp6qD71ez/Y20r4t
xa7XkqMoJg4JhALK62rYZdVedjadeitJJz1mqoXIhfEIx4OGtRoR/2xuMc/iJTg7k4CdDaePkqjT
rrWJTXz5pjhkbpnVCqdBRGyNqWHPRSfZOOnBjNe5VAYzrdjwaqllHzfts5k+a9N+LPv10G4oOiFS
iVVTvRXmmTGdPKp7iV6t4PSSjPNedPIKzpJbTZy78n6XhCT6AW1Qs3Gl61urubZVyiMhP2gpiqpy
XC3ZKdPWs/5kmy+heuSQ+X3hTF3Pd+Wwq53iNBTtoWSObld7gSkBSuV5SfpTZqjniCFoC4rIBBDf
WutCfWaPhn/Cz9dM6Fy69WLHm3o06DNDsdVGtp/XRbPPY7dVohtSDsjMBIR2yLh/8sIwTZHXYOps
6VBgW25KBGnDOmyPgqNyjAxMXjZRDUVSjg8iZvK9VXMQPMt+cnZWcxOmO+lytiEmwtz3qbjr1BMC
crufgnIwvKTam81ZUh7rXKyeeqs+CV4NJI5ByxxZRvNehUBLxmpji6OTJ4IjkB30cXKdcsszDZ/i
hTgUJluZlXqsTo25FeFRssujmeRBRFhrvjFBGFr5KR30fRGhg7RHTDODX9lPpTOfpKbY2HgPIti3
XxSmv1eJFGzEFcn0kQiZ+lwlytW4SAXxSW636oP2ASDFRvJ0t3yw1qwqNHC+LIV/71pdunYGvRVT
lfnfp0bwIhMJCv8GNuoKUf2J5GfUuJ37DPMP7S/ncX/cfNmi/L3i/+HDwnIlayYXvtTnP7VFJ2cQ
xmQmKDK+UYvWVwM+zniVMCvQ4wBXP87cL0r+3yt+5MYmwSPk8dJokD91zMAgxrrdKxCDp3OjHh3t
JZm+YPl+yhG6tEFp9ci2hSXXRGb8eRyR1NEyJnmkAVgPd5f0p2kH49ljmrr54jH5XUT165UuP+pP
92+ecjSUBVeqPsSWeeJLtIelBzxeeokOpjsFqtt9Z2I7b/57KPW/Gv//NHhk/qLxx9QovuX/8X8+
RPL2rfyPm+91/5onb7+I/vkL/xD9qxaGQjYl20GjT3rJvxyKClZDnr8LoFvBiEi+8D9F/2j+MS+q
LACqiWOeqLR/iv5VnAJ41Rh68sdo55Dx9W9o/kkf/6UvZIHxcTSVGRPhQsQs8pd/fX7sTk6npc3X
eOvSxNdHuxrKo7UgXPM07VLeFqAUlUDWij5bN10VZwgbmqWqUR0OQl63Q+jY29qWKMyNVs3jbTdh
JODgaKQc6Wpt4MSXRtl8A3JLhL41w5BbCbXI7Hf8V7nzmkzOUh3yym7jnZ4AcA3AzcvWdhaxKQe5
VozRKS6kbj53hckcqoGxkmxMuk3WLoNP9iF3krlitFVt9albCoSKqZ2sHKA6yQdJc9J0zBp7qN+7
dKbpC0miRmOdJSkInqk0i/bWHjKyefGvRSlMUL7eKs+nCL6P0uuQ03pYGWf04kZSMOsl4+lbrS+J
yRm1sjCy4QRESWCmSl96SmuHjJGaJEWdmRkJQnZrCIfbTsWGRi1lqhlMpqEqtauMFSI+5jk4L5rl
kigtgF5Si+KtZ1z/hkZkrt6rQsTyLovxt1HSW+NUBsXcxtGN1igdY+AFiPBx1lID7r9Atr8PKbPn
m6iei9hXm1Ef3V5lWnOv1MPQHgsZWsfVAmok/76kQkme5lAusvXAqRRZcCOBkEGVhso8jqplOcu9
nVBLa9jkVoODHB1gj6bGpyLWWueuK4uxumBAbarfhMgoFxNULzhqScz+TW4LBoG+60FAakJL+bSi
1l7AN0/2bmrDKPHE7KS1N8G7TY5hmYb91p6BE8VomKdMo3OhA0pppkau/C7k/wMbivW8VwYhQOjb
SqrstHwxmeERFQrKM0Oicyh0AW2x11M7XvXCsQbws/KFozU0FK14pEabZmtv303KpeRGDsQncZJZ
U3dlieIFW4CGxG7MNc576ri0gxuHCmSVOukj8ypuSoO6okWhiqa31eFKDJVytJzFqO8SePH0tmoU
+WbScNFobunQlKGAqxpaXfcml3GM6LE1KCdVwC7DxjZlA/fJorQWrakIxFwrg0be4y9jfjaOo1J7
TH/JglxEhsJnTrWJY14913QWyyZ8M9qY/9jrGq0ZqVVGot971DjIaNXB1URB605IbU4zKE84FS7U
TE1ZqaRfdd1IQJojntRFHpxDlnV8NnkqpZcxzJpjpC7ha0rRx/Ssj9Z2WQ++LXWaD6sId05kDZzu
ZLyjSKilqAzQN4bXMYOx9spYLEzddosdgp5peYrR9MUA+nWD2MNMb76PuWy/9FIWV6cxrmSLQrqN
Ld9oIHtepzjn+sc0nTQt4JCE1Amlo4J5UxcIrgP+ihS9wdSyaNs0ll9JsKJREDW1HXTNYJKCSw8K
tIytVdkRhm7RUw9YRr+LMOypQWOVyGAci/+wYfkNkRkVhGivCh7uPHDMCZaWVqfts90OSJNrM80f
UY+d0ybL0egZFp00rRKap8xRDquc9Khy23CWFFtqxDikx4X/YxVZS4HiKg31zuU5oDAXSuZ0Ac2e
Ehrg1CfOnSRBZV/ZACsnNy1VLT6Tljd0wViMYjgWqTY4fqjkuMSpufTRB+OVTKhXUVlyes/QvCyx
qGyvaAaddzexWYrk0OqVVdaXTOGyqIwmOJt1KVZjFoJ+VUaagY9hfAFNSyJPLc68uir5Jcj6ft1n
GU7qAqQTHp46wbM7GlZo0LGt03wLADO9MVJSaq4co+umY1z0cK3pvc3EIvRtWDj4YpIsFvdRiXRn
DQlC1q7GyiqaTQn7dDhAHbCVPTSliZKo11ttk48N+8KoCPqjRtNa1sss5dMVwRVz6klzPFKxK5Wu
70wzzCHbOyVtkXXjVBh9pNHUk0PKy9RCj8cUfxeOHS2hQVLyI3I4FJiQYRxtjYDOMl87fgB7beTS
bJxtZWnFDmuBo18XStlkr7NRa917W/CgdaeiddIexSUGJBw4LIfhciMseSwecHYWLT1MSVbudDmK
Nk6Zl/PKjuskfKlV1tlr0wq7bt+pQxgFYz9RA0qNsago9StDflejyGjXlKK0qhp+yGXXx/QnNvXU
RvG92cpsU/jRyf9eG22jSytjqCcMR8pQpM9DoxYhdew4SlsxprCwFtb3mK5eI5uI90YpHzzAn/E3
+HWxuqtwKkzgpuXaPBqIgmn1KXkh+bFZiY9ltuZ4vYSRVq0LjqzWY2nqabEKywlxpdQjZzyoOHpT
d2xmPbo11GHRN1NV58VdwalFO1RDp6Sby4wv3/STPZMf3olOC9ImtO1nKTWUaGWojcwLJWYKvq7S
41PPr9qdQeEj3M0m5NRGWJd4axuB/yZDT8OC02X5kh96cKUKfmv6raQOwDe4ww+rpnsCBClfu8aU
tAdWaKX8FimjDGI0rkbZOUaSFdJ9VjtWYq+Wa20mIEDRqSzwHmm+DUENw0MRA1OSCj06mpmVwBcH
PgVYcJIz5M52EfeuNAha9BXwBbqRuaHRc4/NCOYq+9x7G9Mn9e1Ejcmdn0HFeR28sQ9CO8DuwlSj
zQK+8M6Z8SOvKrsAXB9psxru00Kbsz3u9Qxtfh8Z11abAUe2bF67XZ1XwPEq3c4Sb1CJaziBZ85Q
5+hDKBqgjhWnl8mAt/hiV/JC9k9SRfSzllLQR62aup5h2WUSUNBBseBjpZBGaLjFU1acx2xs0lWi
mFP+XklLN3qibBaFbQQSF50dKy2udSeTUCIXfWhpfp3ORoFrIU+s2NUj/MSPmhBWxUFnkZpVnGUS
jX5GV+U2z+M6OqrK3KTPVScXty1s22kHsCuZd1DClg9JN5KElwix02sZhRPsUauagRfaDa4wg/0d
3xGwumJkgZsS80UONbYRfHHTON9FeTM2z3yvxtxgzVwIIpD4VntJqqrukNmpNWBWTYuaCc+yVAsy
Ys1JDHPB7jNN9f1iKrkSpDoxmjcOJ6rRFbMwZEiOw7hsjNKk9TWMBnxW1ZxlFHUhfwK3G/r7hA6q
oZDn8KNs+N8C6j8vsp+/FFDf6u//8fBdvH//pWTi3/yjZJJU9b+oRaiMbAbyKD10it5/UF0k1cAN
DU/rIg6gvHbkn4om678QkAFaQRLKPyX6659FE6UWHiOVwEz0FxZ/0fh3iqYfKpN/qRSIzlUVwgcB
SOvEKznWZxdRBpdcyK36CgTBJ2i2JTgbSdxeDoogvS19dOubwdO3rZcETnDJfUaIjKPZS1/Um+i2
36obgtA38e6rYF/tk7/5xycjAJ3SUblYyXGM/1rNyRYdLXNq3+bYXukxaRaNeDJG/QaU+yMo1E0Z
KWTaPzv4jM2xoastjqxUt8BctoqN30PY2wp++Kx8yMl7BrZbToogzlCrFK9RfTvGy21dRPTu8MMB
HyEtQUILkEJON0hJtsDZuMA8vBnOCK4ZTyJJlmQPdenR2CF/qs09m+U7FJ3nNtkIpfKH2T6O+amq
8MIyOVQJvVfNHaZJSEqAzOqnplAaYCbGrSnOOU7EanyF8OEW1a1Z3VnOna42mwVzUAfvq3qy53sb
7wnAWK9fyEEV76VGjPlkg29YTlKp3KK7yFdNWH2zm+pkAtWPdbHOMrTuVbyVqwTvEQIDjHJ1g96E
rbNzbmQ12QsNBbrA7DdHZyust3lt+RHmorScg2ku1lH/Ytj92jI/GrMEqdActVjeDAq0QvsVgIdu
UyPmw9lBXRjT/ZSbyrsUlINAfDhb/txx5Alrr2rDgzKVh25Obkb7e1TexsxlIUYGU6W8d4kduyEH
fyylK8TwGWCdSbkRqh3ktuQKnFGN4qnJTW7oG6tMIacoHMCtg0mPfyYEpcEIUxfKMek7SLEyetn5
oxYbSiMXOn09fBQ5Ax+Y7SZkRee6gDAtkmc8TMyj6jU4Wa8nf5UuIuUFiyOdcHr9a1X+LoeZSzrP
7JRrzRq+d5yLJ+yvUhED8qYdbt2DKLlMjlnbP7rxuY6eE+deMZKjpdD3U5xT2VEGKeBph4UKJpv3
ZUcQVV+4GazrstCOXRJfk9WymXHeayBukLNCvpwCKhIyfZ6UYkeB5xZNs5LF8pTpPXBRSvyUBAgz
Kl6dMl53iv6ezURgRFxjVpwXR1LOdlLtkmnaDcW4I1PC15x8P4zXjvEkOy8iS1A+dExIRunQOMk9
cbTgue/y8j0XszvLYmfn4nFheKRK7VYo7Z7WwQXZ33kFRrLsMlcQjp8rR904F00LAdqi3pcDaPvX
Yy8F1ai6tdVgl9jg54X2Soxa9s0kVYkjTm1W3qRdutPd0UiMjaiI+1D7fYaXrTHkm3gq8BPJl88R
IIp3rdB8Lqz3KcGxkprQFJVjq3RPJSPshqLc4uXHdPnBUePOid7Gdvym26Bb0MBNIjmivHOp/Lat
hINdnpkC2qtFMc5ybnqZmWM6j1eyAgLZmq4VI38mEfhKtmffrj9kHraxlt65aCdYd1ZjDzOhjzc2
avSu088Rodg0O7aT81FMxUfyNpu81ED2nRBnm+xqOPIUzrFLdJcpD0U4Haxx12PfkGPsoPMVWo+1
Wi1Xqi3IhOlXI3KkWuZWhhO/oMFDyxktGnzWbr9fQB3UTKYZCY0Wd29+0BqA6y3BL7CI5BoPto2D
TtdR/DyNjJEIOLySJF9xpkeDtJ1uZiYXwrAmb4Y/S1j11Nz02haamF+pC2ZyKSiLqyZTATpLwIS7
2isUZn/6uAPv/gU589ce3e+r+qeOdagWiw4Q+C3dGittk60Z/ay+jie8KN1+3dUu2ycbKB1rg6bg
p/Z/gYGCJCPlTS+vKPQJrrw8LgzVUSnF/15W8OUbqcSMIw826MUr7OW/7lOTlrCDp8trNfduN6Bx
WAzfxjD507GCAhBbZ/kzfe3X3vh/X8WGanJRjZL+dvnGP/XGY3IBSvTR33L7Nc/P4aJtHCdEKWas
MEcaKEv+frkfWsFPd5DvAj6OBHV6Sp/Fz5zrs0YSBkQPEWj460MGZ5OBBBh4b3wKWTvIbpn9sXGO
ra1uHUz9ab6Avq2OjWT6JgwIkZU+NSdhINWRXp4retRT2ZulkZWS3fTiZtGrLz62plxOBZ8/N8p7
TdPxkTCE+XRqgPKeC0uVv6Hk2mRpnFGJoaIlV+CdFoVrzikn6WjTR91OyOrMy4jiIb9u5Rdo4t6Q
0yGMl2CuL6LQhwtRqyteqaQ9u3kN86d42NvKs4NQDnzmOmUerzQvZXWtt695yL5tnM3mLZcb//9S
dl7LjWPtFX0iVCGHWwIgmKlMSTcoiZKQc8bTe2Fsl7vVXaPf5SvbU02RBM/5wt5ro6laB8VTwia8
56erdV4z3tUBUo7qNPl4etVdqVSVnebNQ1zU+O9UN4unfZTJWEDTNVD+tdTJay3X7NRo/tFnKZ2w
ViOC0WmR5sl0E4Px6/QoMbIi/hYIwNI3l06cRTuYMU6XXPMh8Ticq1JDiJSxbw03GqJmKXyZiQjV
i8dYDLdagBoiXJeoJbWQcFkMzlWZeRgowtnYikxj58a0+WMBhjVOFS1M+YoddL+ZpdGlsnEDpNgB
wQC4iIHIrQgEv47NjTzeKvng9A2jXeMjaMatFQnAHSQP/hqqvouWmMdavHZFvvZ9SOLCDVsuAHE5
ArxD3KEaxHBHI4cvbsA20nrPrfkB/WI/AUwbb0A2u1Phr3XUdmIVwq/j5+dfC8T5epo7KlR4BkzA
DyoHuYFnoNto5pltuR0Kmpt2lyJaNtzVNmLR2oqhVwEMGaFIJOBeVKxtnN7nKrjDKi3NV6PkbQeW
IzT9ti9rbjZ8V6N4Ytrx3BVVT01IJCN6tSr8imaGmSVBL6O5FfmS5szrMla8EhcPaSulELANFjfp
NO2LSXhJBWW9mJC7KNqkae6G5ifsW28ut20X02Bbaxbsqxh0G0FVChMtkQiQKCKuaFRXTMxWQXeO
lJs+llnu+u5IdcTMbt2Xqh0Z5roBfa0Jn7F5qfFMBvNXbGlehUeyL+d3Pc82oBFsMwx2mbjveNTS
7sPCiVXOrZORjpH47+i1OPhgB21wx3IvCd7ENy8LiP3QNDQtaW0Sk/AlmcHhWbgnZ2TetDM/8wzy
T2uh04gsd2YqP0RkTSAs4P5djX7jdpFxk6LcGMTxOeijXRVX7OwLV4BV0uW7xgCNwwTdlAghK7tt
AXiHCZAd9F9VL90TrHFoZ0bEal5RQDabuiEASvnMhAUydgnM6tRoFoP8kJ+exn5ecvQqRtMSvwoi
Y0+ykMh7US+6kfZu1pWbQZBtAIsOkSEosUrm4yYCViDvj8LUQFDX3ru+uZenbq2IN3JUw2ux9tTe
q8CXMQMjERA0rLrRc1VUSDKmrVAMbhz7r0gP0xVxUuTxRvqAItl/yBNA9GWt/3BNSMv9+e38Yw8s
IQMHo2WyWvv9nmgFbhrLb94bd3KJUVrrH4a75IMqbony86dX+8tpy6sthGYuCp0O8vdXYxHIrkIg
Bo+xPGHRkGXeRrs7oNj1Qu/fb6TfNQT/XIAo6dEPWFgl6Iu/vTGoTFUn6c07PBxoPQxZkx+JGn+5
YxHlmSJWTGa5PNO/vxt2JFWO5vp9sEmEWNx+55CbHFHFXnXEteiwxM9XDU8CNrybf393f/neVGa3
kipyc7FeNb69NrQHbahNVhTbetvdBi6pwOtiG9j5LfAm+99fTF6sB78/JCq72OVtLjhZ9rW/v9Eh
YA3GMPVaO8GddN8e5MfkllXCKdmAMcdWpa/Kp/ot6tzy9j8I/P7zm+TVTVHG3cjE/B8K3K+lDPms
ikgOyRUg1HrcJm7ggmZLSOrl+LDVy3IX/PCG/yw62VtjHFucckAj9G/vN4ZIX+LKuxpgnwbIOkMM
M8WPIYGx30AQJTX+ip3oD78Ohjl/fM4goiWQ4vg49T9VKEpO4Ks+Ve8W5KemnmFKaMdhHr6y0prt
vB/f2N8hrjb8G4g3b3EZPepxe8Bt4bL/9JK42Q6WKh2TqX3KGcC7iaTeBJl67aZNa9yMZrjNFWxg
yaLFS6ZHpZc9jCHkfpFFallnOW22OgPsbM6dVOATtq5t9dppz0PYb5Nad5bKJtLrdRNORHuG9R7m
AULzh1Znn4m2Lp5Hb8g/WAEzjZycfmCPKSi7rpA8vSHspLoLGuq+oNtlvA82NvyF+rYd4I1E9Z6V
uFsnhBbEb5F0GxTpXmmDc2rB01A/u+5l6PSNKtGjKoSZDsEdKZEgM6SOCWX7PvqIvvVgq+nVPuPq
6GONW5KltbSzpvBiYYcigXJbqfO1LIa90Jr4STMuAiNq98z3UXPr+wKdtmoFdOCJa5QXIVbXQ4Fi
MverT4FejYQ8F5X+1myzrdBnXsviVQdf1WulO5fWSZUDVxYrbtwA1fR1DrOjPjSbAKIeuLkziUIH
kclIJHWvvb/Oh0NkUhqiGOiR+dZMQ7Ji3CXknQXZS62mNgv0lcQkAN8IbCQyA4nXvPVDbY2Ii7kF
HZqWH8nDII+PJVYQPfSWdVPDfuulhxSFOrkxBwuYR1p9QGayI6CiE0K2vtAOLK1ILNVtg/tQ9A8z
g+UULbZ8SbKJwBRhJav3LWG/PYr/sGs9WVbXQn4ZYMRJ3dIfJpsZqXQTvrdIftWpeQiSx6BmPpBf
u/FZDLq9NBVeUSfEeKv9OWtJtRomg1pguKuIXQXpzr65kmLDnk2AbmO5zduvvMKJMU1HTlZ7IgfS
JwrKFD4CUshB2SLZFrdCgIMzYSpTDMKXoDyGfn6XxtRBYnkY+sVl0953g3IbKapNI77c9jZuj5uY
wnFxcvlAqUpcGL0+3PlKs8Vs4mk9SGAkqQo1v0rqR9kequTsyx9C/u5XrKPBnRAfEmUfxOMM8c6Q
qFsnPCO7ZryGaKlJG7PJ7rUt1jdNnxDNpTxpCo+h2HsNGlAYVOy5fe58ZkYnshxzC/cR4ziLIk01
3tt43lYho5J2BC9N5ByFRDS8tf5niP43RF+gWfUJ6D/jBYYAcdxoWB1Qc0bYBrAnAy+Mi9swF+5G
vjhdbclP6eGBpQgw9JxSrwmjp05LDnprrLvxpU2OurCLtCtQSFsPTzJ4kYaYnyQQNjqjvqFihxKP
NwJBOb51DKdbFTrYGFyK+NEiVFli5wnHjoTQJ51DsesvpWHsOuYdGa6K2bfOIXltetDfBj6EZ+Gp
ykSblf9BDaxDHDLsE8f4Rk0FNwSaoWUPuPqRDi8KgDwTHsjoeklZA62aSrwMutI6rMAV7Aeq4JR6
1cImTraGFF+GWr8FD+0olOr6XL4w+NmS3H2sKvWQUWUMiHtNYHtRIrKmBvvjkJFSu2oZIQQXKA2s
FMMNDYYF6GhK5w1ESXtJgVSN9vb/fYvKhEGb4Ci4yii2vl3ZYJgroWyrf8oF/AznyUWM4HVevPYd
EXauAwgjeUmIno8u9fEn692ft+iyNcB6J5E+8KcRs4MbMo1B9Y7SB8iPChW6+6GZ/mY5/qfkWgAE
lizSMWP4/DZziNncQRbH5fXFA1eiyINfhFGFfE1Ey/FGRIY37CAj/1if/Hlf82ooRSnFII3+UZ9Y
oANlcjj5ZI3VYpzshg04byfm5TegnRI7gmtcr2bX3Isbw+E/ezbvBoZbt5hIbO0RdJHFUPeH+3yp
En6vmvirEKzpogrjmJr396qJx7HL82l4N/q9mO6F1FP97b8/Un+pAuVlV7TsYYylEv32SJEsa5Yw
4d9Vr3zA7eyxBVj5Kz58+//Lc1u+XRVjqiUtglz2Sd8nPE04q6JU1u8z7sVI2kviD0i8P79EVSfK
AK+wyDAG4+nvH1eFIEY1y+m6JIxgC2XSJ7ny5idK2z/jtd+/leVl+LSWPRnVzfJn/DIYQ/5VjMk8
UU0OrrbOeEzIwnQYjT3FL5k7O+ywPCxbgTfao1shGGO+vBJjGz/fjwLWP5uv3/4W65vld+77tG/q
ieFmepOBRGg5BIYDHfvqPwAiLJ/fv7xx69uzUtexP5CIeCWt155cFnSvwP8MT3YSR9j+dNp8I2v8
87T8+jFby1v/5WOOdK3jf6bruEbarLoYO+xxFzywoFnFLirLH4TNfzl7+Cipnjlg2cD8McGtZW2e
x4ge+aDuoN3v4nvjNN0sXubAzs7lY7f/6Uni4f+zXldxtcuWbNK5cqx/e5Zkk5hFjMdvnbLLk3ml
xvpjLLzr6efY4KEOiQxreJw0gtdw5epyx+5jwjB1bIL7PCd6FIsmKX3o9WYgVXjMK3LhBeWoKKKb
aB+iDDmvFu+zbh8MhuMb6s3YG7eamng6MgTUbKsSXGzUMVr0CQufL3F0EFqf5EaN2T65r/JLL1dH
3U8es3Qv5bsZvJbFlkkqcBxqzUEzYHOFMCnE9FOLglPXlFsrlzddQb5DqXmmLuFjwrZSJmDcg5Vi
UVqahz70JP6glCXl8KWFZ0P5NDO2JeqXmNJvAGIQsxtGIPRLJEZgMzAjtLTDF/EUdl4NW5kK1eye
MC+tknbfzJ4syY5Uo46TGWtKKYGAisPGyy3lejM2s2M2I9OxJ4LIOclluwWsauaBW07mRu9I9mPP
2WSWbTH3YyMy6BMwMh1Y2F2ij9sx6A+aKtyOMx7uumN/C/HIgAtRH0gbTpP3xXdFIIM7KdWuNReC
3GwLVgqz7qtph7WVDhgrQs9QHo3wTslvA/k+sPLNbNwi/MUlpa1KEXVPiXu+fU16RjsGHD0Bou2Y
2IxXVvNwqIihQvYJ1XCVljeBBtaOLDAW6GqNWDXx0dRt4VY/4VB3lhgRuSKii/Vk8mwEtFo8G7nE
NvWk5hzwGaYvC7PjmJyKplyrzGzbZthOOAoHMV+3EPkEDulJ+vSDmr/CdNSawOFdLT3Us+8iqfL8
lm8R6apWbwS/P0pshTRG8HFSAgMm7XmsuQ+fUEe5pFASexix59xa7b4v7xsZ02ekuqQoHM2U1E/9
Ii5h8xS0Qf9ah+eEvyUguaIStqL4OuWmF4j3TTvZ5G26pOc6liruo1x2u7kj1IJHg1/HJLJSlbBQ
CeMqxKAQpwopEbgSdWEjg/bTFkRjdp0NnJPjVzu85iU7a2sbg10uq2thmnYcrNu0dfu2XeIMVhTs
LvRXT6OtzM3OTmbYIKCFY3hIrcBYHEJucAyGFxONV2pgC++uQCJWUnap63e1ghHbMU23dJuugV/I
ReC7Udptr82rOkw20iisovS9AUyEY3DVhgeD98anYpfYkqhVGFETgQIIPJrJdJ1gGGUPApt1KReY
sBJmUPKpke7a8vhWAUblYBchCRZ6dduZbz5O1aG4n4DWpSrz6tAaODBe2jBEV12vyAdmoS2tfP0J
R+lG5jgxMmVdkmmIZWqWm5VvIV1Q9obyOsPUFvydxDxaVjkBjG4F5tEzBERpYzceKhi6mWh9Iiq6
TVXtJo3hBGnleh6nbShYN6q+4TMs53AXk3NDs4Hw+xbEMg10hHiR4S/eT3EgwRWLsVE8S817LQxe
mG0DtMpSZNpj+yZbaOjL5mCWR5keuBsiL+ZBJQXxGNE2I1tzhGlat3O1zgaiHBPZzQN2IdF2EB4G
+USOBqHJqwaA/TBWpxARhMLGNuo3NXw7tUg3GjxMhCt2079MGQzizthUMYKIsuEJkg9ZUNLpBA+q
NrCxsGzkMjgq0Rew/2+VgxEaUPJgSFodXdtDo19ihR6L5OkOMmjOsjf/iqx9p+JkhxtdB+gq+Fc0
CNRZeKtPjdOLEAzyswxxNCIXceihL3RvvcCEM5pPmUh1X1jImVXHCN8Wm9YIXSLBhDia92XQOKXa
M84AjG+Ui0eTR5484nwjGRM9T7bKYw1QgeR0IiDoNHMo97cywqwZ3Z2Ihbi4IT0kko9jfspzEtTS
dtOh5SbYhE4npLUvV5ryVhYvySSuEbuYPatzv9/ViCdUBAMhcbCW8jhyNI5qjeqRfleDB1hVTk17
zQgk5TfY9cyGDNZ6iHmrId2OwjsrbXvOfZsgYljmPKU03IM8wL7fZM05ly4VVtiK+1EPUycJ79V+
OYRBVb8T84EVr2BgH9hWuYD3OW4lYGkiyprwUoF/RYCMFJHUbzbhySJPETDlt3bSvBW+gVT/lfJ4
k4GlCKqHMHlrNNn1DetOiV+bClkfw5y+Qkgddl4p3ucKcvIQzol0Lnz6gSJdzmovroe1ou6Zs65a
LmmB4X83XUbjAXmyLnwgV/kH9iCxQI3RCjYKjlDWC+TNYiZGsM82L2hWWnyRaFTLjv8v26DEv8ub
m5BgAD2Yt8qAj6NAxqqzGf1A64y25rZqYkaZ2iZZtgz6wYToIIP+ldiB4uonP2Cv1QnY9xeis2xN
yh0lOoux71rzsCnS+9q/DsyEDA4fLS0cXOoLulSR41U9ngX/Xeq+Gk7QQK+ZgWCHYhYyN7HTTLxr
3v2CqFTqziM0pyFcCa5Qe6dOD33Ye0Z30ku+a37tep47ej84CTnipdG6kpmQJ2Vu4yo/WfOnWnCW
WKYbmTeS4QnMwaLQX1dcH2Gs7ya1BFaSeyhVRxXyqML/mUCFzDyb8/M8D/DLSb2UDxpbNikOgXvj
y65Qd+j3sTjvfOoYyR+cKEefb74nDKcggEzm25Se6uBkjM8KDHRS0Fd6g5qHFZcvgQ5CGUPdEsQc
xMVz16j7isShwbzWCQyuwWI+j/FU5LxE3OzneEq1iDkB8Aku5xnWBs3zStaYZGkfMBa8NjXXUp3b
hrFWIcEPXwXMj5ydXm0wYUPfTgXompRyUg9bA+yo1m4iQg6Cal8qZzaPY1NsCuTRaucOvgVIn5tA
hJo+lnba8VIdP9BqA6tkpTAoEiRCfgYnV+HK8GmEL2pc7wLGQXOJ4D1rQXTgnjC2WrWEoH9Z2dYv
N3UXP2bNA9q1RuBcCTCSKvc5xziaoWX61+Pt94WzirZMUXeohe1qSDZFu1PYBg+Tyqg05Q7JiL0W
dgH8dAvoDeGIdhGPXlNGu0xeZsfDYY4KZH+a09fB1hD2Vqmh2n2vmQiGfeuF7RMmBiQ1laPz046E
c0GXXZoXosU8MiJs0KibSEA7OBxztpIpG0ahOA/GizaYntVdJw3Pp8U+1b/NqMJaADkNazHmyYlw
rpU7OQxshNyrSTsEyGKkd2vsbDPnKsEmkc4Ym43PGD1K38z2gACqryPHrwoHeJNHzPNrY3FydRWq
tdQBTs9u72CmEmkj0qYerLuoAjytxv0dxvuzTxHKUeIJELN6NtwC+9Zc+KBN5jfevswDppvpKFiE
g4B8CLK73HwWoz2pZLsYxpXaXsT5NJXknYEMqbhV5rF0kCDAdr9K9YfS+3Yhc/Gy1tfDOyNlaIiV
ccpeLU4/ZoDOgI1bgMcx1FDbFJwG3EUtv9NRPHbc84F8yZXcSdJ8lc3xcWzZ3Y4ti0mTfzdmx42/
x9KPk5Q4KSCGCpf/whqa9GOhvwuMuVoZjePM/YbWgk3rbiCXWlFOmRI6OmPMlMVHa6Z80AiaAEbX
EpaEJN9YZMU0aX0X59x8ckUKRLZRBeoCc+S3+FWQkaaB/8eMVN9G0dUkBSXmycnYexpic2gWdIz8
xKQywygmyBjAJfYBIYsrEWAKHo4wSpyGTsUI8H4DZ6F8opApyEPRNxbyCg25G3Z3uXHrvHcMtI4T
mBcxfQ3nO4GBejZctPTaWPWhVm7FgRQ34DsY+FvFU4ZyPYYKppPYVhmwN+a1CJm2AihSKkTXGkdl
3ThhTTEqvupxvlXJV9FxHqHD3qjMkOqkuK1ESCY8Ix8B70kqNBfY+NoyfFvs5ZMwEWDDNM+KAGAj
xarmg9R1wFSufrEV5E0K9mTq+63a3cXT12D5dqpyUaXPucBqhzdmzsGhSz9l8a4ZAqfNlVUivyGn
QXQ1oklF4d3qG5GtQNq/D+M1Vj8EakTBwCAWueF0DGN/Lce7fuo3XfIlVYCW5piWaqJ34gdG0xhW
6P3uZonvVyeFwW+2IfCC0Hg28MhEOpSMgybfWwEuMW5E6s6AaK8eCUA0oOotuPTjE4L0G7HIbize
X96Jq4g8EIbldAyrroBVhP+tiBCN1K3bZJ9SYMBmmTdDB/WZOnAcnUQDKaQweEvvREhU9ZzZRlN7
VuEffOnalYAfIqwaMa717BZ04sDJnXA7ErnOLPxC2AX9xKtZnhuz5vc9O2Okbqqx3PQzYA3VwHYC
3qUpaCxTT8EYolKHKhQKvniv1WcM/SudujiCU2K89uMaqJff5esADrqmQJkQRtAcEZfC0acO62ZO
3ToMCc1gbJga5Bn2Lg4p1yrng2AsCtW3UYDxkANyzuySE7ip8axLXwaMprR6HPJP0gEc+LQUJM8d
N0ndlW7JRZe9KV3uaGz9GUNHJdohmfwHA7TI9NAmr8ZMtTbJmETB1WvZqgFgVEHnMfmEpey+rCHe
jMdOEwGVGvSXvbNQZnJ8D12e0M9SfANu0mqeOgtoRssSRbkZso1BExFVbBkCmq7oK0nCx1b9KnkC
EuSxwqzZivCqLDSHljhyeN9lfx+Yx5Z6t9ZPESkikrwmGkfO+ECYj83zjdbedtyHNVwjpSPLgt+s
yRayT08tHUbagAl5thR42BbizNuolzF0dusIZJoM5KJ/xvf/llm6l/CFRY8JBPe8kdAH3aUAilTG
JvXyuDyOkL0EavIMI4sgcIt04xq29CpFZp0NCC7EezQNjtEKTkfLJvAL1tBjgPvb1lmyxsRp6/2X
1s8HiwWoLhSuCOSvX9geWrRrIZpYqgHm7MUMhxUodI4voIGTjtg2dYShYOrCeE47+5QmikDRrLNa
q6+qtptran39NoY8xGSgU307r1/5HbXBZ65dc71yxtr3ApAofpa7UggWImTfw/Vm6Rtp2GQDuag0
2hleVN1q12XBsxP6O6t4VKobg6au9Pnm6k8FxrvImTvq/Q3haOdSB6XSvAr+a4TKuGvxz5QDhyjq
wuEjUw+KQs+jvxGgQrUDxjwA9wI4roM0M+Q/ZUX/RVPHWAxbN6sO0SJ4/NseQNRrrWBt9Y5P1dUO
4Pkdf214ipvc/zhmXP6pb0NNNBDkqbNuB/D9fVNvTrOu42T9VGD0dza8Zzfz+KnDk7SNfbyuNwX5
VVcrZfmg3/378J3UtB9eHD/GrzPOoZ9xyMjFZz6fIvRBptJ7i/hO6PWdxWwriy9lNB+iJt4m8keN
oIwdrod5wav1xI26zsWY5hSAuwJZRK0+eoIpHLlWCQ6JXeqLRQJ2N/M7rS3VDnLxLYdPb/bpvrPa
R022HrtRd+Kp2IwSkm6pld2EjmY007Xev1ZkBFXay9gJdoUtjJRFugQ6hVq4UZEuJuMLDKWifhJC
n778IxGf6/AtjT6mpgWvFB9CHSjWQBaUVG2gxh0xNcKOMUbuHUy1uYGhD9mBVOAlUmvuWA4JXYWU
H793zSlro81YjTsxw5o477DOQ9uETZKRIVUOH3HHLijQMK9ma2n24UcjEBM7/WzGCacvO0CiI1Qh
tqtKOQH1cywl2c7BPp6iW7N/UvV1F5ZehDlAAJ6i8IQ17SLBvgrcZ5XVkwZA+VAnmzAvD1MpXiWp
4YdJYz97ZokGDR+UmGSnNmWFHyLj9Ja0BV/3lJ5+2qdUNfg4N0UTexjP+WKtApgis8/o1Yp5pvPA
KefIYQ4qUuaizHZVou5CrrBw3E1TSkRStm7bxwL4T6HNdID8s7lhh7q8HeJ4g6qf0TCIuB4WYnqI
5JM2A2Ok+E2wk4TgXLX4VayHzYB6jZxit1PJXQhNuyu9NtuVFpb0THbF4FHUyWaZ7IQVdEuNE6uk
unGCk6XUjdGR1Cf60Bcjmdyg3In97FToJKmjKEbNJdEqtbldxO4iZgLTU9VNo83UGoDhPGWObpsa
NA+DlTkUnTGN2KIzUWtQeITA57yOvZ6Pnr8Yor1umo4cgCQj5lXxmWhCQWyT2lEmZJsJLDHtIzDE
A/986g/73rzGBQ8r1kQO/7XqC56hvkkqmkEFvSpgBfbdfnMnz49Kx+I5cJOUBMIp4D+NsSfOzG/3
gO7pUg5j/yRzTVeWvJ3D4H4eOE/FgREx8zzIDgDEtVw8REgS9RvZQq4v1fuSqrXJ610PSKhlPtvj
UZKGbJnrHCCAE7HF88DuMipf2/BdEV+EwmsJSY3DnHllfx9X7O3FA3R/sle8QEjtSBXPZQszp3nt
FBiWenEQ24Is6pHR17RlaH3SX0jlqWPL7n3yNwY8hYPOkM7fleHDrED/e5eohgzcBmF7KaR7q/BE
SSDWh2QEVmFUjX3j5cJYr5iQgKYFMpSbdwluFBUJK4wI2zCBmPq1QxDWAX6fm1jCdpDlVUKag/Tf
+lWyZp1kGlzsiMAoDTc2J28QWdpbJFiI1tpU1WNFQkmrKyTmHLuMGaJPxrsGFGmIYlibtBAD5k8e
58QTBemprxm1Fi0bHviodiJDWGwEiu3pQ6vv6oLZPekXIqfGOG+tfmky40dFQK9WWPtlJEay2rpi
NDWMb1oSQ3BipleG66BEEJ0FgLJa5jTV8IUEjB5LhMgl7tHiOXhTNo1humVrEfLB8KwdXX947pJp
HbX9KrDCJ9bwKxyZdpWY21yGXpf1JH1lTsPoXUbrUIasfMnnBXdJ3kxPpWoR1CYC1JPD8hCoVxhE
vHsW9AxxgtJyGywcpTTf6SGCZAwtPsDnqLYL8yzXE94I9jIQPIqS4U76EI20+Ny3MiCDnEli2l7G
5FlMTyI2S7M9StNTEtVrWXqKwyXduD+H5UeVymicUSMjSCppaeOWiidKruwxHKO6iOX7NN/HAd5V
8pc5D0wh3k0mehhOsTHFBiY1fJcHOX8Qem/AftbF0sOQGO+pau7Jfv6amST3/j7FSF/wcGXdA6lh
Tp5k27m5L/vHho58gG+VIhCOZFKCL6H1EEcM8/hQl8GkHgAVE5EYixuoBhuFPYU1NuBZzwqjZVMk
gpPybNZMxyzA2CUD85o7g9lwTRBiuhTPytlgAmIRTTj53tyrTg1B0JS/su5VELB4DJ5Fdlt/iqPM
0YyHsvoyrbu5EXYhA1vdwrI1AQ/0AUnfllj9knHtS7WTsi+IgsDJyrMsffzvL2b6yKRLhNLdZx9B
tx4hzJIGgg7NfFPUksNSfjYYA9QkROSbihi5oCxo0LXLVF+w7t/44TJgUoCYRlAxmJjK6nBU64zZ
5weLhnPVsocxvJgBSLcsrALsaYhM2nj5iTSGK0c60fH6QnE5yXML5ILx1tQIa+gQ4OiV9F6UAbkh
VhujaV2I+NTrW0C93pimMi/GH8P+rSrf0DSTa8XEzORTmTFS1DicUpEEIFoig+E+vroFDjboz2hG
F8Ucav6NWYBgIxsx7flUNX/XK9JG4jhQpBKpkQG1Yq0ND0H2Gmcc8RZ6/1DZamC6V9E8q4ipR4+Y
Hzh8JM5IMIPVIPfUWl4L2Ufcv5d1cctEatP0BmCB94j89GwZuhTCJeJD9suRrcBNgqlLKfXHkbCo
f6/AjL/uz/9v6at825+3qVAnQzZfc47WXCfHqLnW8RMiOXoh5rhRfZNI5xTypgYdckxvK+i5Znbf
aq+S/9izQ83JMvNHKpiegKV0XUo5SFviyIPnrOXq/8iYr7c0nj1rtZphS5CmdhWdGsiFlUktvdjO
eSiiWLTr7CHqH/pKIHgpYdAb45QjwzVotiWX5FTtwqUtgnM5Sk5SP0DIcqyp2OYd4iU+YcgETsZu
Y27OAqvDgU43g67X7mKm6LHi5C2+sJNUPBbdfcjvY7xNzce5ZhGRvf37p/rX8v3Xmvpb+T724CWy
vvhsXCbHxnreqNukQwwho9L2f3JD/UXCgmbzlwp+KbJ/EQrIbKfDKjYxFA+usaYF9p3Ippq1sxeA
oQ8/vLe/PDHokwxwVOiEEOB+E0GUiQhPIhHepx3SvVemNjboWyfc5/+JcHn5x743J7++2DcNRB39
z4tZ99J68Pr9VV8lD70X/CjQ/pva4lc1+HddPbGPMmwE8bN2pHX/IUNJcU2ndaOb6YFmMzr/JLdQ
/tr7/Ko///bTizgL1Rg8phgBjKGPBsWsjLeMIZ6lBN9lWd9rPqp7+Nic7Y++f6qmmMy845BvooCQ
98cetRsIlIxaaHgPW2sVaTXX2iHqb3L1q05OonCvFY8t/5nVaht1jLdiLYHb6FdNvq1lDD0+v83g
o0cQYVfcb8r0bgKL8aOLOb6JyjGJy1tAUo7VKvaYN3S89aHtthITAiPaN/GXqkOFrnB80LSN1KDp
QwA51d8T2BhAFWq0k6IRwsZ0GbdKpnKycQtM07kJLzJUUI4X8EGJYuwWiNcYJ+c+7ly5fNPLpykA
VW4Gh9JEMd2erfo2Z0YpCyKa3PsxvINz6VTDfCobpBBN4oBEWzda6dQpMkmG/IiR63ZbMMyHoPuG
S3cDHgxU8o0SDRdIOmvWe5A16aHAbjujdOip7KaeXXOGL59yq8Hao06aPYjLiD3epBlnNHdFjd5T
joJtRJkqF4yzqHaKt3zOjii+1kWB2JilIVw9ttfaVg5ge75qY7Ca6JWkwXTrMD0LuJCzOIRs0dnM
4bhcK8+XDoAucEoz+CpP3GKs6yJlGwfmoRlzR1LytdYwxknMjUTYazqeg3DbJL091dlGDGMvWNgV
PSIaYTjTBd3gNd7D5TkUgMnGis1bDKkitHbteAZC264KU7skqf+IV+gYJawiLFKDa/KGi1dgUy47
g4ORkd8WlmlrD6Fh64vFmpFLqqJfMAG7J4q+66G5oxPU+d9KeU1b3TaSazTdZz+9GxKAGeV2TO4r
8yaR0eIEzOWEDihzRk+O/DoUD0tcXFkE60AW7ACs8ICkhjUyk9wbsXrOhOSMX/uhN8Oj6YvqqjCm
lRI/sI3SAhoyFo2IOeL4M8ay1DT1SiamMOzU+1zcLVpsOgRgIOd+iZCLQmGrig37CAzDxAP7Dbrk
c8ht3sxPSuhvi4nSmH1ByPRo/i/2zqO7cSRN1/+l96gDBPzibkgQdKJEeSk3OCmlEt57/Pr7IKvu
bYnSiNOznlWfU5mdwQiE+cxr0JG3an1bNGJvYWdRyO2dX5ovWmqTNiZbhRmEnn45lPoq7ON90l7F
ZrOdPPIBU1pazXGkODo9CX4i6IONQeNERqbNS0Zi53LRqqhDy8pm0CIKHqm4gjp2XzbpszTOHfO0
3PtAe5DvCndR3B/DyN7xp8cgabdAHbBgVceDbQVOZre3YP9RKoWTnsgHefIfpLaDllBhfdiXWOUM
btPCNKhoLAf9saIkFlb0PNrBvAEuvDMt/7IJZR5RxF9D+a6EoRll+PZRnRsC4QY2ejNhBSMMI7Ol
V1l7z26OEdJZ8BxvUWA+Q1j+6i4GvagjigLUFlOukycGRnydB1YBzq5plzOUEfvMTUUWsxwdrARv
z93Fn4G9IN/ejXfyyiRjWBp1VkJobxZyeiPqc2/muQFOgJlZZPaBZRevjWNhG+MUrre1l8CvUbRe
oEy+kpxznm8nrjH/oAffzWn+Se+CAivJqFl4BSBNcpHhD0IzuPLX2IZMS32Jhdsy3Z+JDD6jdVlG
Q6gWiF2V6OAk6snqDvmcmmVcjsvBQZiCGMRBNckBsnEVbYb78cVbnRnziwDhw5gnsU9Y1kGLHcof
cvuVspkxr4Yrb85WSb+Efr6b2wlOUe16Ra+aeW5ihzclSFPlBlfVBRbYe9/Nzy3lF0HW+2lZJ7FB
lsZmLBhu5uzToFyBQ0LTlu7WJtqdnduZ7/YJVW8qIvPSeW4I9CWgZBZ0BpbZo7cZ8wUX6oJ2r+3Y
mzOf7ovCs2Fa4KFnxR2o/Cfg7sTqhg5ALcMi+7XEQ3fPGwFST17MgdeMOqUXEOHfXC60cwq7X67v
u7FP6s4aknaSHdH620pXc3zuubVDK2JFgOWew9Z/Dax9N9jJuTD9GI32qXzt3H5F1ISlYffoXUAR
RedjUa37PSXq4/eL++WF827Ik2NRRJbSiRzCH1UKK31uyovv/33jy/PwboCT8xAHbVmjvfaaSlgy
WiOPNhEiMBrPOJZ1BTyLKnq1sUptiZI/HBeKBuUm7AFmg/DLyl1iINsiN05jB5D4XynpIjD4WwOR
IeqbMqYBTlm4BFdmYyJBw0whnFLT3LHKJwnjFQvBQ704RjUPgn4/EKQkHU40lHzNu54iYIFhhzki
9FM9ViBvlRpdTqrxcUlxG6mZgUMLg7wJtOUAqTXkSVXeMqrlmSytzGErCwhl6k6KxVJpn79funnp
T1Ka99v+DyL63cWc0oMy9WF4lax1jQa/ZPnL3rzpip+BeBPEst+P9lVy+GG4k7e0FU2uFtJ8yuQl
5ksL9QXb0QUksm20K/9H19a/d8UpZL1O6Y3UHKu/6bzZfPVfFit7nbv29txgZ7a4ffKmDl5fIp05
vNrloaPLCFXkzNKJ+RL4/KUMDQlu0Om2fjKCWitC6Wz/96TRg1D3PuoFSSdo3oKzimR7L1Mwqgb1
prEKiJqUBfOwNqBragDV3zCAeoxpeJhd3oDKMo5Sqd5aAciqTLuTauAGHUURRUX9ojyOFDe+/+5f
3unWv3/7yfNfjjVMdRi/wVgu8sgHrxetkzZZfz/Kf3G12ZYpq7qGvs/J7hIp0WsVz4wTf1OvQW1B
Z/a20/X8ybN7C/ZJfe7Z+PxVdMKL+cmQFUY9/SrFNBUAGXBiX4aXM1NpVivYzgRq7SnYzIaMEA3X
kvv9RD8vJ4MyQRO9awUk38kVrofw/9M6f0nzx1G+9Ps7JT/L7P98MTAvGQ7STLnX1T9R8buLgZSy
4ZUo0BFAs5LLqVhIias6wwYdURccX+sAD1965U4AcnDPxcDzhf1xszM6FCtUHSFEWadBQBpXYMl1
66VzZ1kB9DNcad2cda/7ahR46Hh7KujyUUL6GJWaDTZY1Bxf5N2f/bLv3eC/EdFoc3j0cTKGomMk
zTgyVKjTzxUJta57xXyzfPqKbbf1Wu+AHHgI8dteSnWxSAFWqBjrIBK7jVIFUF570avIoGEYVGC3
rkfdlcivwb20UFLL8CFQUf4AX1vE44Mwm0MJ6XEyk3VVbCsyI9O0gN4eUwqTwFkDSbpvo6pa8vy6
9tgsjbLcyb59TQNoUwnpzJH4fBPSWCfmhlhmIPl+yseykqnNdB3ijg1x4A0ljeX3m/+LfIwBYOEp
usHO+KRwUcgZ4rzNRPoyKzptEzQKcczG3oYYbbZ1OBcxic9HgROO8Kw8C2tADTq5VtokhdAsptdZ
InH8Ga+C2zmRyNfmcq7LGXDN5gNvLahlrKEsuPrdBkf2pfcYrM6dC+XzffPxt5xsWQ90Gxfp8JoT
rUELcLyHqF2Ub5bTLWXXf0IYDNAidMH63GN6buCTKxwiSRr0Uvl71hWJN+VyFob8k02tOkrJ/jL5
YeFdd+Zb0248PTsgT5Bu4IAi9jgf1I9HlNlGkV3Vr7MNoppeVekPwDCoSO2j6RaFGD+lFB8i9gh8
gcbGcohoDdKutJJ1F8huCJkoLajpNNtRwW+wSh3fPtL8pPfD8fjZFj8zyV+UsrSmqeyjWmcC4Zaj
O7381cZ3SXGlKo+zkmHmhXRi2tXszjo1mDSWVzpawSkdIFnD5S94ynzQE3p5EcoIBYXHic/S0VHI
MQmy62jp0eJUoKW2dKeUKn7VwQuBzQVwGT8YEX7uRulKAEEpch+qaVhFHQVD0VwWwYUqLvpJXlBb
w16tOigz9BEOgJe5ptpvS7R5beaX6WKnYT5XFtC0kUJSCtTVw0cD/nzQlUvVh/IyQRPM75AwXln5
S1CCB9GSLQXfLV2XhU6XvUggaRj9RgXKL/BA0NJVT41mRLDfiH9KINXC4KXDnXKKsmXiNys1KgDP
GusMfFzCQii2BDOdi6n7STO9hQ8fGCam7dJG7Y2tSKNjYFgobtGIKLCa8TqYb0DFNTg/NYR18SCD
nZLp7wXGQSs2lOoi7MnwmwafhyZxd2EMl76MtWtmbZUAaF0u72czMx1Vu4jrLNWpho40joLLSoAx
E6rTWUcRm2vYRYp8oNtp1dcNazY0c0G34idwdEf5RtKzTVKWGxkE/kzuUvyrSN2G8ZvR07fn79gv
8YAFG/oFpbgF6Lto0MoQ+DQgkFhTx8KISLv0xO8o3af8G6lxMGkcYwUma7+DQl0Yfbjw50grAmGu
3NLddfr6wsQy0WrvNfXnOL0NXgHqnW23biWktTKXsC7Dw0aq113zo/EGF+4Nf72DTiavAl+FYvAb
I2760fdxv594irEOXRs+ABLxNmQ3gL8LfMYk8I8d5BpPIEiZ3DT6c6HDGximVdvNrWcksRoUvVK6
rnTw5aQ8IpYCI6Y7lFH1JsxbgSiHUfbLMip4qKh3QwiBwScMJ0GA0pSDTZr9surHpL7SE6BQWeWE
9iYZnkprWuXpmt2Pun3o+Fl9wKJsO6Ik5oN9NFhCYt21SEAnWo/hhHGXvMjGA9ZmZ4LDT8/SyUVy
cn8lzaQNxTS86ubvJnsLBvlMfP6F2MvJCCcVBCMwK11E6u+sGNZVBV+tBJ+IVYIE/SNTaGlUWDL1
tptZ3iNI1JlIeV0BWFTLBPz6rUJjRC/QUu9TjyI3rCkEXVNlxkCa4Uof9M0oxy7B4BL/C+RdpovO
S1aVVKyVVgLWmv3utOSVqJhueCK2vtU6Fieyx9S27pRtEVpbO/CP7YCjgIfboCRf5nhGqn25SMPk
su/UFdrXuPcJQos7hcguiNo99mRvNmSJwZAfWrzi7BCIzaCttfBtLvBnPra5uC/UgGMS/lpGS98E
Kd1o+mWfV/iOKZsGDK+qlq46V/Hnww+8R2G7WNqiR3e16l/r6l4WF/LgIR8yLGaWHjwrCalTWS5J
eUHKU2EuuktJNRHAgO1MQ7ifHmbXQaOvNinQ+0Ud/q5DMLNps9Jrf5PH9lNg9JEjYdnZN/6Nynwb
o3gWdu3wKx1MU1xrZm1QJpjKFuRcuCojw2lN9AQ4lDa9WyMsEOAJV/5wGQ+USIMnDdtVO28B+UGr
SFQXvW0nBy5Y6OGNDap3mdS45bHkRqxjOowm+6A/GxAzzabeC/xH4tpfmnTi4YK5ownJp03dpHkI
pfJaK8DdQ2K1ihbBV1tAy+JTFoK6PNRJdGORgFxOhINaCxDLiBeGXq9yJV71QAFNN+RRpm5hsmxi
iFypLCvIB1xweHv4rbce7djJVQ0rzvJmtje0fQRa5mgUKZaS3DGzgNTFlJ4s8C3GGqi9kkCytHTQ
iANWxkQ/GHGYPnou4MCJ2q9KPqivNNywL0L81LSLdmx2foTyAqSwpPuFg/rKp0ICv7AKXoue60Vx
ea0dP/dXQ0n4JEER636M8OxKWOWTgLOEGEoNRSyqCWuayEHRkDD5sgbjG3JAZEIAeZf2GCuOLdDp
nQd3Z0qNH1nsXbTlcGhS8wZ76BdAYoecOk8Y/jCr2jXp+9WDdQ20ETKASmvmuqq9qz7Ajk3nXgPH
b6ADVcbhi8c7C3MI/k5OTB1tvaxelXZwO07HEn/V1EtxrFyVsbEb8FPMo25jssmDjMKhgM7WpI8c
9pXOpNXJ31UgFHAjXlZgJ2ofla0evB2IhALdxJnqmqPLYoJOND3pPp3hIjOCI9Wggh764JeiRLvY
esNZbyeJArVHupSmlLuNr8ETATcvC7dEuEWlw46svw/abujAmY1vWHXT5fJvvWbg6QWqhoFi/4BL
wNrSW9DKt2YlodOM/BUALc38hWuhGyZm4fjKuMXmw9HHcZfggJnZ5S0qIE84NK9C+VeCP26g/FD8
Gx45OqGXUZYdjZbtFIcXWgkGDF1sM4LCogG04YPmPReWTRUXDdaN5UXr+dbysWpcdrz8id6svM7c
iMHc5rm/gce9VogpGu4CD7HApELNqgUIPR2NxnArupCyCszDtxZmdhO2Emhc7cxL8TnGni9yy7LQ
VZFV5VNOP0EIHoZ0eFWvsgtvrTiZG1gL8MdLkOQofv6cFV3Uu/88wj4Z9uT9UOvRUjwxvOKYfpVf
CnJS1Ul3+VpaeW50qQELQsjqbKb9GR1yMuwcgb9L9Ad0GrNAWL8LXEjJta1t35LNDCvaqGdF3cWn
SveMDaGggLKDJhB3OSnUmjHtZYmlrVf2K7Bgf1NAj3THn3MmATSHO2U7Yzg0kjn9AXaA/5SAyTyT
oX6uQn78FX8c795N2S/HUu8RepprG7M7rSs/FyuLckZ5BR71XPPrixTm/Zz/fIB3o4kut3LT8n4n
0cVA0u9LcKUu5LxYfZ8X25/SVGYFdgpWqzA0hIFO1jZF6LPS+/y3pUn4RSM6JtIeT/BbJSwwT49v
Gl9fSa0OSzA4NsCToaZyvnw0vPVtV9PxAJwGbOymVJu1PXZgz7WlgXAa2pnwla+QJwOn500X2H69
9XSq5TFwco3/7bjDAEweSH9AK/fhEtoDpXFMg8LuoMLmFFUH4TxwLUhw0VTsbfkmrNRfJZDctjLu
S9BIPSmGlcjboTNWihw4YS4cIbyHJMY2Ub724DMBdAe87crEj76hr7X6OR1TF2m2+RImRlbJZ8QD
nGTYT9L9KI6hVD1ayotMhENd5roPPKBkdBtlfGPiA4akNVQUZTQe/Gg4CCu9wQg+EQEadKZ92eg6
9WI5B2YYEYipXXHFwlgwzO1dEXb7FmrZaLxWCHvWTbcKDBv9ua76DRr4TGT51f55913NkxQ4S7us
RFH/dSBAI6dJVWTZtvHw+v32+VxW+bh9/mDz3m3TMdIjJLNBT8+nAmPayBke5VvozYvxDoRCdn8u
uadf+Tm5f79jT+tvVYjAn6Ghda5BvQA8JO3qPETKfEpm8ES50WuaxX1D8FG4hTxL64vaqfS3uYgl
s+gRUumyD3AakpXvV2u9Bcgbecqhhasb+wSzZN5pDEsHvZGyxT2yf8nswbUGbdkNOGWBXwFItExR
ETErZwAiD9/9csAvKNCfZ85Cnz+p+aGmqWPaLsz0NegdamtC30j2dKWmwxunaikhstaBbFdbunYx
6kIlqPDJQNCtc2yI88XMFIdzOHVZCnxWuvfk58aDCS5lmyGNHI4zHO88XBuT+lyW2S2Wtk9DB7Tb
C7EPby9L7KMNr79OwRuZInBFEayhU92GsokuYbrzNGVloPifV0gj53HgNImZwHELl5C4Lf6S3zXP
HjzDBZZSFExiR8MFoPDQCoBCAFpR1yZaBThuN2sp/SF3/m4aL6rwpxdyeMJSpW5oumbQXYghX2Gr
hKXzLP8hcebtnQc+xe6NJRY+SwHfoc85OYQVanvV9T4Cz8ahAjA8gXlOumt1KyW5SydooWQHnAp8
I3606nyJhkhb/hqTYyjuoMgPAnCXeJhRZkF0n+eHqrE2GsFtnur7aYL5Xe4l+2HI003f/ZqsDq8z
QVYPpJiSS5kerZEgMNkl5PgzKdAgOYbWtsmL6geuBVe2TmW0ajftAGBQpAs/lS7LmRCMkkW7NJS9
3mLdQ5A5gBkvjjJbpAex1SYwMMCCjZBpAasUunKhQREPk63p31vk76pOok7hP7ov9HQ9Yl2voCIo
BLo7YJIGcq/orScm6hOxr40UrDxG99cDPoQANPObCNYauKp1aEP6LH4WEoqTWn+BOxbx650yQevM
Dn1XuOpICYVkoLJxRrGCS195LvBX8ItDqz7H8O5j/83LHsseLfYOC0tIDUID7o1CMdfY0yQQ+St8
J1N/ITOzsnzg2MlTiu55I2N11soU/W2ATzEXOWg6zZuO0wCoPkcaUUQ/QoBehlo70/ASjNo6aSrY
rASgUQcs6seg3hvxD7+gIha3m8m6j/E9QRneUcnMshy2OYUIqdwrMD0zL7kehu6uCCCXazQatOI1
0SdkBKWliX12Z0au5g/oXCJD6q2Q4l9PI23Ux9B6HEWzjpH4VAPVMYcfGighr6Pqp+ME3eGJizJ4
1MOqR+NS99ax/kb8uQLksxw5MuFrIB17ZdNa9w2UGjCW5vBLUGnSFV4Tnk6DzzE1YomZN6q/Ce+Y
NMHBGu3gOU2aK91IlhWowkCBLlKQWJcmEjpzZsQJ4GIxJQhy3W4A6xsAd2OnzAbrF1rb3DXpDyMY
d+j9co3tJVh9o3jTdIrXymM0arc2ClAk26sy6R2lAyEDvr7ASM/iP6n9Y99Fm7ole27uTPrFef3Y
kzbbrUTeduhk35FgpJvjSwNVeEhL1D+eAv1uVI9tViwjZF9T70H2HwbpGFclYPtog8E3L3HtoJOK
BCw4oJJ0b8jMH6JCu5SmHXJ10E6w8jbYh/5+km5Aiy7G/EfcYx8oF07YApuDXBIU0N715zG4EbDc
w9KahVJZJ31fWiUe1p5wTZHfC73D6Y6yKEtAPcQZdQuhVpYDDRAzCy5V8Gu6hNw8BTxlsLe9X7kh
pZA8QU5FR9SKer8cNK40dosKlrFRIsuhw8g9VHVE9W9cFZF+nQ3hU9fx2ifpVRrKuxwfExFSJcYE
1uahEaiwy/mEjUeyLltYpWAtY107SKRJo3Rd6MA9pOHZFs2x0w+tOOTjLb2+zOtwE0F5gYNRmniq
kbD0WrLyOMheRewVPyYUu7xcuNAnemDps6pBREIUxup1rFo3WofAUlFzTAoJCpe/9icQBNbRTGMi
jeA4VUBtpJJY8UaObkKd3HGAR8bdU2WYD2qAcDI0mQwFtzckWApvjYlJ2VjkVNV2Ev06VdV9EWN1
HklbY4gctX2phnyfjKh/aj8nKThoXr6RcsMdqsu5XmijXWSix2siQ5Sxb9IKj76YVwk+RxOqBxNy
HTItftEBYL0ohp9xe5AyHeocWktW7EI+chJ1nYTbKkQEC/bdSAU84LUQAHwLbT/5KiIbSMHbL7bi
1lRfm3Iv+0gPGpPTt8hUNfABQWRG2a1O2R4zwqVUvhbFjaGCHZ9ePc5HHSE+PMkvfnCZB1dJdYks
jD8AusQ0qTdfe790RbhNWcDRP059vm3tfM4vgWQOOmYZ2qI2YXPRBsB7Zps39Y9CR8EtyB7lkou2
5idPmuV4uAiVk4RSQgUiriMlqok7oPnpwX0Q9dcxVsJSdl/ix+YP3lYulEUcX5sXULXGRbKO2Yy+
gqWSFu96m5pZrm5NgMxBPhJHUJ8Lx3TT5ObGrzXX7lMEO24TL0J/LbhSEPjiNjmEgAgaKbgN40M4
eptapJeRN2x8X73KpWjbNfbBLP2/cTr/a+L2L4NE9L82cUNO4CWnb/Tewm3+f/xt4aapf2mQby2T
Hv9syKaSePVvdfN//qUpf5kodcoW/9kGTj13p7K8aoL/8y9F/MWfoHKOnqCuygAR/23gJv8FiRon
F7rb9J2Fbv0nBm6z39v79rIpZKzlbM2g5aohRmueAh35Zb2aDbBlJlzR1qU02/D6mma7XJLhPfaW
4lExexntpkwGlItMkJPVcINQlPKjrV80RKkI04NAFvR038JJtjZR0UPWH2e/hiTGzECZsMDeYwEq
1J0wc6xVhG3cjJLGbtZEUyAwYxqIDDYWRKTRyiFQZ3g/Elcmw41kh+lBamTqwoMu2q0WKV64Qd6x
XSvUQhGR8rSYgBUoPdweJ0nDFE2BCMZaTa+rjmiatLIyLaJK9e6p5hWLwTJQI076ivC3BJndiKKk
DJ50a3q4qttPYTV7PlWLRKJL7isZRfSA+7RL6FVQZ6yaQ5Ci3jJUdnbdhWpyFD5/EM+B4uhxZ0B9
Hpc4KFKwLTpkEexMfQWil14kCp2mNuiQGKrQd0JGS6v0gz5p4VaJrofWpjcK6XUD3lWsbD1XDkPU
DD8HxcvvxyACh0IhmtdcTABUupb6WZ6HTiD1oZPU6H2N6oDiV9x7LnhkHnW9aV38XlGZwFtK2kVl
5N8WVmAOezqyM2YXq42xGsZF2BStgwBhdG3V6UwgngIKzER4cTYaF4meSS9toeM0VqJNfldqM8MQ
ztJwXQHufBMG6UpHwXU/jQC0o6wur4tc9pFsi0iIVSsQ6GCXEj27qR/LS6VJkI6PfK+GghmoFGxt
g+C6t0x9b+khEjEEOJ47TPghyZNarfouNyT071X5N13F0vW9HHY0qo41wZokJyRA9YQ1uJPmevUY
6DpOIJYxJHedpxTBqsKQHmoUez28SDyfTmweppK0q6a8uyqhJIPXt9ubcFBozFn6bK/VJ5pr4aV9
LFUp2lch/mXEyioeNK2a42YtWtG5DcsUPaVaMvfzTFW5aY2QrKQpYJpUtnwtTAJqRc71/ZDJ3ZKc
sqWzVURXU6RMb11RTgeBkD7cmLT8acaB8oKG3HCfWVXxW1VKTKHK4Y0mtbzEeWgOqarh2Hhm8ECT
rX6KayVEnD+AaDg2Wq3fTJIx2Rd0gigmZygyb3Thaz28MgOWupimrqcXYZbRprP7zIIPklM6l7TZ
r7WFv8PzJkg39VxL6etGOCAiU5NiwALnNGAjtWkzPkXZZAQrNAYThec6BPkIPze5GW18XrG8aW3e
3jqbmo3MpvTXKWQIInHRodcmWtNufiZqpl4m5dC/5YM9+pdqO5XX767f49/YmPdmVx+bdSZ3HB4c
NP4E3lq2itvVx5qkQDxJGC2dzz55kErBITfc70cQH6sq/wyhwBwzFRNkx2m1TFesMIRQLIibF8F2
XM8gcflA32SFLswRWKwz47iA/NYL3EyWyfIehum2fA7dc3UQZYZr/Rsf9M9PQeQa2Vk2MK/Cx9kO
nmbIKVi+hbbWUZ2/JJP+4W27FwzvvYtZZyPa0ZNJURlzzuFJ1Ll49N3Yc1HxXdUH0Z6kESi3LNB6
MPAhuK43iMvQ2tmH1KEd/Up6rS7CB16IYGWtZ2VlsObrNruiNNM7r0PlQiNdaIDccTe4+f4bnT5s
f3YBcG/KxaoQPHAff1sGoFKWSkPgPwiDur9Tyf/CRiy+H+UjCOyf1Tc18HTmXJA+RW6qdRm2RgUW
eEYNzhY26rreVutzReevJ/PvYU76z1lXRGqiMhl/FoBNPG8kZuy762bU1DPrpn55fCBdzPopBAR/
Pvq7jzqoHHm11WHeg6GvLxPHX812NsMmYXujUHavX06PLZs9XiLXA0nBWyD+RHMhWRcOLiNX0SHS
Hd+1785SCb5c7Xc/jbDo/X6jEp7EFliVhXUAx4qchb9XNtljEm2U63hL7QMIV/vIM+Cy2e/8x++/
9ccS+d/fGs9cFKVtU9VV7eQjmEkOZ2rGfdvWum3rDfjGgvoP+mym0rnUPr8f7s8OPT1d78c72cFe
bwdpRI9/gfTP1ljWBw/t+jfpMoiX9o2ySQ/oRa9mHGVzgOp1pAL2kk7OrzPYrT+y1d/9jPkufLcf
PJ/6IFLPmEas5KW/D55HBI423VHdp/QOF/FBWlKIhM6UbIo16jCOvK+veK6QQd0Ye3xhz8C6Thow
n7/DyY2HdTb9t4h1Ma9m0OyYL2cMXXBpuMV9cm1uv/8MJ+yj/zccxq6qjfI0Dksf569L7AXZmOu/
DtI0q2Q2dcpZ+xm0py/R0tvYv84M+cWdbqqybMq6BloRLOvHIdvUsiOzLOclJ9td5LtyXLdvgMM3
kAo0GmyaW60paHhwaVdnxv7iaXs/tnZC16nhRFVqztiIYa2rbeV0jr9hty17gixX3WnudBg3weHM
sF/ccLTR5ZlCY+i2fFrN7/O81vuWjxp6E2kzqmSNRHkqAzU2FARsTQJnLiCOb8arMhpdTbsp/Wzr
GXdgWYx4eDrzez52F/589Q+/5+SwV0VXVJbP79EO7apFlHE52wJ0VHlW8KT+O63UL64X8HlIZOlz
pohZxMePnqbRQETGPoPmq10jA+PQWzjIz9WjKi/LJ30tXGzYDvGLgVD6y/fT/eqjc6NBYDYsYJT6
yUfXLEkNDYnZ2nVwYWX2r3JqbkOLC6apztwnX+3t90OdTFOePLxtc0Knybf1jW753rLVCvR/xjRd
YQQoIznJVvt+fl8PCnKZueHAcRokWdpU6YnJw5GB+AhlammpvA30XVjI6Iwbd9+P9tUNZeqaIgTR
J9bon+hgnTQR4rKc/W5yTbdc20seTvzYUO85ex9+8ShC+IR4pmLvSpvs5JmQIxHkJi62C1mgN6jL
6a9ilJaTkj80U+uOUX9jZy2dJvXMTfGHEHHyMJjUu3mPuacsULYfN2w/DmEgYh4Gp3gS686hCXSn
bqRl8hg4iPBeIVzp4KfygOiwi0rTmTX+4sIAZUHRwtZk2RCnhYsuCmWUuEZt0e74psYOH9AjGpbJ
Ql2v8m21C3b7sw4dX1wKH8Y8iXebodKiRCKzqFfS1eC064l7sQVfgfYAPNRzT88XU6TMAwfVViEA
UKX5uMCBjqNYrxjaIq4xikAB3otRzhHymQ/51Xa1aaVShmckWT49/aU1GEFXM06N9HWCI4SBUH5W
KosULBH1YKP5YYdiL4XIKXNuJDA4Zz7mF/cPqZShYOkH9P+TX0eXlCNbjF+Q9d1VB6uto1o9tYYb
oSeRVkAg23KnTigIyB4IaIl+GPw8KrMJDuB2Za6k2lqf+U1frb5JZUBVZMgXdOA/rr5it0kSSqTF
s4xGs01X2xgLVtAlwypbhQ4tSLTCz8Q2X9xTNgbNIK9ImGE8ncQa/SBPXTGPqeHrbZXYjrm4knpI
7M2yv99P8Mv5AfVQ0BicUfInxzdL88xgL6P6S0cgV2WUd82rzBTu98N8NSV2sG5hdK2b2unDHtWx
lhoB4sKV2QO94vr1y5XB/V8YGDon52yW5nf546WkCF3XeEdxf2EjnXy1VtWECEdA3Ym9CaA+Kmrk
fD+hz+vGCFRLFWjhM9/3ZN0Ky2ziLBmo2tMUVnv4/DZaofU5DtWXE3k3jPi4/bTBGHwpYJjA6nca
SOgsfP1+Il+OwMVi8TgQ62gnIwABRGEj7RUYPzRfUUWnwfQ/WSvCZllXCGZhL32chGiUUW+0Ft8Y
tEWpc16a+XSrivLcY/A5dgK2JM9XmIzfGOXpj+NkcdR6o8E49WpwFAdNfwBZtKsX4bW90tcwa50I
vpm3hDm4PkeuPAHBzbHih9FP70+59ZG8MRn9b9Wi+g29b2ipAKJ+/IcE989jnew+kULPCLw/Y3VO
uFH3wDG6WyzjosUrai1u6ubd8dyoX215sOEqqEaTKFE9OVRJrdpJXaEX6uGi0PueW3TDUor8M7vl
i4iChbQVk2iCa+lTmJZKkdTm6PosxuvuyVgrLnyQZU3lfeHx0Kr6OnssVtL1eFH/qpZBv603Z4Uf
5vU7vT94aWUufZCzQp8Pzbtsl3q7R7WTzt1sPCYf/JWEWIG1qI/V+lw48cWmZUWp3GFyZmPce3o4
ek3KQ5NV9eMd0r3PpYKyXa6tPT/cYuWJXft0//2JP4Fp/dk9H4Y8iSgGHBYGzY7R8XZM+F/YfiFK
xmaVXRwzr/2z1ckvNg7jEZoqqqrSsDp5z4x6LPLYY4qFHW9ZcAoGBvwn+QyFX3wkSf4zL5vuFSVf
6jOnAXfXV1nqDdz6JT5u2GWtwBCNOLdfGUBRVvPxD12R79K9qiyGo3mnH61/pMv+t/35L4Pj/l+3
P0FwFM2H3id//e/ep2r8NSeyFONxp+YVsDgBf/c+hfaXYeuaST+Unc/zwMb5p/epKn8ZVNWJQzUS
C5Uw6P/3PoXyl/0nIObPDR2Ytfmf9D7nS+v9SdfmXJCbhhCIQEH/lEB4Mg4LquHDToEKNqgbxG13
BdR3oRdL267X71bl+Pc//F1X4s9wMK55bzWOg3FycUOAtIJqImRtC7EPRLSeIfDfD6GcpoJ/jzF7
clsgeInmP15eBpqSnWejwgBSdjshbiUc47eHA164uBoWbxoVqxbU6WLHBLdnxj69OBnbIrzjs865
KF/n49iBX7TjkHkQVIrnoL5KPBUaXrH3/PsSmoRWQV65TiTQbIBuzgx9evo1Ej0cP8kdGJ/H42Ta
iNXjrCkxtJRddQ2+t+oOZsul0mmbofMu4IfhXfcjEdP19wOf3m58SYjEyAOhFcQH/bTcpWf0Vi9i
EEqphX1YoK48CRmPVrTqmU97+lbMQ9GpJ7S1OEcEOh9XN+x0K/VbhqqL8UXHEe9CQaI/lIfrwk/u
UQS3b+oUhuj3E/xiVLpouLhahNQKEhEfR5VBkZp5GCEZMfkR0FpFvMTgNVfeEG/7GLiqvdMQCHv9
ftT5if1wMC34SZit8yLSYfv0OUvFwqxh9KOlrE15thSRkr8qcelrZzKT+bE7HQdLVkOQ4ul8wfmC
ePfUT8BKcX/JcJOyvJlKuxpEvMjlbI8vwJmF/DwlHSyHbsgm3HP1U35rRIFmFqWY+8Ytrh0/g+D3
f7pm8wD2XGxSIZSepj2xMIE3wBVcRqJYZwk692mV1qvvB/m83xkE3jxlrVlh/3TBWtkKE3lWtJ4S
w4ZNmjf/l7PzWG4c6RrlEyECtgBsSYKelKEot0FI6m54jyqYp7/JWc2n7piO/y7HREAECoVTx2Qu
cgG51zUn+y/r/bfNGWGAbQNvMIgKSC19ezZGmJGzk1NK77Gk03o9A9ozfQzd0JRpHPvv3/Wnp2OD
aOOAYv5hZMfVSsNw6ipdDpFz4WV/ZKz3/7zW+D28RxyFeEC/RdDaYMhapy2FUeoBZ5mlddl2AM33
wQDNmK8BoHeP/+cfxQvE3fPYMkjSfbuDY1J3MxOQGabDkvNdX4TDuqi88C+X+cOaYGCEdWe6tzTC
99NwoRlW1EUeawJ9pYOYzmKu0m7bv7xAv+9EN4oIGaBbs5Twv389e7rk+i5BVwINyRcQD6VBf47Q
AMX7VcQMAC16GL3rZezZtMT89638w2Kk8YckBitfJyH07dMm3MjOkYDwG6eLlj1p4pV26IfJuv73
ZX7fjzDV2qTgKeJT9PneVGD4s/KzkSk8062xK2WpVVd7rerUV+canEiiNIuTv6zL3yIG6CykMQxC
LpYJgfT/7oFF3Zn6JDs0MKLAull9GJ5PrmuYPhh5rB6KKO+2wk27v9zRP6way0JUzbug8938/uV0
c70LVcpYc67yoDEYvEgafWN64V8OBt/fbEEgwurHT+34BqWVb08uNTSGzwueXD1F2l0kpyrwzbr7
S+zz/cF9v8rtr/j3hySrQqsoKcvS7GauYityl3k1i4OJ4z3ImQ/5y0P7fve+X+/23/91vagfOkvR
2r4M6cQ1DnPzbDaX/16Lf7yExWqnJEXR5HtCpZa1nUifS0zteWJ8qoDj6cP2/++rfF99/BAb+hEL
nvyz81vJy8wymaUlQjTHiYYjUdwQFHUU/hqKDI5NMZiQLHJ7p2YL6EYso+QvAdwfHpxtGxRab2+A
9duvHPPJKDtvYsS5Q2IsI21NEyQmjLJgtNuv/sKx+r6H/fNriQLYx3wdGMy3HdlzBkZGS5UtB8xA
yB6YmFqOZhm/lFIOQR2O41EIkZ/qdJr+YlP/w+O0KZWwe3Laobz6bcWQeeO0YQ/caNrJPnF7qk09
lujOCyk//vuZ/uGV+59L3e75vxZnCibFFBm72FyZr2Ly1/C7/rI4/3gj//Vrvt1InWGleJgJhofI
945J3WCGU/KhE7seu8WiLpGgFYm2/P/4Yf+cP4l/iIW/XXVOsp5eANLwZkjOdIw9l4mpyf/LIvnt
lWDzx1phcKS4/cJ/kDb/un006/VKS82W8WessWFSvdBYPi1C29tGZXxXp9mTkjGeAucvm9g/c6v/
DoeJgMmhkkX1aWtzydp8e3ANGr8oBrtNnHIdlHuYRvjyo/kzz5snbvKV8bpVD76l8POX/761vy3P
b5f+tjw9K2x12SnkGf6L74IQLr8SkDP/fZHfGjm+/8BvKzMZZMZwa8xJtMSdGSZrDe0xw8sfvggb
GlEzJnuMjV3bK18ke60Ld3Fm8Nl1MkizYfQXbudtufx2u2n69lBEosb6HrGLgfpw3/OgLRzqTaz2
nZr2bVIerSTbS/1vFf4/3eLbq+8RwOjkPb7d4qaLXGlNPF1P1MekiTYNkhcKHX+7yd/P4rebfMOu
0fOue7TMfOsk8C3NDlXCo2TQ6+fgjPdpxsgr04nebCKeGXoL+IJnIu1jhIIz5X8/4z/dVJd6MH+D
61Lp+RbOZIk7yKFnZm6OS1s+RX5nV2urSJv5vifFEz7mNr0t6zFXtfP435f+bd/jAAnmi42B/Afb
7LdQQ8yQB6oeWJIzekfDLH7ZdvH535f4bd+7XYLN27nV+8mdfft1FQ6UyhzR3qcKDQvodn3K0ND0
q641niMteejD6f+66X27pPm/m0LBaGfooM5Y9gVdpHPW7Ofib7HGb1/hb9f4dudGz45J78y3a/Tv
Q+Xgd4wPDT09C4bM//Z7DPe3HZZTpUWwQaoI9KLz/U3g53hxTkP/ohVIrUVjzsaqSfSJ4pCtK/du
1P9Rs+jcYGA180zLVy1uImZzQLdJ1WIoUX30lgNX3WjQ06pI4LkchcjmRzy8n7Kx900OaBi4XvSj
smi/T3j7tm1huCcRWi5ucBdRU5k2gc3o66K3RXawPKkvIgbbC20Si0pMH7gtr3IcL9mN3q4bb0J5
m9r+Ec5PBV7rCXHTZJennGaPxOa8XydLrTYfsuGoaZvW/xQdZlvEqYxNHiDGBzaeg0XKgHHNrLNT
r6AYwPyXgdv6mzndRta1MdG4FdlGOU0Qu9WhU922bEGL2BdDldshbPd2nDLi+FUxnWnmOweQl6GX
+9IyHuK2XUlbW3uMudOCc8pQuDN4tBL0i8ukWleUmpfM0VTLOB4OdiPOlRdvQ/cZC/BxcqrjgJWx
HpKzmODv5k6BSVeOzGLijaiU1S1JRD2FfbGlgxywDWkUfPUdfDA6G5iAY56+U+ey25p+snfCp158
4TnHTJReNc0Vuwpigz86Xw75CntMHgoPwZ6DtsE2t87MxyZqW6zvGa5JBD4ivWRJ/2IIpAcA3GzR
LU31dpNpl0kSuH21sNk+3eGGXWsYi7Y2Qlc4dZIbK2Ep9HAfgtgZmb216l+ppgW0/XO8KdGb+cXD
YFGTEPaSGUSOyuWima9h3O8bEwOkl6Ktnk6GxBQxYHHa3abZmYGDj9cngc076F9jZzEnj0O3KGjX
b06+2Etre2O0pcw7G+isaj5vC0tmmyk9w4Mym4+YhkxvQAh7ZDQsmTaQCbqOAZetka6lZgedjded
Gdy22iCjhP/oBH30UiY/xhycF2ImpvBWDAItpJE+TYW+t8Hn6yV8azfbxDRxz8mLlqkXF0lW3TA0
XUUrr8Az7yOCWGKhzNONT69qvHDt3ciAePd0o1ylDBDoI11Zx9l+Qp12QF2J2ey10h9Gx1hxXw37
1xBS//NrYJd7m7XgwRk75jLcWWl8LfpwOTqnGY2hv+3rR8y4K1M8OIDinfbelY/5fCfRvo2pts4T
fxlH8bRKVA2B7GQJZ28KbWeZ13T8NTMikuIyMIzPud7l4byajI0Z96tmrmBSPNfOBSmpArAjAtdH
8ZpcU4UEPDvZ5nW2rxXlyHF8ouaE24zgQriMeAbz9AS0mdnxDJDuqYh2A0cLv33pJMGd8hZmKPdG
pO4Ml06IXnQ7LwJfhGlYFWtA0oti2uXJ202sp8+7UjGXQTf/fQK7sg1hRR9i79M1L4P1oRmwcaFg
gNXySvtAOYMDfee/VHLN9U28r96dkWIibo9CqlVMFt7hn/RjXDtryZNBbKoY0wU8VaxTuSnSdWo/
MXntPOWAqeIP5awc/1T059Hcc3CxGF5uRpJyBWNZR7tjDkf91AfZLJqQYSzDD7/ooGG6ZvpZIkyj
5fH5ZrXodaZGc3uY1zkgOk6xgeN16n4itAaPWJfA3hhH6q1+QjQxBxYv9NjK85T2m85CYA7CIZ+z
H8rLEU7y5iZMpY9qYnKtEAzLxluZOc9ytnFThXsnplXXG8MHH614kTd3Zs4bV+nigSGudRP7ZxVq
AEYSQHK3P1jEYtP07k19TbORfcxicRWSSX+dGcrJNJYm7Rj+GG3ARyzCSlu3qv2wa2hDubNnQ9kB
4lqkxrs0nSAqxl1X+tu0O1ehfofpIoclZqVrkydfzftE3tneUsPpnT2RcYl8i/X91BqPrrf2ALjG
Wxdp7M1wyPyTrta5f62xqQ2HEHlmvnY+MmfdMvue4BoOynhbhg9mwTYN9ab/MjoWU3aoy1OZBXwn
EufBa5+BEGjYPD+qdD0VV1TvBnlBUj+TyBjR2ROfLWK+VXnBvOvWHpdNR7/OeR4OLDWPed9upbmH
FvoCwzwjIuqOngMt2qTFtImsHo75m0jyzyjqL86gzpH62fNn1ETQKkIT0jUPxjSczLDYDP50Z/VV
vWznaOEMps+AsrPWsKGQvkte66Jbq1y/9Pa0mkRCaghWFX4VPl2xusrsaPZTgJd96xU3Tt6pGl6t
7DnL3kLjobNPYvxRV5tMbHy17ZONum1292oOEjZHje6y4TpOLPIG3VcWhHwTB++lc7aARPz8R0EG
Aoy7lv2Q/oOtvsIYy3b6BKxh9IMkOmTJe2Ic8pKx3wTfcPIWea8W7mnEAiC0shulbP4VI/fwfols
M9sBXzSG5vo1jRNl9EK5YZHFj/q8tq2z1l1qQAoOUARnXdWL0Fvmwy+KkaGoVlXb3PvRSz3q6/jG
75yfB+Ns+y3AvOjA6XaVpd6xrBhFZ44Qfo16KsuRJkSHJa/c7DMHutgN5apNHCbVLfIqJv4/ChtN
Y52GNAkM9QwFfCWT7k1Ej84NACbdk+vh89aI1ps3Wh0DY6C1Hu5YOm1dvb2t22poNnl1Z1W7DAWj
zxg8ktWup6OgujgF+E1SGdR8r2GtPZtOdB5G4xEehu5/6AZSwBNCUfhcztZghLSqr41HSRJgHqrW
O3+I912TXss+uU9N/5D6xW6aHvqefRwO0cRTufpuf24rgJyTcbF1F/WM8T4UEAT6OZjwn/lgEsfZ
ZacVS6/5KMyt5XFYD8/ldBltf+ladw32VzspcInsfdg8A3n/POL5Td6qyH8oxuWZcGddWShuTl30
lutbV4OKuK7DdaM1K3TM27K42BodtwNIrea9m89GfR2skyg/wkKB559Xick4wuDhZWYfSatzayRb
oehscT5dfQ4GzefBY2gfDn3xGjJgD9OAAvEmb46zt061yxC++SQ2JgQ2cmxXVTWjxIGaoNt3xQzJ
R40RcAxjN6GgF+DWUgPvNbSAuAAq2LEJzdZmiE8ZzmsdSmlndXdVPm6ziA9OXW/TeGA/B8edZZvE
rmiYci6QkdeovkF+3nyi/QTCpA3fW4FMSiualYd9YCiMndTFarjFKtyxihChs/e9CSJ3b/f6Khs+
rAFRQ5IcptDZxA0gt5oNYjICw4YKOWUXaybalSpomTMsxvJNzJgkccwdyeI+xvaz11y02YB5k60N
GIy6TDC2Ro+tN2wGYf+U8StEu6o+zLmzmjT/2Bc2YEDzpIXDRsb6LpJfVSJ2TnjSxmGFbRiCT/ee
Vg/R4L7k8YGJw0tOmU9Ot48ARvqWBn9jSTjBwOOrhe4hlpAUGJdeoDF9GDsvMNyEfeUaq3ldad11
iqy1qWNgHn7OOGi8vFv0+JvND8aHY7d5jL0oSAhHHaxH5ID3uX6266cbVceSMfSlCHCpP8tFwS5q
NuUq9IHW2rl697x+XkTKeJyGD9XKnbSPehhYfO2wbMGScziJ6dk8EtNwoJg1/jKz9mnHCqeA1Ix4
kgNfdUfM4brt5nKd2ZXPY+4Jb5nnvFB7UusqacuTk0X6gqHbZjGEuX+n3KLaGxm+p6J3D2VqHfQq
MYPZ94dgzmCtug4UFOSzoSCs8Fvzos/6yUt7sbLjZJVMdpCIothwalibbfRcT8xjezkQsfI542a4
sX5XuWpXggkpMu2+6/OzZZh9UPnCe/YSf9hmlJlNWEBo35eleRwNFoir3bEMeRF7c++O3kndeJbo
x+Bq3DfwGVsvPbaQJ6PyKZI//Brjd4qsMlv3yfPQ7cvxlI4mh5x1AmSkn3cFn8faPjHzftTALI4l
dZy0Otijt8hq+4XJhCcPTwwZ6VVr3Y8yhIorUGtc5wpO08T0bgnvs3Y5z1WPRl5e2u7DcX5W9TbM
1TEaI9zxW4SyNDm4gA6RvtOEodzrKPNVneGbKrql6IeV3vHt8O49DVoEq6xGGGlF9bKfOH748IdZ
T5O/tYTik8NpsTZfowrvWTQui8l84pV9KfJ2Hac69CHff/D98i4HvNMQlvhR9dnGCjz0TdE1LjHM
yzRfVCE9qoh2W6+6k0jgar68GuBLZ1h36Wky1FJl4XIi4a9l3qqVR294L+g6ryCHVNq9BeDK9WsG
+55TdlGlyIhB4hEgi/QbuZvzQeJfKn0f1v2xEGKLYWxVNGJvlMcp47N3N2bIy9p7q2CACTeeA91Y
IxWntV/t0B78Tu6ShIRuHwVxxdkljnZYb2HLZhvmxDnOkLoW4qKpBJZr2qxdle9lkrUf46x9Gr6B
kkLArMLRUtjN5ibdHemgYzMPCsQnZlit83G+DwXPRBTzU1tOvyKINPaV8eYqO5jevY/NT+cb6ThH
aJgEPz9q4liTUIwV4YkbXMNZuCjn/Dqo2CqyrF3X7mmKOEMkm9tnfoouZf5Y2fqW5zBk1iKV7cIu
Y6BdKwhWyPTq/E5Er7b5Og+Y0O9V9GBS104TtZll9BXmIBoJ/4ooDnJIHjTLxO1pdIiVOQw3+caF
tVWWu2jegAWaUjT2nskgJBZ1D06PpJEBHLkznMYKil50ztrdiECqeeAsZhdbuvcFKLHu1uz0Ajpz
0zDqA5cWZKqxJMwqu6Nj7Mz8Cb6U8ncGASou9Ykgz5E7FaqgN7ZpOCO1Hz8YOzeCuQAfzJIOMs0E
/PXKqaHSVk6/V/am84DH6nW3bMoT7riRlbUAIXvT2cZwmDxu06+6nZfYbBaWqLndNlJyZ9neaDKj
Wol4H8v7VAtA0CgoiwbH1pJ/n+sCMsVSuocw4bdaHGpXM52905W5oiCOfyQeGGAqfecwfJ21Hwbu
g2nhxRvIqEN+bgvUjdUHGqNFx3R28kOrlm5ytjiaavMLop2O86dLaDsesjIBebz32ns9PPewXTr8
0LZ67OWLRhBMoeag58WBRqzHFK5NCQOXE2tJhqeH+N48D0Lfa5B7QsCIWvJTKy4DyZjcn/ZZv23l
x0QiBkBYqC0t86nV2T/xEjPX24Xvk9C2TUt7Df3rdOXSXH77PjrkAcAjTWscg1GOkgw0Tg9Ehi5R
EinzzIwRIPYExjBAkVNptHswwwliprl56iL2rQHMHYMFF+kt5+wDxi3Yso6MEFL4FJJWt4YFsEg5
IfmczG2Dj+0qijACP6TT/cB7MniHUZCjH4NeEg8R/awm4MSdsx8Lk+4M4vl0YGbEOuttdSgV0Wj1
WHkpXOVOJygkK5BxKr0Ovs5V26dZb1ahMwUOID7N1haN9VTre6fSl8BMF07ZB67dr6yoXCWeQ6LD
XudDs8iT4xi1y9HYRCake1Z1Kvkadxx0LCOgt86u7lp/H1n1yTS+svBkNahrawIjVS9UhmJFKLmr
RzvIyvCr1vpfo2/sqrnYaTrgLdk6bI5vIxIMpOIHW5aBIUx2bkGLdXLWaBXSdcjGNxabMZHAQNJb
ctTHiOh7O6V/ZCAsw+4s22KvmpfefPCtadFE0S4n8ZwmP+3o1LXdPeEaP3EKxhmkWhZd2ipFmt4c
ijwivZWDaLu9Lc6y8xCzYxMdl/iIOMmFnlxKg/jf99sEqhXkf+mJ9Njjl+FHJ3NQJJ10F4U+M0ZY
9OTGhpD6Oslv51P6xF6BOYmpW3Qc1B5yMVlvTm2TH+iSZAZQaajwyfCA6qaRCac99Jr3wSSRpvEv
14P6GEwwFX1bQAcs59Fmg2gi/bEuNQdv0VTBmO5Uk7Nhz9p7W/ZFuxyy23eJ31zeT1Ey8PUeEw27
wMBqzC2l7zorzg6JlwIRiUoNI3be2O067PARaA71AhcrPMlaCpYLtzXyatslJplI0abvjp/OBy9z
XRp79REclB41W8sQ+VVLRlHuutiuL8Uoqnuys9UNrYaavMPiDgPDMR91elv3cuiQvCsaJYKq6YaN
FrVN0EhzerbNbCKbZVrXrpDm0+AZ8qso3PKn9ENDXpKB7WQZwjyGbTCX2acXJfW+jesYlAgz+qtI
a/MPA6dzvp1jSVzTOAxY6RJwtVFRauoTniuYbaLVlRozI7AanuKK4lzjs1O0zZtwk24zd+Qdh0kr
6Mjoy1ehlH7ucBbcR2WltiEN2JdWMTOUOKRa2yrzyAG0jkF6zwnHJbb5/qFyEmYfNY1eepdJz7eU
JOoxFibJxz4pyrPjd61Pxg8jO2BWPl2CmbthgXocYTA6Ic51N6s2M/HDV9kCeVkM0mJMq+gTMuMq
H6rnRNlA4HUsnRDL0lbudS9MiNhy6yGfmgbjbzHeF5ZZvXtwiruVdyNy97lv/SwcyyeJillbnlQ3
O+m6noeUpV9mkLNGk88onQ6jDNCJExmZkTEydZeW6jxVHhub2/fGY5MZ1kkabs38rI3Eyhw58tft
lD0IYqe9FJq2MDQru9O1zOXVn2amuAcjIts4WEvh8hWdNbN7j3pDx8I+NB9eF8bHuE3dmz+18skX
5Prw3DUzo9eJgwlOjZ6+mclhkWa12ZqLQZdPoTvmwaC37bt7G9lKh5wdY8i88bHuyn8+gnF71urM
/jE6CeAjEN4nqyz9WwdOZbNlym1qjQvDgUye0YXglnlB2pbmv5VsMfWcm9JscBA3NsFjA4TE3Nhm
zEFf9lCYANrWc7nr8xwneZikslgoJ1IhHCYFuV+1sVvvGtqAVlPhQs9Tc3u7ppv66Z5grqjfCkNV
3cVRWoEfBabpPjPrip1kmK1Tlelk/nRkwagEaqfLOcJyIBsFnwkO7MXRla76muWI+l3lpaMBS/IG
tVaWHe9FnIqTl1XJq57B30vLqVwWmKhISlh2oOsFkaFIlcY+Sw/d0pEcop0sFCB3OY8/e0PTbLyp
Zuaq5Mt3UMJg5zTasmNIvGyaHZSlinCjRui7pJas40LQQ7JYaNW9B5kUzQ+Q4MWlDTXrlEQpGRiH
LAgroGSKUEEw1VntL42aSLulkIzJO0WjdYGy424ZiUnmZeyTLDeYT19PVkYBYowSK1x6QzT/ammm
aJbm5BrrFgbcXTFGTrfqhOZSEWjz+svMRJGsO4Ojca+gEHXtI+4SdTV68WrKFl/GrcsGxFZ7DPMa
+bsN2b6LyQSMo1xHlVHTQx2bgfBkdjeAXxInicXL4xxZcIqRM0W6pcgpbvhRVHP46Qns9fqT2c7m
iwN2vm4lU2sw38dPvSdLO/YWbNKelqiHfjZBx6fQY82OLLqIE7kZS+xRTVGa09FBGP1EfEZ1oJlL
Pv2p0dTxqpMGOUpHDK/eoCtr4U9d96zz7DEVKhKITT/3S0ZGCTEy1bhsNHNOOEWj83lWevuWtzlN
IpPex2vSLxQR4snZNqLXli2sqmViuhPrm7NW7ZdjvETrgryi6ZoaIUOXfE6zn57dJikforHkm9j2
yrhaVg5KFc7vo8in2FvGIci/OM5bfelpRfROnW58ias4JXqOb0k2OWp3GT0dG9PV4sfGyzietml9
XyJ1WaV1OX3SjNFQv571ewX1aCZRhTHPrzvvXWv95MMILbmuICyx5xra9D5YqiKp2lQpR/Yh0/29
HENlLUOzL4O5i4pVb4mSrCAtPmYPIpAPW6iV3KjIO+k1ID8q4/Wcr7Oian+WQKj7nZny5FZt6RJz
pP1cKkpv0no0p6YlDSrGS2Hb4cWZ4US1aEqWCGs8AqMCAeNUN9Fz6ZJ3qhsJMSWN2OUL33x1MiTi
EAlxxPi5/ZgOtwDdjswWqXNRDQOSH0Jt89BoNu5L1TDhxrVH5zVykhxnEPgjY5F4DEmuJKilHpSl
0BFL0ECCd7QShTibTpY3B6tGYL3wWjUxnOdI5+ZwjmdSsX1rJeeOxvXqvpjcEGpkpuyw+eCuu2XQ
KzpVyEqrKV+lJvSrs9/Gob6bitBp7wy7q8OdR/dYvcywsDUnF1AKYIwoufFrrSjtOTLoaVdCPmqK
WWSLsrHod+q1Uinyoh7UVElEA3yVkmK2DemkZfgxyes2LgIZ1eJGw6UDmgYJZ5rd9ymurA/V6fts
4pxlzB899BnB2NGqkVVbLL0oGj+VHat4yT3JvromN56typT3eed3r/QluadUN00MbcX9KHy5a2OD
DThjK3kODb+7H/v4Z+8i2IYYuLFaPldFEuMlCxnMzHrb3mZuaJ29wm7fI6tJAauTGKGNqNtMMScT
vmIvRkvwhBOIDUMX7Sb1y3NnkecgT3NN++HXnMJdCgeWKqEW/NFVLtxXXS/XSeccWxugjOzXZkP2
Uwz1R6XVY2DpA6hYHBsLgBglX0xvk3HwL6iTJ9gDhUYQV5gtEaEwN84ky7XFFwiMdjhufJ3M2VTG
Hiqo7jqE89LvRDB19s8KNhuVo37vdloLmgwCvEPwBp/BJU/eoMmiuLPO57eyYRvzgW+2BQ1ymzGZ
jr19HR2Ncmy6VF2yGiKLikd1VxZ1ELYznHeEJG1MYkk9jiA6O+uJnu9NIY89Ibo51Fs4Zls3Sx5g
fi/7PFoLvoY3gl6YtPdRvO0M9FfDL5l4D3pjBHJ6Ajv7SrcqCS1GEoHTuarYOFRtzOdZyoNpWJvM
1j/89G6S+salglpRnq8rK6Cw96Mbt55FlhnmhDtpj0OYoR1TW3o4F3ZPVGQdYsQuhoScO+D4SDd6
Pe79vr0kcbsfiMfcBsir1jMN+DXp0R3jFutqBrIggYHIaTMoa5sY3cpJB1KmHNlocuf0DHxrFnth
3qrtxB8aHhnhBVkvX70wW9U4YMbI2Ir6hdrTWBeUd5OvqCO/7Ebc1wSZgu0twjE5hwntJWa/inhy
McOCM8qelv+rX4kxDgZ37xdyL6qGs264110/yLxTGZ69UK6NiZDDtagN+96FjWqreTiL6pTUHaC+
iNKxH7QG7+6gTq6ZvZi0f2bJDwuwTU5GrSuDLrE+rbINDMo6Hpf10zVFoavqXkbRPOjqyBZL4xYV
/SEL0ozg1dOe8hFIY3+9eVGA6y2s/BT7zg3h9wZwc6FCfe3V1kNErVGYMBDd+ihlubRArSood7Hl
gLM1cBskdM7XgfQpaNtO0MYvcweznWnNm2QKc5wmXyIcBHo5n8h2bGSm42mDtFheZmqG9S3tNelB
SfcTlcM+9gGelBAR5cZprWMyr/3isY3vVLnq9Wc4kctMfyJSXZXyvuKAbDO4OPOC58w+KCdwAQ6L
4VRP/SISkIz7jLzsR5tzsMJ3VUXryEGzw6xEIV56oPS2la+G9muqyDQ3nGKjhcHEY8/3Darhahqe
HGZnw/lka6QIk0ua8BZl87KRwzJ28DjnaisTohJjWNeg/iaNAu/sgbUsTUxbXfJSOe5KB4idd/NS
N14S90XOLxUsrvxhLgcgmvJ9NtAYNuGbNQwtL3f8y0zsRR9S6yKDM04J594g7t9892ngGNRP5z7f
KfWhvGxlzXmgy1ONqikzzTvJIjJM+zSPjJdVq94OtEnnNevuVYm70q6WCf9HNtzH8k1lz5o502l2
kvketKNh/RqjniJnGPj9Maqbh5hzCtTHhWklbAjGiuwK/rMU0j5dPJS06YDxp5eZ+iQQlUUdXoYb
aonmZ6LRZVWgNPAUQUpO3hZxmoY451hRIqcGxpZaua/K0u8N2BWN1azcqXrG4rfJbQnjnRI93Ezn
xYtf3OjSFefbUbDjhe80KqVUuKQNqf7FHXF97I2+f06rbkEUf+r88DL26WcmzJ8iYUzJGpeZONQm
Mxec7KwbkXQ167Sa3N/+5ipZG/wnr0xQBCUEN9zFbJ0Iaoz+wc3fY22bV7+s/mfVNSCT0TWYbwbS
w/mktRfffaVdL/R3+rA3vaMqDpN/zLJuE9GQKqW9LpEmRPr9MF/69AXL7I8kLpZafBuvnzo0htgt
ggq9QP1C1tZuTko2tyYQFR0TjoxTdbK8t845t1kbWMmqdskSowWz4oeerCO7nRFFJ0nbeZb/MjvC
mdHcKsYEagQBtPLstOyO0c0N8fTWVJ/TsPOHcanEsHaJOkXuE4ghLdoLzkdVRBrqZSg4NDAe9SkJ
gEMxUiCk3Qk8dxlpgW/9imlDjCtjRe3zZDT7oSKvVaIF1QgeSH+rm+/BZOdJ7nq11/GoeqNaNJxx
5nDXsyvpzbUcsztSxKF9TSb3CbLnuo4/dZaKGW2VN5NnFfQ2bSwRLgvavPSefKvvSwxnb6l9Mgd/
NwCCF50PtKCjKEV4lAIaq6wffSqWhggUfnHhZ3vLqdeGuJth1vvRoZiSHd02d+7cfHDwIUIridjY
sCNz6UacpvOSRB5fVxKN/4+581iOHMnS9auMzR5t0MJsZhYRQOggI6jJDYwqoaVDP/18qKprnYws
S07trnUuKptJgkA43M/5zy8IP9GGaYeD3S6nPtR7nYEoU19Lxp0hSVeWPr6rRr1L5+SqlvwX2CtR
5IAh/ajSU6KQ/iDuEe15nOqHyNR/SA52/uQ6mdp6kh8x3SBMtthKGnJ9iQggipvYDslVaDxJCjAu
01ZG2+4cO70yxsat+dVIrl/gZOoG8x5G1KulhusQt2y2f3AKXX9MlfompWYRGgiAwGjTYsrGCCYN
rV1aJdsghP5FIapppafNwZJ5QXmZHStp+kyAz+Oa/TR7EtoNtE9P9T+xLHIdljESQ9dslFc1m8dj
0t7PrHU+XE31rW8ZK71l4kB3lJFUOJp3U6Of4XA9JPprzOElIk8jMbeTFRdnWzeRKBF1qpVePEzZ
axdTHlJFdy3IaFO5USwfJEcnh0pngiSvu16lZTEyKpiQgX8UDQYfbnenjVDmSvtsKjrxkakpYJol
+MXrV7rheCl1pe6PDHa1TZDieF8lhCbeyu1rG8EoIBNxJFM+j86ChAacY1dg6vtuCh9jWVlVSrC2
1XBT2jdxnW38iY1twLVOaXaTgaQKiGFpNISNDOEukzOGdiHWwW9dC2tl05HbM04jQMa9ydls0Gmp
0JPJ36i4IjdpmtK6azkoqbXk01SaVBufuM6QSvAa6LQlJ1kwOxATOeMSCYDFlUboCXqSg0hvR6Pf
R6JZ1T0kuzkro0nXAq+YXNrb8n3XP4y5sY/HNFhLtUTdypvXLLSEXkXWRvIPJw5XsUs7PAAzetyW
aBdLyXahJd2nkbqTw0ScUD6YCzpMupY6qt2pikkedWhvQRMqb5RrvIL1t4hEF9LWJgyfed3tGe1e
W2C82/xELOqw6kO3vW33RLBgv0ZOiHKyOKbCXXMWydGJ6Sa8QN8E1AfiVllp0iI+MNVcyrFnY8Pf
s849EgskiXd2RwSpAgl5LmmvinZNFTvuY+uQ3jOWSKSN9GjZ9+oP/9kcXflRhhP2qBNK+yDMRYIv
fMmB5VYr/PrVxejx1vfnwYVRds/9ljsJK+LGxXoERBdT1ebYNngOL7Cnmc16OwGzoTuH+sbvlkyu
KHW7KyzKDiSkrIhrPSVkJ0FlWUwbFUet5OC/Z9U2vSNKgyK/hfa10tjyT9OTsW2W3Y6eqeJfwk2o
CF/FrNlFlLwpimULQrgRV0wMKM4OJD7KMASX+Vl6ErdUNXCqksW0sh8ydZ8R2rhHdl9tuutc3wbx
FbhYjBcc9INmp8YYxMZE+cVvcb0w7i0SOlbhPuRc1H5Y2S1rCY0jUG8A65AU3rvyFO2CWahwY+3y
XfvW47gGMYSSTI0PILUjE0b2slWOiR+P28ISRrzmLp3ZNnfDR6o4XolwjdFW5TWPZA4E9ywTxl3z
oTiQJLRVQQQFgdstM9S6/uEMr4XxWfu31viiOLdCPDnTMecSMIvSlepsWxIrM7di8FpvMMKmR7Kw
NWfOZbqDsRP+J+GbM81rRXEAkXdizNg+DKYLuGSIBUMyJislp6MGyAZlkjlguJX1JdDZAJdm2jBF
kIdV0x/iFkposapcrm6DFa0EhaBzlwPkWp4M3EHs3yIjfqdC6rdUkhPjfytcQNmE92qoe2p2K2bK
yCuwDva1599JkCU9n+bjJuNOXDQ1aH67O+NG20/ENrxpIScAe/0iuDd+WLimM11dShjtioW5jtxu
NRyY8URLx/qDaHYb4gLCp1De5bDYp2b+TIiaWRIAk6BG4N2B1wJ/Zjfkm+624rzPPixxqOazeVkV
i3RgE9mQi5mU1zmDAx5PEpDWcWUW1xG8P9i/GLG60YBPGfzPN99aM4zvh7WgEo2XICfExE35hip9
n8GrpYumeg1uIOLInTfcGBttOtWK20VrKL7BI77sQbRsb411uRt2kLypUARrHUIndowc1vzRopX8
YN7jnfLEghn2fwRNLZXHwabwPTCTMDnAm0VP91zeNtDLm238HpJoSxM3C0swjL6TAhfbgPRDjrcV
NBrlXNuvtYZDuhcky+INEG78VKKV9pxlT8WzfQvtXz73xCpnR607pv0yIr48XzdznNBSzTx7WEyE
W4l9Gnsx94mf2Gd4YpsnYabH2R1C+pUYX+z7YFqa08I/lo03BS7fyTdMBLMVrng0rh1toV2rnrFG
qnFgH6HkBmiQcA73WEikVdC4E1pSUdKuSMnhLlRzbya3vngz4e1gwM31ImkFMr0wG05KMocW8zDt
I5bmHQLL9RtaCp9V61zp1crsXd8/aDCLlLum3sryc0jAnPAq9kGmnymhHySrrp1m6cCvGai81WKh
ncZuFSoL/YGbgflcwYlABsy6qk4gkEKs1KP1TOMAvRyHePutvqIIuxmnXQC2SIFKPC10Le3Kyk4p
HGBWpG96BoEGWfhO44v+sO23REelZLUZP4zpxRlfmuLKsK8cAkOa59CEW5+9FsHacXHAhz42LroN
ySb9J2N7jT/Xw7F/hebHXZdeupvepgZZ6JKxhrSR5UXyLJ3lfXLKHsQ5guX16Z/Yh5pdzeIadzNi
IS/UxyhddhyofBfxWAvOEvBiQeWO4IRD4Y1cBhAQ+Mu12PTObVmeZUKguxW1DaaQtwrSl54Y6oVx
VPcks3b8n/jmWnxES4Yg7EoPEikrG3WvPZOvykx7Y1rbkDEcY5fW7aC4DtdN9kNe6QByN82OmDAW
fzdtp/iuKQGsbsgM5B6l1+LIu/GsmvfOXicNlx2CLVos4YH2o0d+mnUIbsEipQ/rYFJf7SbtANGi
Joxvx3bVnZv43BF0jQIuhVuKu8D8aTK6ZhK3s3yO3+MEnmoS57LVo8f+esJ4nBjGyNVHevKFdkWW
9oqvl9vEI9dC7ILrKKDaW4i36XF8TeRte7T7pfmRKe4Qb4fss+QBqqxIuneHFeq3jyX7R5fkS7m4
lznyi84j0pDcX63YNba67OFZxC3B3J6/SeUjot8YisedtK1XmivvrE27RBEfx2u//4BSomELT5pO
szbW9RpN68F5htVHp9l9lPAR1Dv9KLbiKfjwXxPYfgfphZE+gteF/hJ79CylspQeZOJ6nQWb4CiR
EbSH0IQq5L1/752doW6Tu3hH+nq6zL3gUXvgYG+Hq4biVl5C9iDg4cWRdhW10ztTXfGcuzaVtQuq
uudxPnVgzEvGWOhDPHKWkk3wGN1YZIeWJxPs7Jov4Mc4N5b7aObDLsJpO7YepcKwgYPUPU3r0auy
7fRuXtUf0Ys4SCe4m2DZnBYHh6M17lfVJjxxrp7h417RkWqPzk32IN+bT85VnC35+fwvWnAWP6nP
QGKdfE09NvpzDwUvxFg5/snWbjB0qjrP0mir7mhEVOchk/ddc59D4XS6l87YGcmZPI84v5qzzSXr
tqVrx6ae5nyBh7BkX+V96ZpPSrmojDXc/mFa9xicq24CKJafaBSqoHVzPSJnA4J+smbGeB6iAyNg
vCeWRYhQ41qhwA3ag2XuJ2dTaC8zbNyFeyPkqSGKoWH5bPtOdvuGlyVor4sMHN90foiZR2chaAgD
DiBsd7HYzf0PWyU0KNLGADqbftLk7kkOjS1+aHssX9nnqQnIPYFQUGyC6l5jzxa5eRVJnwr+yJPN
SjK0le+Yq97xHxm0LcRjPjNFIOqaKwPyXJcwPbU9hK0/An6gDoRS+HhYj/hn24NXcxqHnnBOY723
+tuILoMgB2fdBMOCU6h+m4mREy0Ii1Ff91g91PfScIUWhslPDSWi4x3dq4iaO3RF29zYhcUpf4xk
TnB44j8CEAKZTLX+kd4i6RZQAimxQ38N00/LVwMLQLUI8K4WUh/v8haCabMVFQHNjOU4Zv3rurgO
7KsY9mS7S4Q3NX98mL6r3pYfCctn8MJ8DdWHtrLFlzWjIcA2OiS8FDJC4HW0zwRZpcKVZ3pZcqNB
KqdzVO4b7rtbSuQ1tKAOC5JL9BtNY9/y6qf63LQ7DqBWsz2ks8s54itDLeWfktS+VnlQtDm6K7+J
J1q4sX7q1Gvqm348ldWphToNaiFeDIwBlb15jx+wrB5LG57HwfkctaV4hOPJDL2EWvtcMyfWtVUi
sT2bhwrosbTCvZ0/9226VUS9SFLtrYL0pTGIUF7ZWtuIxLMfGns8CPYsXchvdOmKRDuSd0CVHotX
vfX6fjvluwKymg0jsMwgQ0X1USevrJPoc+4JqcYb5D7i40jKmmYYWdOwmgk2xrIpnytoD+Y5oS8m
tfDZdLzxk7dewn/bwe1XqdzphSPLZju0tzEnEmELiz7KtiFaB7FonXviY5xqPWeO06N1MLVCTlFi
FsmjcFKPW9DTT6Ftyd90GJ4XNJtE5ETgEjU5WFXcLofB1cVeb/7QLoWk9S00e+VLpzRaV8raqbDM
W/TOUzGt56kx8YbjPR0+YJcMW/NxyhlvulIpLTM9X1es6gaFUNW6gcXKBnSWWmYGNiBodWsV6XIA
MDUyconiwifbsrwetGifFD2aIFDcUksb18gthi8a2XD6vu4UCTlYW+7HMFJWIZXKFCbhQbJb58mQ
Yij86K5SmfFd4+8SRwMw4iIQhyLdoZBkOI+4DK5ka9njXoXP3g1C2luibWLOv8p6q0k1gwUQvSZN
3KwcIuHCENEbwYD22W+qyNg0KYxeF0EDsGBlK4CYBF+wyE0D/6tqaKZn0QX+8xCrcM4DuJKse//c
dVG6Jpe930IMap78LCx3qa+mpx7y+EdY2uqqnYroPps6mo6u785K2adrTERgdMrGtDNGyCVpZObH
yfSHraLJ5zgALkuMuHzSIxLV5YQJEDRuiykntljDuDczJSeXTrAJZAaWC1iPKOO1UWVAG30raQeJ
9PKBdiAw1j6OT3dhD8LghGifBA4fNBRBP1KCJULzohx6iDcws4BzoVNrSggPhZl3zJQVGIOqnbKm
oy4az2rAeTJ1c5wRWUF3lSWlT2TEBG4QxTBFYzNvi3uioZhOhUD5JiKfpg+njzaxyFqGk7Q1UbS4
klJIEHRjgxIzF9DJYHjiLFf9yAayt8FRcyioSZmjaKjkatf0sr6JjSw7DhayDEYdcVNslJawO+4G
c8eFaU3PSQSQHE+9ti/IvfNh1wXlBoY2r1SoBiV/Z0RVhAzPClOk68n2FXqavntszdlzzGYZgIZR
iMQAkqZRA174oKyRxZxsDgSaVznx8m4khtYlsJUmrgwtz25SJA9tSlMo8vEz6JFEEv5oHkRUqgT1
KWKnDiFKy1hp/HWpAa40fjZzsSBkRWljw1Af5RvRGxRFkW5XbDh17cy9hgSCqSnlSIUWme3wJKAx
NNeBqlVEYakZcc0qtjMWjHmNRFGYOMu+o/sLTU08Fp2i3yuSAdOtK6yB6VQUVG5a+5Blq9Jcm0lW
zZi2Xn/YNZJCydf7t0LJJXaBIUXN34niqu2M5pCg6nrQmtimadeYWJOeC7VTbabyIEUl/WlbdLyK
pWUHjqsGaUZnrKsILUbdpN8OfUd6TYfRES+lOmTJiaQwk8R5NAPyPiiy1tn6udE6+6G2oL6GTquY
DyYQvnRTyUZuLDoHBPFB47FTMlYh4VxqNZbOrqqcNnq3xgHUJ3OsTqUgTv2xwmkhZ2br26kkUwrn
pd1lbBIK+rosNJV0NcGQCw+xY3NkhJk9L/Qi1uTww28rVAGT3ybtMyM3RukLfjVnLltDPUY+BMlK
esxxNrHZjmrZuBp97HiZ8YCA7lIn74qNTvpp8eBIs1g385PJeJk46zhDk6Kb1lpacdiHgQJBCCVW
W6TV0c6nngpW6WCAsN6SVDf8EeRgGlSq+gKTQ7l57iNN1/L3lPWtKAx0GF3ZyipvrF4dnBUu+YaJ
qEjphbnW06RHVmYN4x2u1DW5igoWVkGau4itIrTRq6lKx83vBfWXdgHW7EqKqxSG2+yyWBR/Vbd3
WSVBn5lboP5xKODDQmbzITDk052jn35/rUvZ+XwthqYY5s+RRL+YuatD1Tg6fCtkZ4L4zpFwaaPK
X5LEuJuULnNDNJ7wcTN2P3q631/70pvgj2sbf8RDYT4mkxn4xZMlxCkbce1YEzWb0oE0QXIlSbr4
xrrkUsc/X8XAaQyCA7yfX55m0EicrcTqLVs1ZocLAm+CzV4ETrGNwuE776C/uydjdrTA6MGBnnFh
hlBqmpz7PUYTLfQ0h064zcxvHtvf3ZAp48+Lp6Q1+y5+fWydnuW4mvHYiAXV7X1Hx5yyN1jDd7bv
yvzL/mwGMj86CKeYvtu6wX9eeK+UqapnKhxMqmjZ0y2iOlXwG7lYB7qlr4yu31L5LSzLFOeEEzQW
o/f7FfI3t2pQ/OOdgfGyTify9VbjgTBGmyBmGnCZyfSEAsALBD0A0NXvr/Q374GB/8gcOWnpOM1c
PFTZiscAM8962T3NGoGpeK7SvSGv4a6tbGNrKsU//xQJbeDmWBG4r17eWlTDiJN9pV6mIiT6Fm7z
I7xbJJpqTnxwJ31n8/Q3CxOTOhxlTcY+OtvL10cJdzXqpolVw1mFqlxuaWKjze8f4t9fg8gHFbs4
1ZAvPi7DRxQzwD9eWiY9cwHZAJIP+ujfX0W5MHPB9E6fTU1wAGPj4loXt1JMkzmqeoFpDCVPWaAc
NP0rJSmRER1z5lQFgNHkrORQ/eb+Lt1qeB/IAMKLCIc4qMaX3rwtEjg8LfjMJIwdUEhH6o+QG/3m
9uZf/+Kt4ypsxRquOBgBX3jiNHIt22U8D34cBMNp+OSHxmMFkULpu63tpO5E3ycJlIsQ2aFvQMEI
BRPOfu03HGdELsZZDCk9GYlDr5Lr3/96f/NKsh3gNojdC/b89sUGF8KchIVO9JBfK9kGVtzgdmOZ
b/MSUqlUdNU3z/zy01ZnOxRVMS2Gc6Rls6q+LlxMWRlEVryZnBdQmME+MtgCCiPgkQk84kqzlq5j
S0FOzuTj9zf764LWZdYZ6UM6QQS2cbGgpynUR9MChiAV90a32nOW/vM1xSV0wyAcYg4audxj674g
UGRkTWlU6GV7Enx0eW9/cyO/rilOJNVUOWUdQg+MueT4yb+LEmcqx5KdvIKmo9q3lIS7JivcNh6W
Zs3gRf9uQ1W0y2VM7aLpymwkZeAn5cy/0k+XtHsTuqBFZdEq9EFOqG0srfq0pmjTQoKrDONdFGJD
9qtX9JYLeewpaR0ksqhCf/8h/lJO6YQE4AQqU+lgk3n5hBPkrvUA952Z/Ah78hlH2oWelJDZ0S9O
3yzXX86R+WIGewMmwYQUaher1Uj9EpkRCiksFk/NnmbahU782Kz/+T3Nm/nsPepohNR8fbi56XSJ
CcdiKfd5gr0GamLLH29I/r5rUpmSjeHB76/463vInf18SfXikrlmZ7jOoMuLYLQVPwDkuhQFetIv
mvKWAhPM5B5L0j8/vX9kYH9XZPz5r/l78PAZ6ygIm//5ry9/W38WV6/Zp7j8R1++R/zPH18OPgv3
tXn98hcP+X4zntvPerz5FG3658//61/+X7/4H59//JS7sfz87/98L9q8mX9aEBX5z070HPY/Pfr5
N/nr++Yb+O//PHyKogmLX77jT/N61SG4G8dmDiDcIbGv52P4y7ze+hdyC4PNkq/ocP+5yl/m9ZJq
/4v4NvqJ2VVStmWZl1HgakSot6TJONtbHGls5ibuU/8supv36st7T3mhYkMo8+PIN3VMrvp1nVST
XyX9wEhEVUvrXs1ie2a8O/aqtf0adWZUR2h+S4aiQz2sM1LAXvy6HHc8xWYf5oWNfK0obNZZhc+R
o+fS2W6i/Dr2tWofJIxfSk1laC9G31zkyJnvSefAhWYMGeUPuVMeiGIE2FWKyn+ChD8hqpwCiIpN
7DC3cyr1sdOdihltWTdrOa5Rbkv5DGXU1hDuJSRQKHS6dFvUZu+4pRP32SHjv5mZqKOLkkD+oTSO
Clk/UEmNjZgA9hW2Z1EjS5RuUxmuaMstB6N5TYVmCkVwZQql2oimKN6GpEnPkp5iYDRkLQSnXp22
MIPkLSID7ak3GxQnvqwPe6dora2W5ghzHJ8cybhOiY8A2zXZzAGrIwX+BUQmXDwkOdgHfRs/cAkm
mknZH2CO+3s1sFRsMCoSU+W43Pd6rx3Qe0q3sZCrZQkOsTXQLQP2R2kNDlOVsBs0G1K83Qb63ggi
LKsyP9wFaaw8KYUlH/QpIZdpquorgvJ0VDBwAW3dNx9SH3C8zzSGxUZc0DiqlVf3RKcPDQHT6ohN
l0NPfU6tqbslKbO4V/Hk3EUZVgIS4l1bCeAoi2560xM5uak0xuRFrsWHoE7CY+rbWKF0RVs8SLlp
eA4Tic+MxE1XDbsIgaUdvzXYO2wjpc1dTe6te4T8/dVQRwyb26DayU4YZiuCgcWrNvTSW5BOlbwo
1NjyekOH6jfE7V7msD9YfdqvjVxJsGtxQMBwg4CUWw+PoA/NWqlDGDTKMGJ9Ocb9nutln7lmBR9t
zBQ6KY0URgKUVrlLrKOUM0DwbUoIctMSENpMXTVV7txWpiAiR0vGEyn1wPlINtaF6ofrPOhsxos8
/w8hpcnRyESwDuTozRG5AUIZYRPpzHQ0U2r6+ziyxCpPHTyn9E56rNTCPBhyI0EoEtWzXEnBY687
2GbZWq+6A1Fet1nUxW9aKmVbpVGrTT0N6VONT/ETyh+BwCINMR8Kgv6uwwp0qbL+r2OZ9G4LEcWu
8BG8hjqvE5rP8CRlnN1Oikhx4rBfV4UsQT8qGVUWaemFkll6jKz8RaQWzlZTsmqnd6W8UHocNMwo
GN+ScRI4LpLfNlloS9HQFMta07KnoMucQxw5Cs4NkXGwi0JdIWXW975gmIJMq35NmB+t1JQBK6k9
zbFQUm0X+H6B09kI9zIUEM5kZVxh5ttijDFNCMQ76ZwPw+CJLDA2k2iJIrSAg7MRzlCdqC1ciSg6
BBHTxLZOwwPYBy5MuRxurNGP7xynyE6gjaSH41+wRMZgXYVt5RzRDVm4QmiOWHTmkKzKwbGRt5sW
72miwiSLzdkTkfFxB4aemb3Ak0T4ZKVib4fFPwOJ3hYGuHSerZtelc9YWYUeWyTUl0kUz9bgZ7uq
Rr+RdvgtyWqQQPlhVK4qQPOxGgjS/xqdmbcpGPrpyniMFKmGaC716xrv34U0W6fIGFAuGyGi61Kt
xHECX/bKFN44x6N+rZSSxWwod560QqGw72flvBqXu7gdg3mlNPeYVjVXTsorzSTaBgCIsYPgR+3D
oRk3ds3WrHaFvclbJ78TIjY8noq+6iCkw8Ku0hteeKSIIIKHJtbCbVzq4gAvH2JwwAl9Y4Slcy0l
cN2jwnCWqMUQs7YwVPwYRYw6ptluUNX0ytfrZI+mJt3n6QSJNMutM6R/9bMpxDwNxj3jdtQlAatJ
TPe9ICYenQgsSSMX5p4V20CmQ2n7mApTeS3C3H6mJVdeI4LtD76uRkcrUkNm+TaTHg3Wvy8hVfd1
7AQofK1VL2nxXalX2P1pJAwxgx9nzSm6gHuy8iBB6+p44vweZyme82JOozikmk7Gp6oMKKaUSfXs
tojuiigRWJvp6q2NBglaITNftUU9sx9T5JZDMugbfIjsBF+uMtdWWIHYKytXUHkR9+YNSZeuddTN
0CVK5HrbXgu1zJMnVESykyLX9gv7GgWc6vYlpnZxNc98p6LdZErWeDlWy9dQ+gNUkWMhPHRVJFx0
zrgZZak5ikazNxWkXS8zssnrMubK2IByoDW4mflOE5fs/kigFk04dOu4FP5jBviwqbVWXZZOZbv2
mErbQlODsxYiZQQWRlZr5XC4kjEaXClM+vdmlAZmBSF7uKL0+7aGZgTYrOxawOlmZYhq2DpNU930
eZXy0sh4D7iTEjW+F6AbXOlZ4p9rg2k3M7rKi7UCVoPZR4fQimq0uWNCTlZX6htM5QMZXpmFkQdx
ZX/lAfyjYvUYvdeFKH40l6Xol3r1uvzMb5v687M5vpaX//L/w6J1xqd+k7ZUta9NUUev6X+sofZ+
vv5cvc7f+mfxqij/0hVqVOA1YmMsmtH/V7wa/6JBwEWWQAhQNqDgfxev2r/Aeigl8WLXsLemq/p3
7crPAwTCst8hlwmndFn5J9FLF1bM9G1zUi1xGLO/PH/RLrrkIKwtM+0+RoRR+ZpqBK+Caq3ddEu1
2RkwLBf5S/RtUO5FStifVwX/pk2mYdT/eChfGmWb6jQpP7RrmfnrDfXa0toHnuPp1/HKdueYN9zY
7gdPXRS31vanj+n0J6r0c/zT13b112tfFOv4VPllUH3MqXJinaz7lbRWN+KbnnjuSX5CtH69ysVz
tVEAt1P5IRP5lN7BUzrCtA28Obd6TnhTlgzoN8UKNpMLM2GdL78Dsr99xBdYRNOlxKYKhnOO2E1V
252NoaKWYrHe9/FwW4bSCk2Sq8XOWu1g4CT4fkh9GLixAZ+oN1u3NyPpKWrrTx1+mVLIGi4id2Xd
W988q+8+kPnrP6EmQHskvtQfoDN8IM3mzw/ku+DE+VP9N8L41+ehADvT7lHY6TN089NFOmxEYkxp
Yu3g59j0tB+VrS5wfv392lL+9mP/6TIzuvbzZfLAlJgExttmq0OFWyXLxpuXskxO+Xe3pHzFZg1Q
WXJcsX8AcgJ/of38erG8i+Kqg3m2VFbpAXepM1we13Rrz1nrq/5Wcv3vbu8rOPjrFS/endKvZKuw
3vWX7FVd6svqJfmER7qoH9Ib5f7/cL35U/n5U2NrmrF7oCUGFXTrF58aYEAAkPiO98dBW8Eac0N3
PEnHeBN7zOK/yUP/Izfgl6sZoOsAk7pMrNLX5xmaiGpS/R0i9ohRzBUc+31xD/t7bS+k9RzNOD3A
fVz73jeL5pe7nCFKsFb2dIzawUS/XjdAZm9IgkXjww7YTJt5Bxx+BB+yC+z+7eZLis2Xp2oRAeyY
RCwB2ZkcIqp6sW4wBsGgEavRvhhG2LwR+vy8kftD0ZT6bYTL3FmWFLoDXKVF3u2txqiSswQkfQYJ
yeiDpnqUcflJ1L7mcKAQg4081mUPU1IO4oM2GWMK8QG8PolHbAcA7mY/5AHDKUlK1A+9rfuzEKLf
pBGWkXjT6FAOrTw/DnWoPlq9ghe3FjbOHSBmRXUupNem6oODj8EzLuDD8B5OyXBsSowpUXV/anLt
uFh69ru26RsDXWnHIFuVDJQ8hc7pllaFC5HP0fqb0bLbWzaI/qkrm+A6nmTlxdaDAVavWSo/4kYa
N0OkpYdS16dbFudLNkTQaQjHUfZGhJlS4hvFSUmFBN+rTZ5EanSoMU2ETGVvYzZtTc0Ga1+q7aJI
8vewD6uXdMjsfUCyEfYLVjE6Syf1Z6asE8SIQZJI1l09QmC4w8Ck6VZ1VmZ3sZEGd0mpBpTaQmqP
dZxDlO4FhmQCFy5ZFP3CGq3JTRVMGNM4wR4yzlXlRpqHnOzWejx5htnBBnPyAHFuVU29gadGUyQ7
s/PxMPMj7Smf6jpivhmNGy1xCqx4MUtPESa9TxMJX6RBTBSvOM5jVVF8tHKgelXT5NvCzGMIXExp
ekyUl72RZOdxolNNrNHYVxP8JBFZxkL2c7iNxOW6BF68d7k20RvDASzKqD0kSvYmcOpxcRg/5BoO
BTR8h6TW9vFQEHeXIw+NOqyiw0gCNRulEB76GCCOL1A70VliDQYxQk5QkUyws7Z1QrJ1kcL2mqSq
OkaVGeJCEspHq4SQlcxxHU4zBic5qfL31mdl1QEK8TCrxmupx2eAWF1ZQWtgB+EanSkShg6nIa9H
lUufZ1h4M1dd4VxbWDiQxJ4uwgaD4KWOh0O8UJ2QpvT3+8MlmM/LCuZiASuyRzANuiglus7JkwJz
FRP34rjFYrsg+dySrpqsR+YUfLMLfj0o2RxmvgBniU3RyqT2chSHLSH0LuxMlOJZkq5T85xqxzz6
5sj/ZcxO0WmSqwVbwMRDhvPr65YnM/ZVcuQDc32EYHyVLd+NdbwJz99trvNe9u89fb4dy+RGZFkh
tBEM+WJvVYw2EzJkfbmYPKXZ6yXsyuG7QJq/uR3S+ObDaoajWSMXJUyZmwBvNbGXmITEeEWwBpcS
fiSTmb6WUbmyUTJP6FUEmhphfhMp9Mt2zmZOHJHGJzdnbjsXFx9DyEWdhaxMxqpJjRV8rmFIHX+/
CH99jvNF5mk6ODwcnYszI3YSoYdpsJwYNmfMoHU5X47F0+8vMtekXz+seaVzAQIHCfq7DA2pmaxF
jYGVjol+DmP55C7wNXzBRjs8FKYZrHpbhtkng8B9c+U55vbi0nRZhEHNzAQN65uLhxgFosIzAwmM
EUGexoOFEykUfoV1r2yOH/CmymqhlWW+Av9KvEYEegffuhCPteChgbebaGxN3IrUVdXP3gWBEtev
uWlL2AvSfQHQqirZCEkW/oDqhMIB+1jrNMqaBcPSV56ySoMCnxgVYqQJNTmG9G/YGOTrsR2lvdYY
g2dY2FxE8C+fZbNt3vIyjuujmpsgAxjTyw8SAZ0FtDHDvIPbhkBz4MA7cv50e6VO9bvKcvAO0u2m
fhoau8vnJC9MQwVJf/iCp3Zrelp2MvRqgx67s31pW5Za3l+VhRP8qFQhf8fQuGg//3g9YQ3p8xBn
HsVcllxpmiQWYDMxucNqcPFCeXOunOW0xEt+XdzmS3v5+xX2dxdkadkEDrOc2REu1nGY6H2Mneqy
djtXXWLEsxn2ML0oYkfXXtVH6Zvcu1+XNK38PM1XZIbRyuV22hVDOeBPtLRH3DPjFceUayc35EcZ
bbNog2H1+/v7dS+wmUCz0TGdJ5zxMssIDFQt/5e981iSG8na7LvMHm3QYhsBhMqMVEwySW5glNBa
4+nnIKunGInEBKbq345Zd1lXlxU93OHy3vudT2mkbQY+Xs2e02FlG3jfHf58ClAmm7gpBDEbvhSD
CWYPz1eZP7+unBaJlW78ksAoqM/luFYM9S6jDnRYnK7iky2cSZ9m7Xm+arWFJpNaLm+9G+4MW/GI
/merbXkBrF+N3z7fmI7MQEm2CKrgYyxiS/P2WCrSCoM64L7dCfKPPR6AKm8IsG/z7d9BkP8fOPtf
U2r+SuAMwEv5Nlw2/Qt/hctU5T/YOBMMo8QJcyx9Kib8K9eLhTkJXljfVKZQu6nITM3/5nol8z+4
+Kl4PrGDS2SJ+az/TfVK8n/YWkwJY0u+nEiFwj+JlvEUnB0TElVenIIctLy9p/+8nSB9kiZtVYJl
jCspcCpDqT5XruF/6tJc3MHpijfYJRe2T0R9O+qZkWC0kpPFozo6/2hGEDvjViq+NbWifxihyD+k
euF/D608vMeysgF3gYAHB8vuBirseDY8pX0wtTj84MpVeuagl59kT0UH4PZGbTxnGTBaLeD8EVVX
dPqBiWtNdk2Nb216tXhWoMWhJct189CRGtm7AE3PnZCcsWDTEQ2Kwc6N0ozkROE5PTi6XRYNgCQa
7WNqds0mG5rfAMrA6erksOSONF0qU7AuBpq551Yz2rVVwqntraey6IPj2FOfDBoUMVE/3nG5H0/w
F3pa0n4g1ZCeTBGRdBIG6j4wM1wmyD2crJ4aPSUsQdlxQCGYtQQI+zqwqUFB368ZeJhlXLRFHoNb
uOrBJm/VahfU6SfZr5RbXNipdyd2xa19zOGxpGiGrCJ4BkwKkgelvWViB5YGWu6o5tg5dQYbw1Jq
9rC0s3j8auphxM14G+p5dTewMUAHK77jFN09i4YfU4BFZT9VPeULtfXpRik7dJEmZjtDL2l73pFA
RQrUmkYT/AaF/gKl8GuDS1CHemFjUUa9Kaq83UkjdSRlk0BZHFPoNUnR7JJRBmVvqsF5TNIQ1Iuv
H+JI+dqkzX3YmyNS2WRfluV3rdLtkLJ3jAN65QMQ7eSUCFp/ZymB8iFovOcxVkmcgTFnuEvR3w+p
ucclClQ4VfDaBCDKDPhKuQCLKkvlhJxhfkRlINluoz1rWpPtSVcSa5GspyY3JDtPmhdFLsHOBncc
V19GXOW/aEIqbjsrtW7zRsy2ain9qDzN3TGwyaGsox8GryNbMSLoG2YAFWAIz3ERgugICxL+5aiT
iR/RdYVqCmOvqH3ZLr1e56N0QO/1TNnXroucfkAj2BuYDEWhUW2FVlGgzEvyk08G6uyLyP/7wQOS
JHjZrpKN7jP5nvglDvVaRDdMOt7qC+UATiMHL93kLxL+MLAySA/JiTZsqTwAHlAE3+MuPiMI0D9k
FThht/bbe5IlzzLbE1L5GkJr48PxwhlEdLMMXjGoV4UsbOyiaoXDCL+gLE+BDM6APyA7DUIroFM1
eJ6qEhjeAS/DiSCHJE9XERUn+lmplC8wtCm1FyhalLP21sjSPTQhIF8W7u6Kp/yG7ahvZLFPjq3a
OQWOupYjBJlIISt1FVNxy30hpWBvG8IjNgW1PpH73Cx6YIBE83kvmFgI4IsiSol1z24lnIs0jna+
31i7IDfTG3AmE32GigbQxnjY5FUOy7uUj5ToKuCPa/HBtUL3J3Ds4rZOKVamsMOQb8exkfeFm43P
eR6oDrZjFhCjODwY1hh8HeoAgHUCHufXUIescAyOmJUj+n4lbJG+BPhHI/6K07zHH10IR9sKC9Jn
EJWEmqQ9JQR2pUfCB8YcGa3XKoSnuST4fFHPNwunihqsWyddxrOUwuEFNaS1uk2O0EdOTTLvNkgV
HTb46B5KX0weo5jcGPZu3k9iO5ZtlpWxb9nI9z3GSIgzBPD+VdXLO6VO8vu4FwiAFw3A7UASoa8T
4BBrCBW5It77mYzsrfWJsGIU/ikCVAlh3lWbneJLuJLwMT5oQdr9zFwQbmEET7gyJN84ttwrvmfw
3I6iV7afLPwfSpA2YflRzhOE/3EdHUsVjaqsiu1hkKxfRRGQSneTujtGeR3B68IoyGos8LO+waYM
ErMTmJITJDz4ABGzu6+sni720PSkpH1IiyrErj33CLIM2VGN89CurISoYib092pV1ojsxsZpEl+7
15QUCL+YWI5faOw8Qpyd0sJHaQlv+lGKPS5ErSo+DXlSAxoYUU4Vo46iEaPDWI4qyJSxfO8rCjlz
iT9qGHwF4T3GAI+QYvHY08wYBgNGA8TEyFW3Rs2+O2b7VERUHQLrOaKGMJxGNYTTIDH7YF+ELswK
pURyLKfQSb1KC+9SM9WeLSirpLYzfds0cAuqbCRm2QS4PnStd+QENOxRI5UNTt6wMY8SuGpjOCCZ
EcqzSuabF213SwE8iIG00O/4dt6dFVCHClcucOQh+SHkJSHnFLbuFnM/4RfR6fwgJq1IeDMQOT1C
U8WMOSuJDIWe3YjlJzeadFd+25QPBVZY37uyaz6GmaLgK6KFg5O2cf297of+x1Cr3/XAF36T0u+p
5Gn8c+v1ATYdvRkBU6a0ajRk5aY0kKSGrVkdvDCLz55JBBWDAtwJVOyBXFeJD0YBSkF1H0UrOhf5
jRaCCCfqiiBPjOPPSo8lRh8W1i7LUhHsl5R/MCyZWS/4rfAj4gF5K3uydaLUKHSMAfZR7Cdg3Fox
s/Zti4W8YAHNSTMQECg0D8JgREehUf1tJUjCU4gdIY581Jr96qye2EAZUh5iqCnapsJNfzeeaB1N
dYSG4Ff+tta9l7DXJ4h5zl2JdUlUkn85NjYBYrHyUARheU+NBNDcLKuVB7mj4loIY3k8xXWHaUIg
eM0IUAfRzuB7hFQkMUqeijihes4wQvNT2/ZxsveUMd2PhSvb7FbY+fixTQV3x2XChwSImabdxapv
mwo7lCyEus3I9ChjW5TWZpcd2Yok5lupw4sbA1uHf+tIMPd3OXhwIqsyQLdCKdgSa1746JirMDoh
HBm4txEtq9XBxwVE8Tpxp+Sh/wL4XExtrTG0z5ZXKMeOsRL3ZtNXNb6AqZmwLMCpCmYtf6Zircf8
qzEl9LNu8qmQ62rPJdO44UoR1ztejcFdUQvdNlQrE2262t2OPWT5GA8+xjmo96HAulPQjeFnK/sf
QhPToKz3wWBr4hixi8GeSZGsfRtSOZ+QICXCe9XTJkZ9X05MMLjqCMwVvCuKWJAAvQemdGN2xnDj
obOTnmXqIhClaHrxk+ueKWwUIWdr0lFREgAWkIRuCrFOpeM4dCNx3JxFxAE4JL2N8RFCIZno9ha1
Jre5xETFxMVSwGj5AO+aHDTvQeEoQET/rI8VYlzZNIQHI4kxSimCqYBlKEDRExcNza+dq1g7Qr8J
7ndCU1J4w6zZwQ3hzxTQ+32pZQmTLEb1zofX+kUqKvFF8Ivyt9cL8TnCAYV6CaOAVpnWOTL2SvdU
APd6/lD6avwpMysBF+Jsiq3kUjcAowPxRuhdkXqoQGz+z0mjl791qSs/j2HHNth56Y0bhbj0+ZX3
wMTRXap8xATfjqBJp/MJ6EIVZTaVUcanlpvbVzDy4uewkqIPHvUCEJ5F8OVJKBZgn6Nwr1WDdIzL
pL4BWQbiYRzazi7KMfqi92b2yLkNo0ER9MKiEKr3tW1vQVLfeFZX3wvkvJJtongTZUT1cNDQrLj/
5Jtmcce1CsZHGgf4DEg9+Mpei4hw0z9v4gDXynfMdD04P1adnIdwiD5C8y1cJ4XjHTtqxQFI5VxY
3A5UnNxbYiIqeytKxnOh8ww8GV2vPfVFQ5sqcFjU0b5P3j8LvAehpLya220qH7DwFtUKKcA4yfD7
Om/kI2LnunsRWTL6LctXfDalsnr08KJqoQaIFYriJhzLMyUzPpQRSZW+AtaGC9hIWq98E41I4oCr
QiVti42J0hbFBHz/n5Uefm9rUGNiZYmOoLMSmtoywDNgtUVtrYRdZgUJYtsoFgWiCdE+jbieJtsG
YOtnwwqTnddOwHnobNoZVAmuNHmjgrBExEtJEkS47i6BuY/PisadBp4m/IQiiQHsFl4OVMFL1U+x
lqf3AVasOEv2mnvbSeFwV1pjO9p6zEU48rqK4tGiIZOkmxslxCVFKeuQVI4A1z+Kg+5BVQbz5Pow
upN2wMglNV0MrkCxaRSnebhsmiVOIkJ1VBHP/SIqiNq7UqLwEIfq6MBhHG6jgWrR7MVzPd/ORzfB
JYbc0gaBqHlneBSGNgb7VgkClz0hOOs6GKlIDG6LYFR/+2mak8dqDJtDNGIJKgZEq6I/8W5C7hwI
wuTOF2fVV1EI1Cex0aobiZAkMDckgjZP0/QYksX4JoQYCaVqknyHiWvhOKLE4R3ZEIpCQOEfY1YK
+TeAp0duilD+FIHy1JhnCSVaHTf7yMSfMDE6niSCcCQgnt6MbSP/rMKiO2mtH2zbLspeUKW4uzGW
+1Pb+qUT9qPG5RoTxraXKgA4Ulb9LrTcuMUvKT6EAxWyim/gfsJFWfgKZdH/2JphToFhHpkvkV8q
m9Qs8xOsPA3XXg1ktBCrSMXHRE3uUhJOEIqQl+48QdbuCoDxX+vRFWxBEeCwCr0WHppKArFJUvgI
6Cb61vUgXlPOlTP6eO+OtTpYZPD0/HuoYJE+YC3Qb9C1R5/SUfFbHAE9yIhKIYUHClv7J+pVjYS/
TypwL6pPhJcpReUJgl3RyVWwA76RBLddg+Fb1/pY99aT81Vl5PvaaktHULLO0buIeU12Jgc9oYfH
3E36ne4G/qGoZPGeVKT8nGck9twoaGhAIzrWe0DWNDyNz2MoDvugy5qXdvD142BKPtSaSZWvCe03
nlGAukeFwtYBLTzFnNZXHmvugzd4XJ87NeLygqdKOgoSBEE02BKsExZRVlsveme0z3UHgl3m523Y
NYFMkbj7wOtDBiaD7bONC1IEizrSlQ9qN9ED+wS+hJgl1hMZv+LOAFP2oeBVum/7vn0R4q4DDVBN
JnpZpT/EYgGUJSGfekoJC2Q/JAVsM69c7vl3aoZng19zvztVfZS597LU+FArQsESrNumz00RbypT
DrG6wnJCw/YDXTPcVBwX4FCPuJo+BWrFcRjoejPsKJv31B3JWHAOlRz1g6M2QlPs5XKi5Axh4wfG
xrI6DVOnyPUB48VC1kD0MHClqVoIqw+gO7pvneLW1T2SZ4i8pojfCznoxFcp1kaJeEhGtUxuVMUN
3fPQ5VBTLqJ3D3+lZy7rqWZlKIZMogZdoCIRfTM0VZ3HnKOY+0uLoHUzlVTBe8AaCAzwR/UY3Yo7
oDfb8CS0R8O+3uw80j1vdZawMXmvSIMAoTJsYfYNRY3Jbi2vpNbeh/umruk6STVEd++yBaHR+GZH
Ed5GKo9JPHJhdZR8pY3ljvxpY5YKHZgQQ5kpdKTwtlVzkKof10dqVtfy1wdCyCei5YSBTvjybdBy
LExiUhG9UB9RoH0q7iDan7gvMtOxGNrrP4R4o78gh/Ns6/l620ud+9M0xUpvm9bSVgYXytwYuTri
ZiuxuceFdbzeytIUpISSyDBpXtK988ShKzQtgAp6OJywLB9tYJjbYi88qbZ5z+UO78ZNftb+TauS
pmoofih3fpcqb7HGsTyy9hv/trbrY7xzbffWutOc5LazFQcLZWdcE9u/S2Ax70mN/ml0VoJVZdCK
efgCG912DjaLPD8P43fLoQqf/8+W7Xyvml+uj+/CMnjT5myKRqjdmyqfOhrfylT5IIbathgp/89a
mU/THBfzAjDFJqhvRf+k6V94HG/+eRuyrqL7QlEtSfOJIvVUkWcZ8xH0GD7XjWtssbQYQNjpoXO9
KetdqkCWZOYFKYmpxHdetgGdzsWzqQcRb8q2LrkfiVQSING/DYV5bw3WZIUe3Leyv1LAsbDk3rQ7
G0Yz4Z7BFYFh7GIRrlPYnAXfg/J/vXvzOpFpHsqUG5CL52RBaPd2Zcc++F4jZ/+NkGdH2G8kOqhu
pQicqOROcb2xxQV+2dps1luRx33OG6ZZb+5HO3JS2bGwWdzEm6lKWNO33XfjQXq43uzrdLgsSJg6
SV4eUeukTac44W0nXbw8R89nSg57/O92qlOcC/4GHMse4NYW9vQn8753iEyTInSfhJ96uZKwXvqa
F79gDkZJaytrsbug4zrOAGKeHUMVEM/1fi4OL8k1mSqjqRzHnOU9ZVyxyjpmWXTbnrQ44Xb4xSCE
IdiOW+13fKjPlvBkrqwQaWmJXDY7df6iWjYfJYHbEM2aHykEx/eBx/nBtStb+s0rrzzo3Xb4Ymwb
W981FCtQY7ZWJj3tXO8+MOlekTpTZNvybF4FmVcJaaypG4EvyzPbG5C5uHD8Q9UeDOPffEyVhKSG
DHLK0L/tbyGaIToe+iuCEkvIVMVRtnIbW9qqYUX83cRsqx7UqPCz6cDtoLHljGpY/vIxNl6ZMIvT
8qKZ2SYjeo3JNmupm9KuPmEpaXP4HZUngA1b6Rw6+NOu9Gt5rsAMgWojTtSA2RRtDC8W/YGFUFO5
YYLOLLYl4YRdsQ/2wkdeI2BZxieA4lv8F/xDul0rfl7u8p8fMJusbeyhf7P4AY38KEG44W22Mj2W
J+OfFmZbahNRhZqrtKCpAwpdpbVEsjsqjuJqUB0aYeidAabX2pViaSdXLkZ2Niv1IHUlzBQJA6aF
o1qnQb0N469uvbrc10ZwNjezJC967qfTJ4TNe3vGJG5LQfc9ole7/PXvZgw8KQl9t4jYZFb6pzWd
mBmgnjb1j+63/9P85dvJ1vroYwd5yh1jLzn1Wfko3+Aq/0X6cn2BTNUI7zcWWAWUWfNX3ZyfHGOv
DwGmWhvsQ2SQyC3cu1sqy4wbAjkkEPfGCdLUY2Q3R/detBN7+P5RO6GdVk7KFkT6et334uj/+UXW
7CqeVCHBs5FfhFYZPwZ5i6bueqcX956LFmYDriY+cSaCyNQZ35iYPpTKOYLuf72RpdcMajp1UkUB
SKKw8+0mivGkllFtB7D76B0ormvAornPSfwjM53KP1C4tuVKYOsGgGD/gOufff0HLI6jpYkcF6iw
pLnYvyb75ucUYW2KprvjCnSiyOB6C4sL8qKF2TrxBsXPxuk140WRLZW49gLcgxe2La3f11ta/GIX
Lc22cU3NhJpCC5Z+9b0YTy6GHK25UgE308S8Pj+5P/0ZsNlSINtCor5k4oFvxWzMkQ5kUBzzh7KN
bMGOVzbRxYX3p7VXpsfFncIltZ37A60J7QfIOmQj0XP4FnRnzXNUnG76eFg7m1Y+2Gt58EWbPugl
U8tpU41Jz03A/QOwfnsQ9p57oJoM3v9wAKqnfAlern/AdwVyrzfUi+5S+nR5hery+L+rWt0rO1JT
4X3L8MYbax8Dyt3kH9eUbSvT//UHXfQV4YE68trma/bibghu01w/rPRpbTinn3DRBHl7yc07moAB
6Uh2bNffrfSIMNruHdHGGGOH1wZ1q4aysres9W12ABdupLvK1HCO3bVERQ2pket9W1pwKhVL3DjR
evCueNs19Matnk7vmBgXdJi6jXWQIdpfb2Rp/CDHiVORmkpx7Wz/wKGIjSvhaTbmXvXDGgQwvbmH
25An5hRyROXaDWJxiVMQSmPoXCeuyttutZUGV1JmH8FnZfI2Jxe6t7bes+RgNLIa+lta4petTf2/
mB9epZDLalRKM0vtGJp5vQNZCZtUfwILy17WVp+lMnq6PqiLX+6ii7NBNXSzjkydL1eSa4K7HBQ/
5DTsyS2bxT/EN05r+rJ/s11ZGWtBEKyR7aQwsUBCiF60W2Xk+Tf+uN6p5Zny57vNtubAA2VcEtTd
lMpvL6dKYsSRngDPYOX29ZakxaaU10e0DJBrfhsLrbaDeUk4RNt0VEJsxW/tQyligOd4DmlpbmOe
DvplTx5pbXueFtX8kYdiGj4VEjvKsWe9zLs68zM4GkQH3X1yCLkG5k54B65nk29J962cQPLSNnLR
3vympQGTpyKQ9ipHgbq5iTgL9J/+fXD2HG3SOW/77WC3d919ZHs76MaH6nv2Ya3bywP+d6+t2T0p
NK2mRIXMLIJfi9/rh94Mj4Fa7oe++DdrQ0UAg3DCmHiSbxdkKUeQz9iKNo101nEhycJvVjSu7GrL
m8xFK7Nln9ZCZGoZkzX6JO2M3XjAK9NRP3sEX/4fSsEXNxkNOYrM0gYkN5s0Q5IGXQDP+jXO2pwg
Hp/SL8PH0Bbu9Mn3QzlRa3Eaf9W/1k7Y1/353Xz90/QcqBa4RSfE0/wZHtMj7LjH6Zk0Her+07AL
juIuI8jrbteosYtRIEIT/6fLymzG4PhO6nwgcjiFlsdx1zz2N6ROnfRJIkGwQx6xje7XrtPvtFOv
u91Fq/LbyUP5o9CIPa3mPOwnDYh3ku6GHaaq+1Ww4uLKREhHSkcH4zV/OyRyHmhlyEQ1hVQ6m3DY
nXhURYeqb+oQAX9E99pkrGoafno0zUzCzKnKDHScvXBsgB0BBC/xDjXMdiVqu7haYduiS4EzyaP1
7SiYY0M1+HQxIBe0hf0FDP5lNEO7d9dC4NNBNZ9dGvJflQFQUcXNJrY29q5suR3Fa0Xz3AoG3oeN
uZOUygTZBW/WjdXd9b1/YdQnWdpUT2oQe59rYCieVLRx5AsH9dcw+wHyZeVwWRi8Nw3Mdgahrus2
Gdjq5HhykdrpVnYqrcaJEmGlK2stzW4BZYw7rdnQFcnal+BX4wIXYt23KYxf6dNSokfmdQkXe0Jx
ynPlYtRPyBBYqZsgzxy/CXcikF7Nqh8NTzzlrlttB819MFr3TiYg3UnmvgtTp628r9JIbdj1T7gw
aSCF8DsmgbqmzieNAOcW/+EG4Wn1aAGZbeuY8jiRDHf4AlZqre8Lw3zZ3PwEVaHnQ4KlOXlf3uKo
+Vze00fzOD3t8W+ufmY738GUaKWXCxP1TbOzRRjrXlpZDc2K/XCCnPwVYUCw0sbSRehNI7P9zmo0
v8tKGqHY7jCcm49YIJkhl4LKHux6q3+PPlRYHxmb5Ps//oYcGlguaDw+0Dkpb7eYEkJ8H1Ut8TAp
QoXqbfuktiHN7xXR22OtvfIRFy7MNAc0eHrqoNuZDaY0UGUlajTnW8dU/uiJd2Pw6XqP1pqYDeUg
UuISTFtZCKHHyfskcaqB4tw+B4t0vakZT+U1ikF3DOSYFDVS/D8Ln/lpk49GRnfkPTZ1Z/Gk7FI7
eOw3wO78ci/hq7frncxOvNu+2AQfmsMan2JhdqL0FVUgQgoPu9drw8WzR/f6rhzN6fvlmuGoQalA
/sOE53pHF8eU2iqSXRNrdb70NByAlNLnIDJECiKTLPrVySaWXKq6ci1fWONIzZkck25LfHdpVMUQ
EJzIOqhMbZMWIu6STa7j/WDYgzasIJxfCfGzU+9Na9OvuRi8cIwHhFu0Rv2sMxF5hJd2vMke24O6
QVAY8L4ic4EdVLYTb/yVri6OqWEgD6dCwXgH+GiqTCrlpMK7OtTkXRULxcdax288TVeZ50vXKaYn
VxsE9gtAJx+KXUh5H3dxH7spmbrbG8ms3QOMOOx3VCs8ZPiS7IwoKc85OTFqjtoWNob1T7HA3Ov4
IXxdSvv5n3MtpeDGw0Dyj7dyjqmh4KaOZVgT5OI+8q1vRSnK28GTv7vUYW2uT+HXrN38Y5Od5oKH
FhrYz2zrQXQQWJWoEWXxxt9ygRaOmko7kpqHdPQIxDc6UYKu/AI2Onas1L8hbf0YDKq7r1XpC6BS
tmEKEVHUZzg7ee5d4INcpzgzx1ap8+wsAL+RVM0ZXwwHTayC8iaoHMktyrXg6cLBq1NhRQG0BspZ
nfPlyV+YpjASy8ESzbaoCjuTfN7WGwzyYNTcKtsaRIy7xUXv7vogLq6Yi5bngVS5EtluelqeXgMU
lkt29hh422Cvb6Qtlpg3+g5C6y6y0zNb7krj0xd6/wX/7vY8oipXct8yxXnrES1wTw1cqPZEKnor
H/Sn620tjjDRMs5zqtfeMYY0MxTTMhPZGYIcGyVhA8nN1nLKeeu7CrPM660tbQWQ3dCOAvMA5zGb
mi7H8uQFRGwu1o5509/kcfdVNJN/seMw/y2yaWjP5TnOIEcmAeqQXdySQ2FHEbMEoaas7kENqSsT
ZXovvPtU01uC/xLfmSdmmSaZFqZsOOKpuItOJQAvSvDPq6/ixZG7aGc6Hi928MIw8z6gmHEj3PQ7
jJ3tcOc+R79UKhSiB2zGMDxWjtc/1lJ0naDGn75Nv+myzTAzgn7qW+WI27ydjEKTry4ur/vGHh0R
F6CTnqzM/cX5eNHm7KSyEsUa45w2R7e/DTT1lw42guiZjavbuQLLd72Py8MKC0FEIq1yz3nbRUHD
28qPCTZ0Lgk1S3lQhOFUQdRf6dbywQSOG5sMqqLE+RMCzJtfBnIx5e3qI8TajAhxY0vbKsfCcK02
b+muxPVFo6SDJU3O/G2v/JSVgZcTvVK42KLq/UlJerE2PZauMJetzKaH5uHLMIQlJV5O48jb9ig9
R6fil3KnnSE5J8cp7VMLm7T/N9/sonezKRIlueUJEr0rQJxmIc6tIhFFPd9dnxprgzjN1IvZPwwt
IFydZgzhm+oRxWzjlRaWJh/vW8gOBjVkZA/ettBA8uIxwjbVgdfdyI36iNromFdUP1zvymJDsszM
Y4az6866gnI78Qps4DZ5aG4K8dDIn3xESNcbWRov5aKRWdw+dY1R7rjAY5n7hXpzOUtX3o5L8+2y
gdlwdYbH9VKbtkAkhr7MyhmK9uAjQdloZrF2ZZYZ/PnGftHa64vo4vPHptK33NxJs2xaEnEVVf4b
eIakFjG1x4HBuT56S/FdyqLIjRk6Rk+wft5OhqSte8TCvObaXXSnOv0hd4adtAU2sFnnYy5eby5b
m62hqqhqaOivrYXDiyyiTtM23gEpkR1su8+5CYf5ofEQ999NEea/+R8gb7FQePhrIC/r5pdny5/u
zqYkGXMIeTo/IG3cblNKwQfLyF5WxnStkdmUVEQs+bBMnK6P0m68jbyNdqscsr2wVWBEqoHjO2vE
rdXvOJulgxQYPZB0XuVHNbuZ8v3Wlr9JneDncFvu1/Ici12cwgzgygyZFM/bacMNyAjzlGex62NU
OuqkH1tXWlkMi41QAkrVHh5MijWLnQhdG2ouPqN45An7SBl3frxf+VTTH/FuuZE/ndxqWAVzCiRX
DZcibJrIMbx/8g7SIfhI2H1jfhZ37qber16oFtf3RYPTP79Y33h/SiliczJynl0e011yrgn3J7fZ
MXtY/0yvF4l5/8gNg0JGzmlar/HOi+YUHdKTlxHPlL+6Z/OR6tJt8mh+cW/rV8pmY1Ow81uZlvtN
cC/ATlyJsC/OSwt7Ke7Fk93ZPAxtymRu9Wl77nfuXvS2U94RRfEEE6p/WcfVtbc0vpftzXYYJQGj
x/Kf1l7naESL+oN7O/F/s53wsHbhWTgaDIzOyB/gk6dCg3j7Mb0SOWY0cjRkVXIfqNh39KDCBu+n
P1Qrp9BSZNqQIUZTKSxTRj/PLCaxi3FEygLHXNOW7Gqb979admthn+2S6gUDkfPa4bBwfhuqTNaY
5BQtqrPNshZAsUkBzyZNrzZe/dVt1B2q3MP1Nbiwyt+0MtstEyRwSQh8fjNUEBBbxY33XWp4K+Vd
S0fPm2ZmO1auQeSUp8xsfKTWegNQxnpRsR/mPneeXhYD4ZhN81w+DsZpPbO50sl5INOs/MZMUlrv
WvcXAX/PTin+/lcjiWAKK8VX2dHb6ega+ggAg0aAbThdgQ6xXFvPy1PiTxOz7ct3u7LNJ31F3pQb
0zWPSkDpuC6tXUvW2pmtrB4xIMAMZvurvK1Bvr51vVO0r2xsTThvtji6dyh/7prN9dm4tKS5EnNn
JWr/XtQ0uFmgpDod7ItHo8WgUfxRyU9V066s56UOEifj4kpgGU3HbG2pBuYs+uhrRLJHu6LQXpMf
kfztrvdmsRWLwieTk/q9WKoO2hhrIHpTNNhvyB8H8LidlK60svRi5wT908w0qBenjBh5gVJP4Wvx
NNoSlstbASTHztpmx/igwxL+uHb/WPpMly3Ohq/tvc7tCB5u6rR80jHvNnJlL4Gj7TVz5Ray1tRs
fyqsqtY8MBsbIcS5treG8cEsvODOE8xqk+HAfv2TLRUEvBnM2UalIE0UtHjqGidY+kX+qIHgM+3s
1jtKW2+rwIA+rNUDLGxPUxp8MnnTUVzOA2RU3yV6WdX0MYltU8Jpqf3nhwn5E4W9CZ43up55uUpW
FZmF5p6oTvmx0LDSQaVndJ+vD977ftDIJFXgMse9cV5q0Mcj8mEh16ACFM9NbOIb2a4cJNPMenuj
etvEbAdEUD3oXVFqmzIQMB569MrGyfDPwmekcdOV3ej9+qUxQ8SADUMKELDTP79YWNBSQtgyAao1
cbSNEAdOoMdW61wftaVWYPtRn0GVBjbJsxknuLXlDgqmQGb+0xhuPagBMPSut7FwE1Uk7n9AZmFK
csLNdvQ69kRDHbgrTRczdRvbE1AByfJj8RX50dFycEgiE5vvSeTpNbvUlhz72q9YuEVNs8IiHoZe
B3Tw7OsNBU5DAJw4h4mvlzAxKI0OToCDre0wRVCVXbD754vrbZuznrMztUabSJQvQBe8G3NXfwo9
WD7XB3hhXsoULhhTdT6y8PlFu+qpaahc0i+yMRI1UrXjkAiH2DReerW/iyJ3rf50YdYQ+ECDyNtp
Qb5mVUmkNRX3p9TPjp4efq4NghWrQvdp8r1Zb5gccT7yRJhKePnL2yVAAeOkJGP0/GN+HPQNOn5H
uKOcXdkVp5AzZrq6wdDo7mPLgbWxlpJ5t/3P2p/NGAi+jZdNQaxxDHfTQQ3+ZltPwQMoStc/4Xu5
1ayt2UwpLIHUcEVbWiNTf1rvR/n3EPJkCx9jcERe8JgGviMBtGsB00CVcGqKqTxVJ3OG5WGI5j9K
ADmnu9CMV47B9+fS9ONe02EkqDXz9YJ9sRepSdxl1ZRarBwiRQhNbieUb2x7v8xbbT/Y6E/Xy0gX
R/+i0dnWlASmFqUDjUbxBy9vtvooYQP3YzT/66j0fw0MLU4zfcoPcVeS3zGRwS5bQYM572uByF8W
Neou2a29/9+t0mkQScuioJFxz5zHTbpGy8DdswvCr9qK4Ydk/NbrX0M52o2esrs+nd4tUNrC1HjS
PAJCRlP7duV0JTCjipI8PP4s2xfTXUsssQnWdKxrzUxn8sW8GGQd+mo7NSMinwvwOH1Ixa//s65M
v+GiDbWX0rjGlWTTQ10NMnkbmtVWG2P7ejPvL7IMGYGSiRutABCf38rxcWirhiziZvzRfKses61r
1xvtUUKMW+49ey3V9e66MtUmQNShNEkBiz3P1vd+o8cNRYMbSum6r/EQy58Mf/hxvVOLjRjoxTFf
hX0kza7KsljIOG0ws5scqw6eh96NWDTRyvGzMAsoOFCBvhoWLOz5AxcLwzyOmulgDQ/a8MlTPunh
yg40XbRnJwEGxDgJ8TijhfkJZ5Y1NijZdDHGT0DUhRPCCiUe7ZwzCDnlqQuj/fWhe7/7TOuGY4ci
AGJoymzoEtUvcjGoiKNKBFKbaOdpLRUNit2HK/nc9x+JGm48dS1gyyoyhFmhk9SaBQ9S+lZOSYbG
/wwbaaUzS01QJw5MmZethgfY2zUUilqQBTmRx8AYIO+le8R+KzvONB5vvxCT7KKJ6SdcLFMJ30Mx
1mmiD7St2nxTBRTXAE8KyF5y5lz/OO9r+ggyX7Y22xQsHHXQ4tBadyqb/f8m7bx2JDeWLfpFBOjN
K4vlerp7Znq8XohxoveeX39XtoBzqlhE8YyuBAgC+iEqk5mRYXbsnX8UkQHsgh/jL8lj9eijuwvB
SnDYGkm+PenXZsWhuVjkCNlxMQmzCcGWHaQ7ZVJ3ib1ViLj9XARWNn0z3iTQS9ZidSj7Ot3ol6wu
ycd9hFzLQ21bW3wZt1a4Tpw6IdchBAEW0U2Zlk6pQW/KaJTmQZxESJ5teIaVwAEpEFrdlH8tGMSX
pBVdrxlJ2jM9VqQMBUKwN0DuWkkkmpFCoSA9DEXu6XIdEloVB12K39rDr4Guie1ABQdv8v1zc7tk
fg7JFLBobjUI6evvl88wW1lmRMdLfgSv7Cl2unUyxW29vgfXJhbfLhjqvKyAvLu6BIyJYzIhb9So
AVUr6zNcdkfFiaFva5/s7vP/b3GLw1nWYDMhFeXUoLuDshy6r1uzwLdumMXh69Gz0nlUluCovrQ1
axxCnKItHSAI3mm+8wT5IAnxxPwnKFdta0Tw9soJk2gr8Hwx02IvvCOiRF0diP2M5KepgdXQfxvW
3+/v3OqyhL6j8PPoQC5sjHmiWA5sACBAOm2fBeVPC6yi2RauFDzFPjRhTtdv+MvboNOwSUMFCESE
hMbifanJdqJ+rERruXIDiOOGsXwblIIt2X6ieHiOYLWWR2XD7CuKbHE+sYsMEAkVaPZXKN+FC8uR
wY7gtucTasbzDKyunwKYf1/K9kML5Lsik8rRzBiUeuMNEsfvxjD6kzg0oSzxOsR1YZh+ud84dUb5
GLrsY+UUuUsZzfBqrW/3oaX0GxnVLYAYhhHwZf8xuLiJ8xjYCMbie5gKmw6pc1S6o6CvcPbJY3KG
RDK1UX0zv6Yv2S9tL5Tf/vy5uP4Fixs5z01T1SG/AADablA/dOYHc9iafrttsy3WuThJsJnPTc8Q
CXUNNBA82jUPzl6gBlQvP261vW5RRcIaykugYYC73kBr27gJot5AEavoPknWz1RPHiiL7kbNdhHL
3ecK0pb9L3l49ud244veniAqVBSq0Auk66YtQzIFsn8jdTTDjVIZrWTSmrM5muNLhkzCIQ6ycKPc
p936BTGJBoCfAjowcHm5s7JgHex1+C8BRVoHKM7MnWI+yEjH6V7xEH7I4Tx0edlGWBD0c/AE7zVw
F/9d9BcA7sNEGznzZOZG0vcqfIww9TW7uaDIRK0iOMTah8na2KKVzyMkBsW8wSvmcRnxZ5EmRz7i
D7iTCSVw3sB8l8et/LNVJJlDEauuQ9wCITsKbar2fYhVZ+ORXcmkrgOLRbRZZSHTKjOBhX4cobCH
o5qaHzCPymseIVqekCXfnDm9PRvYFHk1B5NgY1nHhC495sABDB6nd3Ycu4EBmrg13UD942j9ytBy
VpBdL0kjdc1lrORFCdp3VZ9vYJBvnzxhwiR5J14Xbd/rKKUsJs0qcWvurEfyWxuUznGy9PSD0eXR
/v7LdxsQXR8XcQMunLKeQIaZDRwXo7WQkg9gl92Azi2EeUF/od8i07NmDBjSaEgrr03ko23GeWGi
e7lXDsrHvHT1T/qDvssP9hkysV13zrw+dRn+xweHDxNzl8etKbLbx5bfQBxBJIE63Y2KUj23etWO
XGS/MNtjUROAVt0EV4UUqNTPIvucyNxJKfdpf6hKeLq/y7eHE/PEvzplbrKvZfZq1G2D+AZTFxqj
a+cwGLtDZ4LIVAKl87pSGv/8BjJMQjjDdls46eUJkjulrUPIu7mBzffeOQtpJYj3Dnn1iq36Fz1u
PjIVYaC7eGem6BZHtiE9FxTkJiUAE9mInEk1run5/jbeHlbKGEjQajpVYVo8i4SFZyGOrJlQUNbq
s6xpb/NuS25rzXeBaeJtIWsxmX1elJzBirezXYog+qF9VPczUKrG80/TQfXivb9TNpZ0ezBZkkqC
xHysGDISf7+4f2051p2kEBRZJQGQXigzXedGO44SYLFcfZCT5Fwm7WM8jcnGUyEer+t4DNOcECTS
qHsiwndtGrqKNlLznADUZ+y2SZT8NCO/gpfphuM41sVxqsItIO3qeh1ACghKMdq1PJix3lkZ9OGi
6lUdIB/ec4JfIpPMQUoA7vZq8s5Oo99FlH25f3Zuuz8my72wvPiwlBFHuJHYaf0JBYLdcIze/zPW
YX8VrAT/A+Dx9tZfW1wcV9+KaxquWPQ/OZ1bnstD6GkglBGewtsJMoQYytLiR/RjY6m3YYswTKgk
RPAAzy3CFito1JrGDGc4yI4GUpUu4xbxl9zWoKlxFFKLLkRnvhp+zAYKyEZYPQzIJLoSc9KuZo5P
ji/F9DiQCazH7mtY2++oUtcbD8NKbUBkPgYdQf7DiOvii0DuwfirxlnIpYMyHNOzcaC186lXT0O3
p8k6wWU8nSb0qYaNo7/mSC4tL76MEckobPVYtsdup4XIDuVf73+DleTjenGL2zX1Sd9UMibgXs+O
/hG039Haha1b76Hi3pduy9NXusEOoXKvO22xf6yEEFd7uyh0KGZZ+pPO2eu7piTRySq3Vyrp0ETO
xl6upB+s1EEBkYwAGpXXxtaFC+sSZ5TkShzzJ+XAGT8g9fGKImZQabc1MPwavy691oW1Zare5UoU
2AXW2q+WKyCNypvyMH6kpEJ4adWuGjFQqJ6cd1tUBmtnhuCBCTdLsAHb4rZfLBPayiZKbWoEAdB/
0HoIkG6EfWu+8dLC4tr6yCuUTUYeJ8TsRRuqO4Sn7GCd7x/NLTOLkA8O9A7VsFczAvOaHMX40Db8
dPVLXS5H/I6LDRvTZOzaCjvVfj6o+/QQScAxWyKv2BWskQVcZMa7fgDGc2i3gPsr7VRAE//9XMuH
pjBDPQw6rDcP3T44Nce42cFfaz3rXufphzRz44cQjtnRaw/VF+vj/T3eWvwSsam0Wum/fkvlQxfu
hO/3z+hpjS/ll9ZFmIspwvJJOstQlG183pUM8HrlC+dWp+jDzwEr14/638PRPivH4qztzDfbiPo1
L3O5yQsnl0ah0yDwxtWvPivJ32l6lPOtV0L83OWFv7Sx8GRzHdBhjLDReo0gsxP0o9ZTzwHqj5K3
hde4hYoSJlyaE0u+OLVmoSEr3rzuXnRKvflH7sVecjSOwTkrdoIa13nIDkB8p8IzP90/NWsBg83Q
so70Kkic13LEhe0uVoO27Ik9R7W2UDzuigNqJ98KA7G+xrQS77651QeYUaBXwn3GIJdBu4OEROrL
2Is+18h9VLuh2imeINKrPEkoT0GaxCDGZhdlNRa7NLx4+fPcUVEqwrCQEjMOxleBJRBjIHB058ox
flH205utHHD1sNJjsw1RwNKXNJJSp0WVlfNlEWxxaZHtO+nThFLo/U1ds+LwCelPQX11A1kZefi7
BhVd1x6UY1dIno7IaOxstRlWjgrNIVhWdXJKsEyLW9EwQ51LI6+RNaKbFxkDSZciDY9JL/lPdZSp
G1j+VXuABCktQQV8k6dM42SkRc+yJlN/V1WyF1TjEU0etwqDjeR1zRTCMGgukRLBPbw4HPbM5LoG
0ZzbV/VDjNKSnpy1KoRV6/f9T7USJlMfpg5OhMwgrbHYQ0ibaVcqseHqDSOLQS6d6GSErh0bR/zN
ExpvDTPnxmZPbGWBiCuDUiSTZVT+ZrSly6Z8cjr6bo9MgZzlfbIPD/kbw2LYazjYX2PSka7ZbbGR
rJxMijAKEAcWzLFZ7KuvO3bbWZjt0VdxHDQWm49h/O7+noo9W3hr6gCMP7NALsEyn5WrSQprUKBu
rcqfO2lAVkvFt9w3shZygp7WQGpAcUTisIiUynFM5Q4UvGu+n5lLxlVRbW0exdjYNo3v2ufieCA3
KHh4SCGvX4Q4bpraak3NLdTsKwT8Lu77UKTybiw3GdfEg3mzfbbuMFBiC5TDYmHdZMtZ12MLhpr3
/rFxU895bg49LJzo42wybK9upAY3JcmQyX+XVdNe6to46QbNtaLSeeyRGHgIpAKRRiZDux9moNE0
IYk/abIvvx/sKXwJYQKGQ1ZFRbgSUlEbX3ZtA5hNJW8FKUzxc7HZPYptEmByUTqOTiNYH9DPgoV0
OE8f9B/p7s877UBWqJHBnEFdD9zP9cd14K9qjIgNTx1EAiVlag5QEpk/7i9r7epplFhMlRoVr8Ii
FC6jyc9QUtVcQ5/tr5VZ2w+4ABL0YKiKjS28vYEIxsO9SP5PW19fJkhObztxnKnYGiZzn8GQ4Umg
pTZyFXEQrw8qViiP0QLGhdEeud43tdDqyRQlflnP+wDueyd8Yvx2+D4qXf3cUS08NPaUbFhd20cc
FxEaU2VU+henw5Kcqk99ivxaML+X++ZhUlPKyUby7c+/F0UJslkeV7BgIia9CMTMyWmnDroTd2oR
mMyUsvbark0eJ7PeqBOsrQhhYLJn4j3c8mJFdgUHipo38JnMObD4nxEY70TeKvVtWREu7mI9I55r
RneOa45OdxTzBMjZ3pK2xrFXzTChRuEJzAqA0WszCLUXYVS2tEb0HCnx2J2mdyayAX/+cUAf/MfK
4tmeNasdNIctY6L5kYmdn1qqP6coG/4LMybspaI6pRIlXC/GLlLLqnAKLvOVu9zWTxQAzkOwJUGw
9rpQaUZECWgbw0eLbNxGtbCBzprrqvnv2sLfSXb/Hfngx6TsjvdXtGrKoegK0gF6uxssjkkX2nQw
hUzbl0pDMDQxg3an+MPj0Iz7+8bWkgtap6BmqfOvNGupJ49IUPFGI0hXJ8xcN+o+1/oSoAMqge4c
ByWKQ/r4pFFnfIQ9OfTirvo+54H+qUR8wkGepPFbl3ZD4Mmjqm34ktfTuHRhgl7MBMwCaYW8uOTB
EKS2zMz9a9u8P0+fBOXnuLPd+I162sYC3EabImDXET5hBtWgQ3h9nmK9nplAx6eA0Nm1venGju1F
ukrFitEO9cXQvmx8AXHdbhZ4YXHhWwIlkJWywaL8UGe7f3oZ48MAaZp5yN8zh75xY1aiCZYoBnBp
WlLhXwZ/XY2AZRrKGoQxrRecuqN5ls+CZC/db2fqt87mytiSLUmypszWSk5zMbTf6syEcqrVnhOl
9za28fbasBpxYegqUxxYejUAp3Prlzw6/+h/obuUEEK72ZEKrr2Dk3YX7ps3xrAZna0bhiGGmWXR
uRR/v/Da/lhnGdLQGn1s/ymTmvf1OD2Le+02rf/h/ipvbdE0h8pC4PQE0mFxViQkjrSRhqJbJ9Yv
Rqz+0rrp5xAVf4/g8+6buv1wGCELF2ArMsll8D4G0jzmBh+uG4a/otn/VFWd786OsjVScRujEATx
hKMkSJZw0+DKa7kMq2lkTYpCl/VZLV76+rHJCwD4GwHeqikaLjZvuQbl3CLAi2MlmrMpYMwnkt5J
7fCNHt5PUw6eTfzaISxaw72/iWsGUVBSRSjEfP3ye0UW/GqdInHVtMxLC5LlUKHkAE+T9sbcBN6s
FWwoatC9F/A42HyFq7k4ilJcJ20JTJo7MP2dma5VuLkX7G2v3bfpw/+Wd62dE66cIggT0FLUF/45
K7RikjKWGOY2MmcTrULjkA3t/v5O3pqhqCHyOwGEFSp/10tT00lJMsTDUfCsn1vIhsnvfCIkCcXi
+5aEh1/6YyS/eOdlAUOwF0+9FhlmJxncZ1tqf0QZ4hj9sAWRWluNYByl/kSdi+f3ejXKgCSn33C5
MieYwcJov9GRRpcK2qaNa3x7AvG/OEaGGAw68ssjn/tErZournEQ7uLoGBnPUV/t0jlD3nmjqrBq
SxSeRLWLeS+x6ovjV41+NyiK8PVt8Klz6ofaUEIPje9jNqBMFTn1sLG6FdQKy4PkBJ5MFbjwkqWL
lLFAJLnXQK1M+3DnfJlSF1jytLffo2ePUJu0t3bJEXWTfRF5EY8sYuZH818cTjEyCzuocMzLkSHd
aaRaRxDV1UvnZDcFI86Bl83DRpF99dSIeyaqe4Ly4Xp/6VQMlVwJTxn0ym6Sx/rRrGfm7cp8/Hj/
EghPuLwEOly4ZDyvVYfFAa2jRovUeNIE0TAUKP45OjPVf9xqcq2emAszC+dRVU0e2AnvWRbK8l6N
bQZLJysFnjJSs9TVD4gqb929VZsCB+NQvNE5Pde7mNdZBBMwEW8E6eAJOHO886OgcpPa7Jlhsxt3
VIqX+9u55lMug9jFdiYpxHH4Rw5INbUHHFexG9VB3Zi+WRm3oPylg7xkVgBq7GUBoyqmXkpMvprA
cGWURffBw9DRyFJ2iNZ7wYdwL7tbc/4rp/LSqLHAFM2J1IP441RGY+Zmfc8kzltb31jaynm8MrLY
QKmkTxENrKzO0E22H0J5RC47PZtB/WPWqiMV+GeYMTesrqCwrzZ0OXsRS5UfTzZrS8/Vc0ev9+e8
4/nZ5hza2sTFoRycMc9sHUOAyn/6KKl78m/wwUJkYOagAkIRYg5bZbXbcJLlEd45dJeAzt+U8RIq
Jb6C3/L7Gq4jqfhgoDy+0wa1RGk2/Xn/EqwfT2hvQe6Tat6M7oWqM+hUajgpf+ePKN15BlROWr3r
5Z1qwRtCs/mQHinn61s3Y3V76dnRGRHP7jKntv2qjfUePzNlYwCZaRuf63qOzkiIb/VFVq46d49x
aJDPlL6We+ok/TBHPlc9iobn1Eg/11qxsZFrl4FLrkNLAvIUHb1rD6Y2zojnzET1VbTM/1dogCpu
7uIRIND6rx2x1Iv3vI38Gb4E7Ahmymjft6782waIZpya3lMrNz5Eu5aad9c+tSkaYvAd0bx3zQ3n
uXZKBQ2iSkURRPnSq9FegPVTSTQ3DjqG72IvViaPXtGeA73bOKJrX+/C1tKZTeFg6kmDLSFRE6vP
iYOCp+3RjTzM0a4ajoW236YfWGlnU2347xKNhXtLkPqgLYjZ/qAdJCiWsk85zbt9/WbcZby8enao
5Z2PqN+XTPyATbyOMLD81Jc/YPEQq0qpTVnNDxDUVf1ZuDrGbHbDeRtxsrbFsGWQoPBS8f4ukrAi
bDXw2CU5UWA8zV3tBUHgbXzGteU48JmJ0jrv4DJ59dM5sYOEquA/y9GAz9DqdbuzetoaF19zLcy8
ihiUjgH9metL4oeh3xiVcGq++dRE83OhyW+AiW5cglXnKUTExCwS7/sylXRGNQm1TMSYXHr4/BPg
B/vyR0lkOx5r2zNPwyn/Kse7rQrrWr2IHqhwarDTkamLHbhwA5OTZ1EuKrlpSqBdED0B8ICWVNLG
5EvcNu1fPBqQX1uV5TXMzbpjHf9O2sD/oMKUutHhXilY2le/ZlFuMQrZbhSAO24OuYG5ix7E8Gq8
V8/gKD1ig30lu03haR83jtTKd2bXUUZnDJMRSUeElRe74BQmTRpSVMhRpr06evHgRmTWcB8/1m7z
oXR21Vtp84VeuSyC9JOKJKM0t422wOJO2jLCy73xS8srb4js4/2FrXhXAT5XIXEUte3le9UEs6JO
Q2+4ZTRKXxrJUn5KA1BOSZv1sxLWW1wEKyvCCFkSl4Zb8/p9L/axqqOua5oJTtEYeplmrM03WVOZ
G5HbqhXw2gpzBIwzLG/LxHCGJTF15oZtU3+sZr0+JV04nO7v3UqxWOCAKEuLoUSysuszkaehNJrh
CDQhGotdoKBaEPu99tg2le2qTlifGB6kA+JbWyS0a18NDLAA2FPJvVF9nq168DtVwr11w89Q6bOD
EjM8pM2An+xJ2rh0K2dfpNnU8MErGxSQrtdpjU2kpyiv0sOLdzqFBMnODqm9YWWt1H9lRnzUi6OR
IU9aSy1mxp+9B6zrIO1+1nvpaUIGeLvSv1Its6/MLfyajNhM7XeY6/2H6HN5FtS6/iGwTvF3hHJf
JfC2Au6VyO2fKjVjuVQsltWYoUmhjvYD0+W1bT8hJZBBYjfVnlz26XPom/YnCGYybwxa7SQPzVZs
unJqaG9ToxCRFB3TxXeEIshBg4/KtG2NqauU1ldUzUo3bvwfoaFsjOWtfE4YW5mjEW8GDdqltTbo
pKywKgEJhCT+Haop6dvoKKTQq2/6m/D9JsGu+PnXQcy1wcX5UbJqzEsHg+kZ/cnv6m8xzWZ9EjLa
Zn38F4rHuObLBS4OUK1FTiir0JzXAMiVHH7d8M97tZjAh+Gbmdm+wanZEgNJaQDFAMCI9AuSms5X
w5/1mAGBed54CW59prDlMHPPi0OmtIhktHQq57xj+2Sp2WnZyeCM3PeXqxZo1MuUIoGgW4s3VFXr
GZ4+sVnwmXmW6icnI+2tDT9y661Yx4WVRQE3L7tYaQZgG1kYq+fOrKIzE4eZGyBbspEvrKRIwhYM
PQrTauoN4YkutL/0iu9TfpXeOm/Dd+nZP4bfBM+F7dX7RnXD5/Rz8rE583/blNK3F/ravPj7hcec
u4BIM8Z88rlk8gl8AlAcE+h0jCjKQ7u3XWOXwJe22UO8DbCvDS++ZCHX6RjpGK417U0bDW9tHld2
6qXJlUNFP7idwndxk0g7X5rcYpO3fgU4fv0DFh85mu2x0B1+gPxefUIArhi84JnBRWDAoUchanzp
fprWGdk7rz463taLuO7cePUFDJkXeJmDx4XRRqPdQQIfeO0j8w2uf24D1/+Q/g3oGf7HaosYb+3y
qGJmj7aBxtTpwnkrk5XUsdKC7ZyiXdoyDTNtsQzePk+0ti9MLBxoG3aNMkiY6A//jDaImQP1tMUz
ufrxLu0sHCdMUVYbaNiJz7D5TTuncIfnCiYnaxc/918EfFvbSZXbji4BTbA58L+6leD/4OATd3e5
laOelHoqKMX1KJn3cG/3Xqr15oY/XQkw2M4LM4vt9DPwg7ogfG/2o+c/VA9afQwP1s6CYj7zjORY
Pm0B49d8n6B4gpEKpjTi32uHAJMsjL8TXXDgCw1xKLw34Rg0pz7w/Y0J6zXfIwjSFEgjKaQv58La
aQQ3ItHtmYfaebQG51tny5FbkZ25uR3F3v23Y80cpIkoZwE4xNcuXqfAUCTfyACjT0N1QhZ052j0
dybOzPT+X1iiK0d9QpQQlq8UqmR2NKUsrMzkt4r0VTIZBEw6z1c3WT7W3ChUfRBKkQlBuLpwo1Fs
+mVcdqLCJpj6Xq8A4g6ixNNsvIqrp5EMjzaqUKq8YXc1a6IxVNz/aZUpH5sjjJov1g5hU7d7m31w
3m0WldbiMXBFlHlEhnLTe3TsstRpDvxThRGM3rlER87h/KseTBvymy3HIrZrGQBeGFyCTQanhQty
wKCm/5gT41Nn/+6ZWSc/RLXy+/1TsvoCADQW9QAGZW+6cZNaQHLrE8wI1SWdgRfAO+d6rzyg//XQ
udGX+/Zu2VmJNi/tLbyJpc+hamWENTLIEguGViit9knlFg90+B/n95PiyYeaPgEA5D0+s3WHN1uf
dM29XP6GheNOJCXSfcQK3NR/aOdHdCF3mW9u3PSVgtP1ShdRjdwFQG1sdla0sUQo5XvKS3LWD/LJ
8caNprXYtpszc/EZF1ew8i15bMRnbLPYq83SG5u/7n+5tU0TETwwaboPQGqufTKU731ix2KipXBC
L7Tah8aQTnG/CdlZO/4mVRVFqFRStl9ECFYdt1onmKVSRf5s1OoXR89frNT52STR31WzRb23+p2o
QADHcKhJkjxeL8zJbLUfYk0M4Vs/o1OFegq3YXK1V4D/1tO2euEAjzBxAiyDQtziSymWMbQdIxNE
J8EpGPfBiGALwhxnhKfnBwui4s26+NqnuzS5iDKTKEuhz8UkGvHmroydZifn1l/VFG9457XIS/T1
RbQA//KyuigpdQ2MQaK5oo7D19g0izddFWoPWdKE+3oelWPo06Kb9JzCS5dugb3WHldKcgDLGGZA
Bndx42YnamelwPwQ14eiRF6l/eZM5W52xtP9y7BmiekMVFSppcIxtQhQAins41FI0xboRbuFZBxL
K7Fc5LwP1RRupGdrn88Gl0FKC8kqM0TXBzRsnIGYAbVEu1OznRJFzjlT+hqU3qRvpLarpsDkgURB
xwW417UpAIm+YwwWM5ZJXJ9UrasPjJXlz7NTb/rHNZfFQ24rzCkIKunFPVdFLVqTQJPJD82zVHpw
ZYGIHTw7Y1qXce5jetxsAqy95UyeqHh/isQ0Ua/Xl5VqC2iWKazhlVW4IVbJkPtjmJvqSrmpari2
naISoRio4N5qXjnmSAcnGSC8CQbtefTj7NOUx5HnT36yBQhZuXs0b8AsQeEIDncZWQKjybJWBvsX
xU5JLpKEXqYk+zRCSjGTP/glTNKJk33vQ2fj1q9cBgbnKI9x8eCUWW7qVA/51BRwx6dK2bpR5vxq
fH9280EavVL1tz6iuvJAMMFAL4HEA1DisirulHI8ViofkfY3dNzh1+pFTV0jd3udWCI8/IzO1jE+
DY/opX+fPoZI4u6Sb4J4bTjn8i7bpINa+cykKQRPDuNJpGMLlw6kv+/Vjp6yPtkuKm5stASqD3nZ
rYHP1a0Gvw840iZjURceLqkGEyLfzHDnvMHvpP5fjhL/KJ32W4OozZ87A4DA0NfTmwZssARqkfPV
BWRK8BhlcgwxaJHsS6WAqpoo4HDfn674AoE5hpkYkB/SEAtfAMG7ITVZJeQHWuOdxZT3KTaGaAOF
v3ZwCCvEZB1twBtipjSvJamXWZBekDWkstvO4bkYDFBFCgCjZmvmc21VvIWC91DIIC4ji2mmgWIJ
7VmipR1Dca45fr6/b2vnAYpiaIoBU9/CNJS5mZFt4BnoIPZuFJQC68L/aqfNS5Vbx39hCzI8MN8q
dfAlSDHJpTbvEsodRi596K3wi6UOBeKRQURbT9si/1xdGW0pIM74tJtQwg/nJhZAXYDb8YMRZN/s
cvpVGzWogirdcGBr95fyJxEDT7ooU1+/ClVvxEhsYqttg+cJraHUqj8YdfPp/gaKMGsRo5OKK/gH
in7UWhduIm3mrGnBh7ltWf/KxgxfmfdewfTtGMQhFYGsdHO5+HLf6kqrmV2E+IZNtOnvL1fXgeSx
zcQnni7c6Hn63DDnKe3lDxFcHMaDsq8+/Jt5iWub4mZcVHTLsKXpFzgU/NMBxhRNfjGN8LOjxdL+
/urWjgkgGSopzHAzKy4+7YWhHjprPWsI3m01eEBIe5+lrSvZqTcM00alaO02X5oSP+XC1BipclOJ
KDpUs96FMPVNmW8Ogq0bwUExkUuEsuxR1l1XUm8wqClOiivpfxngOu/v2NphB3MFZltHHeVGiLCQ
1DKYo4CYxEAZXgp0ZqTKPoIJbNoKSVZNib6/GHslLF/cKz6O0TQ+90rr4qc6Ho9WZ7wF67jh1tfM
0KBDHURQqDH6ev1hinFgqos/4tbDo5OrvB/a597/c0Q9QytiyozC0yvg8NqMmYxKr0Qp4EZjfCsl
4aNTh1ud1ZXj/Aq/gXxYqCksEfVSqA257pD7VpGenUwZVnionfMm2k2JMcIgmMw/7h+HNYsgJ6nK
IH3JXMIi4jdDqdUmmcEHpxrOWTP9KnznrGsFAql5tFGkWPlQnDeaZuIj3QLMi8yIlD6GR8K05vCt
DLzJ0+xOOUPnLm88VqumUKEU7L8k9UtfG/XF1GgpjxUwArcaqCLF6odSUQ/3d2/luhLe04ImvKc6
uJwRnpt0CoqyoRVY+kygavaDZVfzn9/Y18kboIMIs91UXpChBmyWUK4qg2cVLiHVfjCsz3++EJqm
As8GzJmM7Ppw23BT+rB30W3sp2/Z7HxtcnUrnlzbLKAKNhSRzKM4y6QZ1Y5aLQRTnFH0TKCmLqSR
G1u1aoKRfv5hHoTM/HoZcVQnGTSjnLC6/50Y+Yui1P8CEACp+39tiN9w8Q5IuS7UsoSN97PqWof5
lOyU43Qon7tzS/Vmq2K0dpQR/kSVFtlYqioL99aPcWX2OfaAXTAJOE9P8iC9J8LYOAIi/FiEJ/RB
wMbwrxhRWthR0TRTJTHlpSnjByNuXuKSpTnpD3sePjbGtIFtWqvkkzNSCXMEfFJeHjlJNtAKFOQ1
opv/y06n+rnW9M7eZ9qkfJmgi4SeMh7Nk9mrsZdm0eCacQP9uz9IwVmdgm50rapO/0JvLNjfvw4r
e06FgN/FzBv3ewmHdJrebMaIvSgc+9gEw1MeFLOL0uXG07WCh+TKQXXDpDRTlzcfl9CzzduZuu20
6z1SZYTL8133lB0jpI70yJX+Hn4plVset07Vit8nGiR3gCNXJntYBKOA8eJJ7TrDVSmZpW5GRYsU
RWVMH4rYyk2rdKNkttYuJaaBC8lGgUSwLV7fG8fqI5jgsCgY51pUUd/Mw3O0z3bzCzTNnkjUm7eT
um8hMUQT/LgZ+Kwc8KsfoF7/gHTw4ajP+QFJV71FkTs5NWEs7eRATFvlpbZv5PZX7CRfJ4axyAVK
eDSz+mvcOxzEUFdpRqQ/0zg+dwHQlcQvvtS28zmS1dhtBjPcd2qYu+hP1F43heC7dTuHbN/Rn5Wp
/xw5uZe22ne56z7FU7DHgX1HafpZS4IvIxTbrlFihvk5yaVi9uD38TdS8u+tLXt5WryRm+LF6dJz
bhm7TmesKKjUn6qSftZzWTnmcxqB7NYdN+hIx9pE+aRl3Bx11D+L6AGeq/BtN7cbrvDmljBbCJ0E
7LXI1lALXZyhrswA1Fpk7Y3ff5Wj8UUvhrdanG0MjN18N8wI5h1YrmgH8BRef7dILQKzCojvJDtK
Y7CQsXzSg8I+z0ZTZ26qZequyhPpT8sfmMXrGkRiZPBMUF2bbZGkgEya52oum50/pV47prsWgvX7
rubmImJGuABm9ZkpQbzk2owxdn1o+6RnUwJb+vAwOo2rELTAcrKxoLVMkCqECoCFqVpG4hamgrIY
w9LnAgjBz7Txwl/6PvZ6t4j32pNz7J8dczd8yeQtuzcfEBfKsDLTaA5F+RvQtx8Z5aSK0qSwKxQZ
Q0TI3Mbgq+2SR9G6FRMzk7yDmRHJufv7e3NIX42bQNpZO03cRUhQOJFZFgpKnXIeutQ1XGSFXWn8
et/KqiPnJnBS8eaCaev6M6ptWOm1jrSl9jb0XcWzTqg9PulABZPz4LXP7V/DqdqHx/tmbw6PWNWF
VfXaamLESuqkWK1G5a2TyHtp/hCrhFaNtfFcr26jAO8xuKmJycJrS3U1jG2Ukjbmc3WW9Oxjp1bn
2DA2XMpKAGcThNA/ol5Bg2zRjJumNk5z0RRI1Nr+3sj+tIvqIXy5v21ri2FMn/xXocdxwx1R27mT
xXICrlqVeIhqRT7rcpQ8SFOaefdNrS7IhByZai3l8eXYQRhUXRoHmDKMxq2lmShu2DCxdggcisKC
DYNse/lp2snMqkRODdeZGt6lnG5KEf8ONeV9UoSf/sVyLCqAcGbhjZclzS7UW2BkLKcK36fdb58q
/P/LwHJ0Cf2mOBmgxXRT/bFuRlfJog2Hu/LxqfIJMnLyNc6a+PtF/G6i66GrM/ADPXGnUH1bB+1J
TdSNm7lS7GO4GZQbY6yEuUuur0kcr9SCvcA2/APxEACxb9KUeGWbPkUx3KWmvFGfWjaAoOAnc2OC
FMZgEU4u16XHRd7BcOA60vus6M9zYe7U/NNcTK48qIcw/t2U5sbXuuF/FUaZ/pfJSzl5NzrIcAxI
pdmSnAh0dPBGtNNK+Ou1fbi3N9a33NGlqaWvg+S2KwNMdY68U6R6Z2jJQzroj5FWPXR1/zIHW0jC
5VFZmlw4PcILuYwksmLDDFyZyKrsX5RyK9C4iYyXZoQPuTiRdVXlbVSwsumhGwTxrJQeKnSC0Ss2
Ib0AjhYHbvIu+6gSL76iEraQsK9F4Mvkb/kTFodnluO+R0iF1vlOwE9Rvt33iGZkT/o3+1eke/KZ
AY3vg6dgPtynu/ogv3E8wYloKa784u/Tr/ozycTmYNraqb48YML5XezNVFq12otsW0rH06ypp2qy
geeFwK6m4m0Eh5UTjC9zPW041S27i1hpTCwliSrsimwFcPAJmvG9ftqiDlg+D8t9X8S2OhRC/hxi
piFKN/3E3ZzueS113fu0iyc1RKyZMyxMPPSHYQ+NueIWv8XMF2DjnXmKX/7hhVf+sNonlkZlzBDJ
AQXnZeBVh0wpFyE9ACnpk4MjdeY+sVoFKqog3N9/NG5ANa+2ePlEc4rgZNmbciqIcmzR4xh2o5e8
ZPtiJ+3SN43n0Nf3A3cre15xDNRIXqdCqC/eNNtjvUocR3y2vK9/ZkXwtZEgvUdR8LyxsOXbzsIo
xiHcCi5IpW62+HjsHFwL5cQxfIxe5N0wuwIZrntwY8J2en749D+JSawc/kur1qIoTJesivUEqwNV
CSlyk+/olweE7P/H3JVsx41j2V+pk3tmcwTJPl214BCTFArZGu0Nj2xJ4AyQ4Pz1faGsypIYbLGc
q95lHlkCMT+8dwefhjAO8azas+DC5fMn6mfBeLE2vAtH/Yf2Z8G0qNLOSUu0r35Xoruy7LZ23fg1
v3DEFJRus3JXLw4yEobQEUSZ4Kx+36mwYdHsATsEou0JI142fHOiu8RJNyvTKS+M2V5Egk0F+Qz1
FyAlZqeKAsYSylXoGBAooUo8WCXvIMYwSmGE+vgfOBgszSTy7agnYAeCqzU711F0h9aKJtfPnu56
hFOlZz/EKPxBYzzzdMVrDtXe3HUq97KNkgWQPnb3a4iNpe0pC59/fsXsEO9TwJ4TFQMsbTdMOGEK
XyqtwhZs117nh/7BaFaO7zckxHyk3zc5G2lV6+uBwZUChgBIbxGYYhiBfTHtom23h4xnDnuUxsu9
9Kt4PjBwS8B/hT9U2J7WCVZn8j5yE7//ltkhD1RaXiiDXF9jWN0DqxJzz3oE6xeQUKSRvcgbXhV4
2l+SS/dL5Km35MLuvTWI6FKs9uEzZmdJFHEdXgyTXAvJTn+hIcyvwDbGdapemCvB2pkWwKzPxuwI
YbxqgJxGY8OGHMRrrnvsCtJNUNgtd+NjATecUPMtXxqSrJ0eZ4jOeduz44O0MXT0crT9B28e9128
aTxrq0OPzVvXbF4bWGMWmeIt68LoAu2Z2/y6CIstD9U3U5I4XIsXlk7Gd0tpXszPhG3HujxAmhJK
Q8LmXkfIDRRzXt3G/dLlEAcZunrNwuYsczQf0XmEWkP1rbLRrFR2KGmQXEjBjsFPn+IdAsKDNnj1
cU2SZykufr9gjdnhVXeKFr3NY/IKJ0ExhZbu0YtTtY1weOiPBpgoG+3VetUDQOrWL/mzCsW817Nj
q61jIhKGeWWv8a05gadPQzeEaqfhT7lXw24xCdbOypUD25idWw0lUI6T55YJySo5yKDf/QX5ij+6
BsgzEJgAD82xXYRnU51r6Fop0MBUQfZordy3FCOBH/lnE7M1w8Ysq2gqUTXDTZvScKCP8aSuPOZ1
eY58OOelTy/yRECpoTx2VseoOjh38x5ecHWgbUApQ3wZDOB9SQukxFc3zibbFPt8gvkRXNV/WdkA
maoPzc+O9iKuYU7sonm7eYjL0u+6Zi1mOHsioAnQu0CyQi0b6OrZLnBFQ6a8h71eDf8YDUIu0d69
6i4y0MtAa7vQen8NhXC+3WdNzhb+mJl1M3VvTbYgaBCc29E3ukWgEmCvbaLwP1CHPwuNZm3OFj7P
RC9IhTbJMXuaEqRQ8Qj1G0+F/EBYbyN/9T5cG9jZ3ClWEsHDXtoI+iT2Y91zDu02Bnuv6QMsmSv1
LziHyvXyfjJnd7BSOVmOMhJB1SL17MwI4CoY5DApKuy1WZSTNN8ZqLMDFAMSGAK92S1oAQA/sg7R
LHOzXVYlim9Ta4SgU7exaBV+HtmexzjoGGoKEEwEuE36iH58pxd2oulwukRIexlvpXitGtYB2eo+
8v0nGWvROjCuWIIYSw+Ufeoru+nb599wfl5//IY5ccrMDSuPnbdlC7PeVyOQTLSRe8Ue4O5t+f2v
bX8U5aFU6urgPcyrqK1ZMd3NMcZpbwVm/q1E8fLzTs1PUbjzoN6H3Bo0rBZqJ7pWtEkH1KxX5YPm
VX16Z7HxriDZz8/bmW+Gt3ZAMsALCHVFoFk+zh+qTcrE4cnnoc4+3lVGxPZdpGQrh9lib6BaCPEN
KMGcCV2WJq/tzoByBNFKK4Tso3FsTcjrp+6ordwMSx3CU0taxwOZjqrFxw7ZudVw1S0tD04y127f
3UD4d//5mC0UfRywQP7dxuycVN0upk6B2lJ82f00j1nql3s91Hb2lRNtxm/aVt/wg7JfC67nO1vO
lbTvhKoxgoGzzAqHcya3GequHbwVg7autsQqgeAyxT2NjeDzTi5NmWR92SBGAA0+5321kesMpkTb
iwgg1bZKH5yS/IB350rlZ7FT0AcC2gPQIOCpPs6XMwmn0iYXQXt/QVXtYBBIPqqJH4l4ZdqWegRo
B8C+sDxGCUjeRO9SivEwQGtgQr0kFSwP7aS4bhWMo2uIlaFb6hJquqh7gjQHsP5sCSp6VFQsmmAu
qVWv1DYfS1FFMIs2w4SvrcWlTgFKA3wFKGUonc1O+96hXe4MqATWXf5zMqwWyvfuHZGVlF9fD4jp
IDqDSwWOn7ODgvQpryCij1yvKN2gMKYOZJOJXRScrcoTyDl/f4XJhS4RyzBmQu0YKJWPM5W7nJdp
BP5MtxlDI2DbKd6ovRcNWzPoQohCBKPq5ShzUI82uEJXunr2AHlrH2k3ufxRYJtPYEFbMfY42t/y
YOY9ACE9EB1fbOoR9qanBz3ewBR+m/mF4yWZn5xWH7Ny4s7G4N03zM4YJTNTc0rwDTL8I/di2+ys
rXIQp/XbbGm9AqH+Z3dnwx1VMasU2d0uu1WV+trQuGc7eOnofPf5Ijq7qt9GFgi9N+8YE6S9jzOb
wfhnquTM2idlI2sOYCltkjuNIicjy0dN5bUrbS727l2Tsx0iStTHaoImm4mBFW/AUw+2cNql6qhs
r1j9Cl/2Ldo4m7h37c2yAhXoJkZjob10z762224npQjZtb5beycv3HSo/ALqihMNRgjzre+M+pil
GvSQ+Kg0p6Eoi0ujcKNfP8yA3oDOqsTFnSNqpzqdmtqBVpdGDbGLymoKXDNmYRWpza4G4Wklg7Qw
Xa4GF3MYqUtc3JzPZvUg6jQ52mNuPXqOCkZuRYqjltiXTEEE8fmCXDg+YSUGOACg96ifzk813sW9
mSDjj/L5SC5Txew2LcgaO73QkvDzppZOFSkkgAwwXq0gcs1O0KwohxwwcxOq1Ki1XWo7nVwq0Jba
dYf4ij9FMq+wqUs/PlrfkletXWl/qauofGNZA78EM93Z9cfcqrAhKonVOF1PnIQqbKLh7/cXBvR9
K3LRvrtkC3MEiXtCK139yJFbmHgK4Obz50O5tPLfNyK7+q4RgFKaGr5QiBmqL3rEQxDMVlb92mDN
Tt8epjAMEStw5PADoPkVa7611rTSiJzw2UmBqBsPJwCWpdLnbEF05RQV4CZhrOA373ckU05RXedP
CgrrRz5GnW9WeXpZaI0a0rrT/sKCINAyRg0fcAhsuo+jaHec9EwFf7PSi9NkFFv4gCLHtRahLG1o
vBEhqy/psGelCJ4Nsj/AJ1hQlbJDq3d9wJ43lkgfPl8VS3MGmKkL3RgDQdd8gZeOlsNTC8OpVPxG
1BD7yxXupyjVraxxCLYszJz0sgMTHPyjM4ZfU7tlw1pAE/uhH/GmZTgbA1g8qFpA0waSQMmo70eN
0asKUKMb0TRASeCpf5HWQ3zlNLaKSpqK+2dwGZwT1ERoegjrruG5bgbnGiAc/dEZI4V5sdXzUwqp
Ao8xQXYOV/PHxOUQUMWVpoaQkFWGMANr6CsAvU7qsaoqnioz02EnUOR2qLVVe+BZQq+cVNHCoRmU
kGpD9YUUo/MQEWG/OOlgHCsAbmxfSYz82jAdJA26PoOgd5xOw72Tkaz1DDZE12mtl7siN9zH3FIh
gxkNTnQ98m4KFcVNgCfOQeDzMlaaRmimJPkKW7hsY7A8PfScJcdGj5Wvw8DdvZWnjaflrb0FhQIQ
vTbLm2fmlOUtTsmk8Xp1KCMfEpXOtcQePbk5GCOpbiKV36Y9vTPVzj5qYsIlhF5cVkOSXIzUYvhp
NTLcHkNy0Kec75WodV6jikze2I7sR5TH4yFte/UitnHkQ75G9xnB9FmVqiAt45YXZqaKi7gukWgD
exrIFuEiIILZa0iYc2OMfe0XLWdeQ53uEbU9614lfRnCY23yWtZCpAYiiUUVaGWzalW8tPIA9pLM
yDd94NmZ4UB/gCcJnrfG1JqXqa1OL63b5T6lzZrYwVJTcBBB/Q5QH5wSs6amkuTu2KEpk4uL0owv
G9sO9U6/+XzbvtUi58cgsOEgBwEzAC7SLEBrxrHWphwwUZp7bAz5vgjTzcDD+EbGThIjnu+6EJn/
a6zvxmuDKWy2OkwB7rIf7NeDRff9t8yCNyzkJJkqfAueiEeI14Z5/NDSZz50K2fI0qmIHB1eUkAA
o/g8C4QhH6slTL7b4oK1h5jZygWd1H6vZEXsxW7/ujLI8jA/G+R37c0GGWE96YWK9qQCQgPfs5Nz
4KfBI3vljhfe9CWygVgdA4nITVP4letbcUi3a8DVpdSJFGH9s9+zAa5yt9MVQ75XA0gN+sYFtv7w
4EB6qAuTZwoFZFpC597jK3ftUsgA3W5gUnA7nBvTIpPXADuGx38llENtZgfXUFYi//MmoKiHdB28
AZDqOgOjpEmP40yDLps2Qe+1gCqc+ePzWTx/F0N3BLh0wOFljDyHEZAsVXW7QQu68tBmP3EZ+AQp
c9D2vEhfY3GelXLfVE4k+Uja1+HulufDuygr1oYEvLT+DzSICYGvvg2qwTPv9Jdob6PGEl9AcyVp
vTwL7G9r0LTz0wd9lQx6lAKlPeZswWpZHNnliL5GuQcHZYhWP3exsbILl/v4rpXZclQj2+65nDMR
wucnpABSe3q56btjg5NH88nGPeobuSmq5rpMVgjoC29FEKDkSY5slCT/zjqZDFBXYDFCFjw/ktQv
dDV+SAuHHrrKmL4Kvbf3VNPjrTrW+k3hwjXBjyK6lldceJUDOApNNcjugXcP/PXHmS6zLtLM0pbF
R7ozSk9/Kb/lGxdnbn7VTR5RfHpao+UsPIc+NjorwyTc0qaiQ6P2TXfp/tBir/86HuONcQV2TeYD
wbHPw5TeFChg9OF/ABdYWmEgdktmBJiwyH3Pep1nHV5p+IBYvF060bfkmGyx3AMtdE5jYO7WUy1n
JTa5qd43Ouu1qVeiGio0Khdc7PObog2gemGmMKYffKlXSbXMo6e17XR+33xsd3aZV62mDAXMQYF1
YtU2Hmw4gieVAdNRu3qIIyiirmytpdMQj0wTbGYs8TOT5QK0cqWr0eDkRDDm3Olx/8tHOrr0rgXZ
5XfnUx7HKeBWBLgWIUVgIhpUafzt8xN3rRezNWLlQ59XqAQhyU6RDwN0CsSgz5tYnJl33ZitiCIp
iiqXAxWX7dG1xj3ne41ESLjk2S/nVj6O2GwRJFqTFwjCQMw3i7vJVQ+JdlGPwsaiWEOlL/cKxHKk
OoCvm2sAmLE+FjEcNDwWdUeDPGETgpPtBnBsXVkGZ7Cfty0FavG/mpJz+G4dZA3R4UGHpmQ+EZUD
DnBd57N98azdraN+llbEm2wVkO+gp83vJW70tSANxhAvg9NE4+vRppvPV8RaE7NLqRqJMTkxmhAc
Mh1JfZiStbrtYhOYlTcta7yYZytB762oG3okKUuSTLccBYq9k6cIPT/vyUK4h2qVJLraKBkAiDib
m7GmRkSnXh53xkYPO90fn3JANOgh2aIAHxh3PNmtc6fP4CFYE7hTwZomJgrhZzoA2qCzaXQ7pFaG
jazNWT+YLPGHdh4Wl/YW+t3tY7WHGt1We44vrW/ZmuXyYs9xqSN/gwvePqM5uyj42yzi2NaXA8BT
gCbf4f2dHPCyBgBbC0XjQ0B3bzyvjPjSrQaJrH/N7PxhEeWgLRsCM6seuj3lvnqsttJCM7+qr9KL
4aju6KlaiWOW2oQCLGR70FHA1GYLVlcj8NVKpAMAtKXHtm21DS8zM0QZSqyUC5cWLmpDwMOA1Qc2
z2zhovBO6rxE6VV3IbxHhHJy8n6F8/YWR398LLlQpfqzEXP2OGOTwlDWAxsNzE/lhhzBRhuLsH+d
AuEz1KCK6ktm7+QsrhO0F4Ox943PYsJa5PDqSNFDHGfDA/CrOwmjiJ+c3Ofldgyk1sAa+mzptEak
g8Q00hgAc8gJfneE5llupmWFYi8sOB4Llp4mooWGqsAnfliDayzOoHwDQngWPobzmDcqMH2KgpeY
RiuyhSplvIe/mb6yD5aWJB4QYNljK+CCnq0TvUj0LGN4Zw5VNuzdps0Cxsd2Pw1iDXCz2BQKWrA3
Qhr1jA5dsirPJwV5ktpM210+8e5B8Ky8SEqnXMmVLDaFmAaYEwk/mMNAh6SPp1SmSjSVtpAQJd9S
cADD2rbXfI0XW5IkNlmCRRA1W4WQYi6I3lNsaST0Nq2FRJvndjzbNEMFYPXnh9bCkgDIwJIaeogX
cZN/XH6uE7ulWuIxmdLG2hexZYdq4eTh560sxd6aCk1syAfiRQtxrI/NQJ0QCkEEE9X7qm/AlUjc
Ihlt7QoIQaqbtH4RnS+dU9YqkIYcrNl5giQPhhIXAiqD89sWRNZEaSfI9xU06y6VxNUP5gjHQKet
vEEQ4JQZfB68YjQBKATH6WRxoeyYNmQ/9DKJjprKKRC/JnRAoBI0eJndi8diAlesiu3KZ1Q410ba
0lNrZfGtOtXlTof4a6CISgumpCCOxy0d5TRl6qk/DJna+bQzkz1nxui3GOtfZrcjAfKux/NbqCui
ZNAcDDXSvL032owGukOftHq4FoPd+5/PrFwf8/GVxFToiUj76Dlln5nUGacR26IC8OOprhw9iC2t
TKCU6BbbNIOMYWWj3NWQ0j5YZqesIgbO02vQdUcVB9RYPKHPAE7MKrqcDohxpbrvG9Gqvuh8cck2
NPPrLRge28+7vHRHSS1DiIdAnBlDPdugzBaJ1k9vshrKaQpIcqyuhD9hMUv4K01CF/QHpNJus82a
UPniRoIPD5RppXDBmRUmd2D2Zckk3h9u9XkwXJabDLvI2gK07Odf1sPupShfev/82ebsmZRwO1F4
gv6Oh/xWD6ed6wMAv5dEpH63dh+utjY7kTQ9UWONojVYIcfXUtseQCG/7IMRLm18XaB24bh91zuA
vD4eTcPgmigiob0MDobNXvlphuxNF9feWpBkZxtQCoLPV5AuR2y+axCtSXFALKSz/AdQk8wYOkRt
TWB7ya744l7xMLvVflhXqIYc0h8Q5IUotgj4Tmo1IO4IdBv6J76gYHfk21WTuqVr4P0HzaY4iqMJ
pUJ8kHSc0CFRkTkhsGf1hbGVHrLNnWsG01rB+oykhKcCVMChpoDwlUi13o9DX+Z6zPocAXPdjMYP
lk70mJGEbtMyy64EdDXhNVXaMZIzuuY8Vo1Sn3re8heCgtpGAKRw7wDysfIElHmF2dwYpmT1o3ok
CyOzvIMNCT2SZ4A7jIS0vl4od3BGlic9HoNqsu8aYw22v9SiheIpLEWQEztT6VIVasdKjhb5yOhR
K/n4xY7ywq/1hoUZYgTcIaWZ3X++CBemHIhQmefFSXIucmVEJO1iC1jszMSge8wwbtrYUcuVAGNp
kj+0M3uhqD3IWKqKdrpNAj7JRr6JRADurQmC4xu1ei2/uRBSY2Ohtg+jO4jkGLLn70JqwaBIOHTS
rSyvrI3SATiW5BeM1/ddbZore3nh+IDSoi4dHuHpg5T9x8ZShLpKMjrQB3btJ1uJKk/U4jZtk3Rl
IJfmy5EwQyjkoMhhz9alolRFSmPY99SpiL3IHq6c3Np9viaWOgOECpS68YaHD6q8a9+NnJp0bWRZ
0q8vs54KkZwUkz/F9Zof/dJDC7luHHxQ6rXP9aStntmZ03Ng8qEmeNUrSJDCA1h1vg5tTQ9mCj/g
oTJb1KcS4kCzZlD9mhG2I6VLO0jKjNphmExzO4kmWnlQL21GPEGBygZyQip8fBwClkUZ6uFQkUjB
LfZLG0WeSSSPliDHNK5gM59pa6WQhVGXEn0GPH/A2j6DNOSxqWjcSiCzEDXDXgwNoHg1FO69UeGr
xLLFxpAsQPcgsnRW3OkaLW5ygVRqah9rNfeF/b231t5lS5c4EkD/bmW26XtDA5gsRyvxnu+NYNrB
aMSXpmIxiCxr1+lqa7Nlqyd5TmyO1sxts++PzO+8/N4BXUx6mii3n++RpQPtQ99mx0saNY7Tl2ht
2NCv1VfJ0HZuCZCGZKO9rIdfaxMmf/5uT8ZTNTBDutLR5rKs+bfRLjzDLlfy00tpO1TBcAnjKgWF
bI6IUuAaMWlSe+sCWAD7pANI4wk41Upzmm6HgNabQgh/3E6hhFP++iEKACCyhsB0QZHLnZ1t0UDK
dJR6m3n7OMbPEQeDxPoLKjQfGplFG0zNIer4JuopyEXeiO8kTraJaNbe7wsH9Yd2ZicIDB1aPDbR
mS66i0E9lrnQz5fg4pL4c7hQ+v64JDqz0aJaRQsM2nVtKYI2faTquNLK8kJ/18zsnUNgr0uFVA9t
/eSqBjYk3pjX0eaP8iCNvbXHzVq3ZocGxN5SK67QXsFwwWl4KLegjae/HvdgeqR+jhQfP5Mer3kZ
F4kF/UcUfzfuaEL3iNlr4NaFWwSKQGgHOtngEM1FJKqyBXdyqtHIeAVI+07rR6yDwosVSEk4yebz
9bA4UzDZwIUFAWOA92cHYM66uh5EKtn+xVdjhyu0CaJb49iFZNMdQZmtV27JpakCgBIUUGLBVmee
NhJmodTwNwTcKjW3JXEfYsp2EA19+Lxji81IIQXEc8hOveGX3p99rqhrsHIgeuOIgxZZ17xv7rrI
/AM+8l8/h/+mL+z6j+he/ON/8P8/kWqsE8RJs//9x4m/lDdN/fLSHJ/4/8hf/fOffvzFfxyTnzUT
7LWZ/6sPv4S//8/2g6fm6cP/hNAWasYv7Us9fn0Rbd68NYAvlf/yP/3h317e/srtyF/+/ttP1paN
/Gs0YeVv//zR/vnvv0kJmP96/+f/+bOrpwK/FjZxwnjyNP+NlyfR/P030/4dOVysKQBeMAXALv/2
t/5F/sTQf3dl0hUpAemA4Br4ScnqJv77b5r5O2zpIN+KZDbwswCX/vY3wVr5I+N3ZGqR6IagNzDm
SBUZv/3ryz5M0b+n7G9lW1yzpGwEftuUx8H7hxq2FhKJkt4JKOi5WmSaj4PaELgDE/Dz3VuXjlUz
ek2vC3ITc7WPLuEzb4+1r1fDlChQVYEidRW6JdOabwY1sixQ89rJwjSnkQuVS91RyrtBURHM99Mw
1DuakIp4rVGq6smETlrtG0oxaFc1N3K4pmYRaiB9p1fpEbaiwrrqlEqnD2PbmorhFwUlzhTQjucJ
4rlWF7rm9ToUBJItmNXRUF9YFdRfzZNdauYAfE9qcU9l4PyrN6nbGfGti+dtOh3KDMqicAi2rCxF
0FsC1au2XzpbxHnkV50Sp+6VVZhKzW+MDEAD8Vzi5MuNzONN6wgeOixqyXjVJiUUdA5RlLPxEZA3
W2wKUhn8oq8rwXZ23NcUEl9557ZeA9ZRc+2ChwJgJalZvVMgtlhcx4rO8IeLJu8IchFDmqbQXqQT
s4IJkgzNd3dwQab3WV+5yc6NAaqDfhR093d1aunQoqT1YG9g1BYpNRQVGML5HAkCGnJd5IEVpYmy
VeEV110YWhcXm9HU+bPdAba7Uykt1QeoAqPezOFcLh56ztPJ1+H5456IOqTDPkbdwTkUulXnN107
2TGgsIkR4yp2Sj3sRdsDT9r3QiUQ1NKUmFGpxtsD5OImrnIdW0Y3sFCpU7XY6jE4QHiz2jnfZLnC
2n2UMhUhno5K9Pem1ybCfacBE6v2q4nE5KtBYBwcZqwhfNwqzRCNV1NZVUhK9kAyEAzR0PXGEZYa
WXcVVwWN/NIaY4m/saAI76s1cJ9XCE242GWo62UvulI4g29MbhedFJJG10XasO/2RMwXMhQdu9Qh
BotO1mbnfjM7DIQv3Al/sDXjrvTMCv4XnsFjxndtRuPKzzKHlMGQW+W3agAC3W8UOqIYi5RmHg5u
XCA0Sjtie6ZVaXAAtvKC72MzMUkZaimt27CNe2iK+yTVRr63alvQMCoVTHnNiRVdtgzA6ovEFWZ3
o05FFLMHxnKIN2CvZ4BSZzx9UTgQgfsBM156UA+f8h2PhlzfWE46pc9O03XOdavV0Hdv6kaJPI6H
kR6yJKUJHr1VRV8h0CSc7aTznmzGkUZm6lMOQ6ATQqM+KbwkSibu01oDPm8iwm2Y33RjNXw3aN+z
DLh7wOa3al6YdpAYBlfvs64cX7DtHeAXHC0RQYoK+tCBp67AfM9KadF7TjomAkzaLol1FSLag9sH
ZgT0dOL1rlPA0zCpo3JXj1bCbmW5lgdF3+hiy7FGEQjEhY2kh+EUBMJ2dsanoM9GUoPSB7WBoNLL
OBuBPDBZFyoVefMzamtxFHiX8y0wGKgSJjhvHN8FlxK/EFEKnC4gLPQpyYEYBNsxqhs8R4jbfXEI
09PEL2mnaUCZaDbdNqgRs+/oVkOeSNuL4pAKNY2Bgm/LOg4L0xxGwMkJmdCxyCI/88w+2iozop+u
wQfNpwlXug3LGEk3ogMMCOs/djZp3kJgLI1bjCyw6QPiEIbqiW91bpyFVsqd3rOnceou4zjWtSvU
SkxyPTWKXR3tMWdwXNBFfdcVRGs2kzAnbVPidR75jloNYpPQJDNCx6H65MnnEPdEMUaopmhJk/sT
dMzvkyHWa78vnQk+JN2I1VWJEk7KMc3V2w5PDytoWyQUt6Nr1vxo5WaTnXitA+0+jNlU+Y0DHXa/
HCt33OpEFPZG2C16rFWd6jllC3etrNan4nZU6ppuClbn6sltIK9x4l3WAZE+1aI71ONEo6+TiHsn
bDpXi/bmwEbzEk8ft79EuoHR+57DAMpX0riMtnrBlWccaZAHQHw4ZF6W2hIQ0oN7AN4jOAJ5kKXK
azkBZP5oUc7HHWyqqBUCu62rARBEw7BLW5R5tmKI4jyBzEEFyoNAHqe0vQLlbKhNsWqC7WeTdfXB
UmOjuYBN7ZhcNE36OIwqdIEKvT6SFjfftgDQPv2ZQf0L9AB3AucspW3GPaPKsnQ7Wh1q09JE3s07
TzS2m20ZwM3pjSIYwHWXthmR4TovcyfaqV0FdXC/7HjrstvCbPvoOwpEDrKNhCnYtZ5t0rQ8Ttwt
IMVOSpTMYq7Ru56UZe1hn6ZPej7gP3HpYI94gJskbtCUQoADWgi3BVZdy8ovUKLW4pA2NWs3KeP0
SZ10Uni2IRJzzwzeDxtnMPrrt1jpl6LG/zMW/BA/fhpb/j+MGiUK9f+OGrdPPz4GmfKf/xEyIvqz
pGAxSE3QMwC2/l8Ro/M7YjUXvEJIGUuvvH8HjPrvsIHGkx8OCDaS0fCQ+DNgVIzfIXIO6LiD+B8m
JvCK/pWIUVZ1PoSMMKyRTHeJlQFSBpXoM57SCLCkk2Xgupbqc6QOU7WlMSIMP5rModzWmssedGqX
jTfVCXmhEcBFHigqCnZzbTA7gORh1x/a3tIuTFplpxaElwc77WxYCMDYPdtCb9EdrlQ4t546IWKB
EIm03ZHGIjsxS1XKXSRURwR1Wzilb0HfGdLBNntwrWgsfJdQKztMdodf1LKxqvFys5rTZGnsIVcq
a18pLqlB6ums1wQxre0bgBUio1ZHWbcBWceu4VapaM8jkTrBRYNWSa4499RmQ6AAdYYL30jpVWoB
fL2NUhshDBVMtF9NDrn0TQv820OdxUPAWNFc5p2ZvhQ8KgID/PnhigtUDA4xguOruicQge+bTge3
rG3x3ww39ksFrtUdreNO82FDlBWgiGfoTFMO1m1kguTh1YY9PaRCrx8p4vcdXsnGnquW9epmXDw2
sT7cJyJlz0KtHeIZTUGeXLMllV9BIPRZ7Sy13iqI/ZEiANAFIYrWObwKFLs09jkO3j3OAqFB/bIZ
voyFToVHGpaXW2SYKpThMaxXRTn1sIfvR/0EFUINQrpO3f7MO4c9lHoUQTKudNMNoEhjDeRknX9V
S7A4gkY4BvWYrSIAthW7fyr6AtWqsUCNKhxZT69I05bUaynLbinBHFn60OL6ADfuQlfsIve4ybGi
artlD309Rt9TQy2+dQrcNngku5TkrbrTkQa+70WDlVWrwwmG83UT6CxXr9LYNH5adolGamAVnwmP
UHpHFDv5AN1gAadGm4ENpVYI5hilIA1bKONNUzUWAR5axmPdt8VRdzr8Be5YQAd2eGPrG8Xm9k8r
cacHHXTfqwnCBveqm9pXI48wUeAyxmFD837fimKoIL2UJ6B7qVP0YigZIV9Narh3hSrsu0gfuLrB
swxWHuUIoVUPaiOAHdg0Vog/8SSColdux0/WlCDKmDJdCwpFt145Mfh1RJOh9rrRAGLCjgnCMEVr
sWhzheTH3sTzFwSvKq49UTJ235jws065aHZlnhcH8MuVgNhpsi9TAWWYoaxAo2vaAoS+xkLkOk34
4zHtxaUKa4ZTjn1975YuvwYTGcWIKM/Fa49EyuXotFh7ahWV360Uu1OpLfqT1V30AvahsU+kvupO
RYj6WDft2PsVGKN3CFux0i3VwGNOH5H88Z2scq/tpGf3WZuKyie2GLd2wRF1FG0KBUahcvEa5fiW
GniDJxcHEvUc2rvMK9RMu2RwOnodGgdHg0AS+CUrEUY2Y07gW5AIem2xDOxCiilKSKo+oJI3nAx9
eHRFj12UFfiGFJTxPR489Iq7GeJ9085GaEqJWEUMUo7yizOqpxd41olLt22mLVIxeKkOlhE7Xpma
aroHG4I98MRm+75t3HuDKxkL1Iaio4UFLiu4iAJfn2T9XoPgzEYdDOUBuQME9nhLaM+axZuTU2FN
lWktnHAwavUBWSwzwfOj109mQYBEE6P9s2sQMBppXHDA3zLxyqYstRDoFXm30XNLeYAVkHsNE5WO
+FgN/FGLeg0Gy5RgmRt60ZxKWKJeg/ZBL/rBRLQ94i23IxOGuKjG7n/ZO4/lurEtTb9KR096hAx4
M4U7lhSdRCUnCFl47/Fc9Qb9Yv2BUlWSEEsn895RRfQwjbTO3thm7bV+kxzx9i1yL05y6axLpfjZ
QkXp1iyz+oifqvAYVAvbNJgMUD9dlDPbrNPOLuJU5KTsQTvbRhmL+wlKe0vKJY21I4Qti92oCjzd
DKM1Fy8amhArE7UPgDqp83Iz6dayp1dpflDqCYGQNF8XMXq9MzeELAmFq5aZBH9JaFm9qAo8GnEA
W1LVl7F3sk6Ar7qos+ZNgjG/S5a+/6oiu/R9zmujcrSkCfcipoMfukVvvhdqInwDMd8EqydfUxw5
0JcZ7YCxLu2aCW3dEDfqxiGD1B6ktMxipzH0fPJXq4rv2RSxlKQgOjSKNjao+cQdhb65ZmCTMbTH
VJ94W/Yl5jlmH2nXVZwoJ6EUA7dT6hnv27w+NEI1HuWm5g2XWvWMiO6cW98XpcfyN89heyi1ctYz
ksw26fSjWqUZz4UGHTmh22VJbyciCV/VVe9xX07pUlXjSa3D4grtfd21MLq9WpSh24dwhf3AkmO3
71IAvkvU+mY1DIqtqemY2kUup6cpGDC7AMNkx8uS+dMy69d9PYouD7/iUCiUUczcAt/QtuGwvjyj
z3EsBaDUeHDKRS14WBtkp3xJRSeYyhbd4dmavTCycq9Xeu16TLXSWWZNf0oCdfmYdXPiwS83oSfr
vFOUCcZWUE4YTnbjadSU2KOuXt43bSfdtJoRrgRm9ayEcX2XxP18AP8yeGKgNvuxJSbwFLxsUmGQ
S4dcHoZ6GMfepAaFO4ojhiyzKUtOGefyUVeSwM+EYDhyJolu3Y3tQwOb+WQoYbSDzZw6Ql1qx8ZQ
04NkLuKn3BIFvzSF0U2gmC3Dp8pQXUUf0qvOSIpzGBjlu0Gq0YTTmtG1miLbLUsgeKmOGxRZQ7QL
C1Xz+yR+rEyj2YlChjpSEmrXjQZBGk0bNG5HpbrD4Ii93eWj01KAcuvQlGxdnCVXyGEW6xZ8ZOD3
kR9jrHCQu3H0+yLQd6LVYOPQWUBitJayUDk/IVbU+k0coUMjqCasxS4xcHNvRKBQesxzoYS4NSN5
5OkTB2rAWXylV0rvWvNY7ybKER/aIgzele0gOGUXx3/2orYy7PjlSYPfTJvW+e2Sq+E7QLKLS4Ui
3HekLO/7KKk/xbWlZ7ZZB4iHN23dOXVoyLDxpPwgpmHu1FmgO3qh6McI0S1O2SagAVDouGUyvCZq
q5uyKJ8qvHC9eBSHTxTMQptHTO7xGkcIYDGlXayI0ZG8bz4X8ZqXJEN9nqMl+6TArz9EI/JJeS0M
3miRIiRLDSMwXzqngzB+WhaTElmQBHdlWogHXk9wTTVr9MIZWDXnoO7M+tLtqqKKPd0gCwgEqXba
3kSEL5LVd3LYKIMz5Wq2DyqxO8QhRDkVqponNhDIG5AID0bTLye1VyrPmHsgQkKl7PVZRDdf5DP6
C82c1snTDqYp1ub3uagk94s0i1dhmSmuFhnKrS4G+V4Wmvyoz6VyWro23yeqVHGiAm2IEKWu7Y60
8t7o6Y5rVYwzhVwb2UEMhOKTqkb6FWXDfh9YrfZxEi3pE1IbqmAvXBitzas47bhutbD0sjxa626R
dS7ZNidxwNAgyNPoz24ehackaaeEtbwM75NwSQHD0Ex5R9Vz8WYB0CyPXzpSZRZ2361qLj5GTRd4
utbycwpJryAKtsa+agSyE4I2/hJMBYzC2LSz2IDnYJrdaVGNzuMI1R+jWWj3eZKX5yKQB0eb6sgb
6hHBvBWC20TyspvDsPJR2kcmRK3iG6sKpEcjKGijI87qar0mnKJWTa57+ltPimZkxypP4huSnMrP
cKHYyyXGQ/RQ0ZCxDT2b/brSsuMspubNmKviJ7Ka7ttoaKZXTkXiTJqB4sWUZW5Rj5Ydm0Vztirt
z1YvW9vIW9EWSJH8cjbHD0FVWr5a5s11uYz304TiH9/SD9BYPPHRyytZbCy3sdpvUc6OkGZ9vMqn
6Us+9LLotfUYnlU4MPdhGk8HowutB32URhgpjPwxIrflgmjwYUvjvCJBSse90jfjrTFL0te0R6xB
U/oMGWkulBb/xxx+6qLhJxaLYXKeWbelTUOhKHNb0vK+id1CwxPeMzSA6ZIdst9ui4zE6Vaq1Ww4
tVJdp8phdbu6LbpKvU/0ejxzuJgO6lgTuHwralsPA5YoQXMiM4/Nkgv7phmUnTrxg+xwqXrAAEs2
lG5tBFXCnjQhQ1Fh4VgoK0V3Mt4yh7TIWyTy+1LbFb1SP6oRD2N/ala71loRotk1xEzRT62ud1dL
q2eVQ94TPlAOFw+lyuFp9dP40CRSd13MfXibV5kCSwJFi3M+58JVTRJEu2IKi0NVBGbsdYBVOtsI
gl6w06yk9B1NangjWbHqFaVR165h1PmR+s7yLpnVxJPNKkrtduACdREkFKDjSok6nhaa2l9kWVof
tVKxC4eicnBkolIVjEo93JS1ohXunMHht4eR4qag6J2nrGVO3RzLxq2iCmMLNeyvaPNXTmOO1q0p
9JNbxIUuO4IQ3HW5oNAnEXLhEUiX8KHD2+ncUiF6ZwyyslcMjl0nhQF+bGsrP3Th+BSoWXRWxKp4
H+Bl+LlXxmWfGOk3eH2K24bmuZLicL0iv5KOTYdAVk5Wan7QWozIq/lgZczDIKizk+mxeVUxCN40
HOBK0jzRTY32EUeCk4iAcBRLz09aka0NJu1LnMz3vWq957IGFxGU10ZDCbiuR7R3JBfBhl3Y5veB
jjudsgh3ZtDKXh5Q8jZ0kLq6IVAgFRuE9hCok4XF4VXxPgkm1VHWBLORJ09VotS1osV0kgzFvG5S
j3km7IUITwDsKY+JMlyVSXnTRspjaDS4I4/hkUvX2htDMDpx3DthUDe+1Sy8utKy5yHE3yhLVr2j
N7f4Y57/2Q49ZiLxF0MeKluWK4qHywqGT5o/J3X+2ved0w/DDWjyr0HY3QNu/1JHqQWsuw2dGZeC
ZX4qtOwaGDsa6v1tLHFgTy2+cFaOykpaAWb6c0qDW7yXr8Q+ucvMELGdYg8A1imNL2Y5AuxNj6am
nftiOeBqcd9V2q2EWx9Q8fsK2atZidwsq74XaaM5UsKV22aZst5zeGgYlosDtbAbAu0UWTLuGkN2
GCNsDQvrSWrC2ZuV4iTqw2xzcJ6ydrrTqLTjbi3aUVA9lMLwvp5HkWJ8fTconU8p5wplQv7C2rXM
0Z/a7qY2jSveRe/VUHNnwbptm9gZpXe8eWxzQQMy0BY7y9TSmZuGjkvkDlFsW9GgOsIc+0WT+XiG
jRhr0vsfZPLwpDMdKapuhrx6DEIytWj5Vsxi5CyB/k4OhP0Uad68iLdJPHGXaJ9rJfkUhuFDHvVX
Q5Ts9KHe1epDHpJtUeSl9XgnFIri9OY0+EYq3afzfQTZpmrvinze9S0KHnXxNcvEu6JZVQvopmhp
7ajC+h6M7LbnFRJpTiD3H4V++Czokh+kn5UkeSrLdPGStDzIafXdlMrGVgrVjwSgevXwfky+NGPz
heKQHZRPMp3E7kZEEgX/GGfp4secjlOcyG6OiWCKK9KADL9OG7WwQNYaPJOpYtiJiTWdpkVnE/yA
tKShqydftZisDjNHVphuNaRwI6YC7bt2+hRK1t5KJ9+C/ClwkyrFYDdz5RXiyGtSv6fQez9iCNeX
xUfe2k6qPSrytQWUpDVSX28XWqbcdkITHJau8E1eKOb4mMlpYmdFsQew7HddcFan/L3Sxa7ate40
r8tVRxIn36Vd76K0REog+LkW+ZF5b43Q4Zpkb+mzk1a3SyfDUB2Ofdg5JL97fKVp6iy+1gIVk6QE
DVHxvaUj0AXNbVCNfRApO1yNXaO+Bk+yLxd+FBpGrWDLc/Skp5YjCiZ9ytQT+7hySPsdsoxbZTD2
AF2+JrweQ0lx9cK8skT0dyQJh813XKd+usjv84JLqIYEalhO0MxX4dLcTQkMjWr8POnp56gbHsEr
nEJd8Bat+DinsWstMv0WLEHN74JQ7mNjdotkx19aqYgbxSDxu+FLF5iuPFJLCCJPmp6WRaUJoD4O
GszLMg+vtRBACmUFPjUWmWydmOGGRb+bs6ahDJnnbp31MTLTFm4y7qJiF+g2YWJ9KlEhOnKp5ugh
ZsGTuFDCiNXM6a3HMYJG2iA4pAvUXcQAHchaF09Ct9y3qVW6yPLMJNX5Y5eWIedqru67arkPKCm1
NpKdaXYdmgGPtyXCdjSftfZpGDlUlgGQTt4BLtVj+dhG5scGaVYnAMxli7TywZ8qmUcrkAWVp603
Jzq7XipLR4nl7hCGeYyy9LBu+qwf6RXW5sjtH0hJOu0CNdA+xVUii74KIOOaotySg0eYcJyPC/B9
D7owhSPH/8z96rVCHSxem0r1yE5TTNT/i06KP+lDmY1OQv8JR+o5Kh/ispSbb0HPFZMVVI5nV5Kp
8dyLGm84wLNII83gw4rgY0oGGzxUi8h9NQ/DB4Gj4rpW0sKyi9WMfHFIJYbhvZbGaPeO2WScs7Fi
LQbYkdpiJif1BRjWa2gPpXgMeFcVL2V1/V3ViV9j2PpEE6slDmzBoLxuj5kmXQM0NneDmV9kBK8Y
7L+QIr/GWhF7L2BEA2WIVtAtW9Qy8FDKEHqSNsmujs/PrrOC+J8pSP+Mh6QzYjtrt2HLs0QtZEkQ
IbSHAhB/rd3nYNoaVfnRf3oFWnqJgFnxir+MCuITHuJApGD9vB4V7GvVECoLva3yji1BtRUoDLUJ
0BJ2Rx1GKtsLEV8jG5/HhRIl7lL46aDztiXTJehup7S+4dL1n7Wka+1czvMLqMO3YoA9RzeQGYKC
sRkVE5pXE0cPKsi83KGLqb1w/6Jd9RNKdGHi5JchNsvBjMx4nizRDuKIkt6461arJeFzh8BYRbuy
ev/7cBvO1vO0gQBc9fewk/9V7UQmk9dH2sjiUfPn0dMkp2jQlFV2NNlt/dTJ/gyLrHUuOZdIrxFS
z4GpKSK5/GzT8AsRXpPqOUkjIAUInhj7Zb9Uj403us2xckZ7TD9eGOeKB90syFfh1m34Yps11pQO
dbiGk3wyVF/tr2Jn8JJTdLTiC3jlN8cGfQCIucpK/8V3XqWmUxUhynI7AObn1aKr2PduZUtXlyHY
G3zlj4m04DJz54nIGmzxlYJQ0KGid5WcRdT1E2GHJYTbHelx2Ua8T/2LFMN1lW+nkpoiPVEYOiI8
4NdTaepdPQ0LATNnlTCQaQfuV+ci7Fdmt393mZK2EU34OcQXETebIpoDI6RfYwsnGkqdFzlG5eLr
YVt8wZJH9AcIePexf4mrI18a6XpPvFg0ahgqkzqtcTs3zO9VRwfCBKT+5hAlzvnRtJNTiv3FeFsp
D2AC7v+GGtFrDuuvQ9+s22AIqFjzE8Td4i/ucOMv9/qOqh+y8sgv8XQ+ALS4H27/xnd+4wyHEv3X
d14b1i9GT1tRGIKfoVVnvOtA3rmiQ/ZVOvFR8/je7Fe7M7BSuQS33vBYfx33+uNeBJf0n8F5IXiz
RzMnSs+qo53j42CLB5oEINqoPWPkEHgXjopLX32Dkdc7o0d3C4uYyNFs/SjC2XieahJGHxme3T+k
iPwy1q2uRJxLzVCxodbjIsU0NXLFw2oD9q8fF3991S2D3xgpkoLF+8/RWafEzR2WMy1F3+S4uDi6
NxIc1dJRDMCOEXiFuEHqW2ET9+N6PmGX7k6uZe0zN/TWEUqOGnvyg3JcB3pJ2ertc/FF3A1iv43q
KiT1tvsja9bhVZX5phs8c1ZFGa7PxYG+caMh/aOpCKHCUlGUzX5ZQm3S83LdquoxZVonFuo6yOXq
8tH01uheBdvsj15OsNAE//pzka6fMV3PAySpdtPuX1ukJFcazRp11f0zN2dhIjXqIk7Ts5rSeL0u
mh+LtMHRQvD/0RaEOq5L0PzQwERfdM1SN1swlQuxhUf7w1/Mj/yks82z9mQym5k37pfiQsD1x/91
pf2IxxrFn4q87ldKRG8Criwsw8bf1xaSd8mU203++feDep08/hJjq3Gfrxq1ZkYMaW7uM4E3XRCM
xvvfB3ljIPCNoeuiA7k6S26WhR5RoCXLs5NhdpaIF6NZ2QI9yt9Hebbr28wXihWg6FceBZD57ffR
8Kxe1AARo85drRjCdBXsFCj/QQMvHbqJpaPdKbd0zRCmmR9bfBRz0c65ISkK780ckVzob7nkGJcI
i69hVM/TDFoZ5T5I26C3tktH682C1jVtEeAU+pLehFSgbLnGCl0sMrCHsfrh95PxxnfVDfBfiK9A
TYO78/qmKkU5U3vVpMR6EsTwnAvzBd2hSwE2+ZaewuocOoosKfWZ3ihRXOna/e8HsUmxfkzby1Fs
UqwgLQNrSkx7dmADaR+r848cY9jrZ/UeQnR5098X7y+emW+s11eTt/73F9e8jugJ0jumnX6oP2Bw
hxHnsK9RFxjI7Izv3W2B09fzSP8/MvJ/Axt88dFXvs4rQo3zf/+j+/a/vv6fw1DGzbeXtJrnP/gD
JCnIf1DwYFdzAosSZbdVSesHsUYw/0ARQgWzYCkatRHR5Kb/T2aN+AcKUVSmUSA3ZKxs+VM/mTXq
H+Ajn48kTnVtPTD+EU7y9WZAVoR0CS6yiYQa0gz8wtcLJrQarOFoT1BKXxzWizucej+7VjhoVimI
8GIewdheXQ5rSK49cJmUF1Tka7aVhWbQpjwuZwdXiG58qEdVXdiMupCYD72OUYwPoHjSTzrGalZk
y7A/mivBVBPryxLBQJEPmQx4InarvNV6jCmtzIwa2RNDmS6uLYMUkKuz3A/CF1psSg+apVzCUxCD
gjmMQiE1V2FnWpULsnqWn7qmbmaIDmu/OapqzGuB6QEctbORdrgNCX05SDCgdBfLcmXwhxEGCZiB
CDXnUBxmL2q44ddGDx0zUFdgHemf1vWDGChTcNcmbZN6+pA0a38bZEPjJLJe93bLFAXg/bLS9NB9
CtHWTCNdG87jkmiImutmKrriKOj1zooVlVM/B7SETWdaRaBjzMr83jfRDJ27CACrnaTSyE0fjUZq
sIrejsYxk4DeH9pBBJIQNmFWXhf5Uk5OLxWL8rEYozZ7VNt2Fgf0DDqd2meIRIfDJWjV3yZrQOyK
TlhnAmgNutYL+zgEXQXXSt83RZ2Vx9xqEuFoxuZs7qpOLJdrQU3mB7VokypzxkFYyqfIihod7aNk
avdFqetojtCVmOxQqs3Q5wUeLXdWJTaCU6iDUmEEMTANNnVMiBaZmrVokcQC0IG2X6zYMSPZaHfx
Ik9YLYclgJxD32em4EW9GSdnQYgj7c9wCh4p0eqj3QsqYH5wY9kVdhmd4IeGoKDrVkGW961i6goi
Ae3BpzMqUy8OKsU6qJhABft8aGQdSgD4HpuVI3wEqdZc9/0UfR9BV4puZgmmdCs3VcXLYrSCe944
suZlg8QLvisWqd314tAO9liNuuEO6MDSIY1hJoB3CrSP4SwHYHCkpuLhLfczhbyqpHORFkr/YKlx
Bt13bhd1r1mljtNZ3JvU/FKdxoZUjXG110DRafuqhkxJAb0JJhAaZja5QznlxruinnHCSocBJZmy
1vPmVBhDr7qJLHfWzmotU7DzSC01v6CBVl1lVgGQqtUTAV3cUB6+0boq6ayE1mRQKO/0xl5yU0oc
c2wyGqW1kVpHM6TivF/yonQbZLQCtKvzqKDTPDVIyUeK1NJ5WMT8RBWxyfZNNfbxvgBnEbmBJGb9
dYRjt3i7mGE17GXUNbJzbuq56qZy0JIRj9KEGRTNRWDP5RQud7qU5AhF82MtLzA5DXBFMMzCM6sm
wfk4M8cAeBs8JbuQxsk6Smnfw6jIxETfkd8ULGM+RgaTJ6ZdNUAv1Rxdq5OGDTzU2nHO5q64shot
yin9ZDmV1qbXaq9hf9zF4RJYH/PGGPwiSLIPtTrptUdLP6YZmetG5+NzNMTXklkugZNZpfilyi0o
LFVQgUFRIxBzdgdr70Oj5YFo070COWiCFahdNTHx3cFueGiTcwTSRLytENcbHLGbLPkKlFF3iqEy
B0BxNQHpeGAxVu42FVCEfZ5Ko+LJ9IvFQ73QG9iDW8QujywH7CS9IinaAzQC4MBLIJX8VosaA0x0
C8pdoV0g26qZ58GNIEOw2aHJHxkugFktXdvHg+S2Q80BJE1L81hZgTDsOnbLn6ox5TiMlyoNuBJY
jGgn0lQAEVIF4SgKVP3pVkbhZLek2GA8Ftmc3Qrgluab+bQsLltZkABhYejhRbPRKe9nLRM6L0nq
TPINvJib+7jtBcvO2kzSbdlsE/3QqmI82hJAb2nXZXIWn5WUZp7bBUoV38vTImRH1Wy6boQ6FCSt
nwKPoOFIF/ZTSSH7fS9yTDtWJKcYadTg22wJ8C+OCH0XUpigZBy8W+QgbV0Tg8/Oz8Kw/zoKWbD4
Yhl1BkuL+3w3qzwGDmFBq94xC7FhPHFjwNqqE5WvKuUVDMgMgIytpEnZ7wEFz+81XDKSD7Avw+t8
le+/aUaURJ3Zwl3iNELvQ3IBncNrVQTlceZIGx6qSe4LuxRNDqvQMpbW5WTueYcAUwlpNZWd/AW6
jVjszF4QjSu9tuTmZJlcn65U8wHcCfwR6PoUjao/x0WSezcsat4MbRvMgx+0jSL5WpBjUiTADMw8
gMZ64gA3l490tJLc1miA0RWz2iE99Cm0p6Pcd91Vyu2gfDKyUHsvYJcBfr6ypsxljvsUjhTXjGOM
Q9QcYGk336JOLZlShKwLr50TZQSnlAbKfuLs5SbIhRDMjVgnAHZZ1YonIMZX78pahDKWV+IkXiHj
LiDgrYdJYstYasZnq46nzq7KFepmSSFQgn+e3P5PI/Q8Gxz994yeE/CCVyTw5///R7aqSn8APYfT
A2ZaUbGKJBv8yQKHnoPS4NqkoRqDmiivsp+5qvaHyMJZDTMNHsqopfCe+pmrCipprLQKMqIzIiri
Wrn/BzRw8uEXVQWEHVfrPDJAfJRgCaHp8DpXFQvQJgH8M3tCM0QaFmDkEaC56Kqlv/8ilb/58fR+
2TZ6/Y76GQpa0yrUyujEzTtKTkQjaQcAdXqv7ycosBkAtCq9pE9xKcw64hfPNbhFypiDWrdVEQE8
AKpz2e5q0/R/P5qN4Muvw9lk+YEqjxPseDzCnqAG0bQZ3MWtblqcp7t97dZn82OA+YuGRNf4+R8+
Sn+NvimihL0JXnuN3rnxNTAwjIOjyMbO0QHI64kn+YRw44WSyrZn9GOxvPiC6yvkxdRqSbKo7URQ
MlrqlQUNjm6vuiURi115QSLj9ZPm5wipEbEPDP5p2+COuLaBxeEzraVm7c+FHl4PbantBak1D0sq
TbAS5A/jGEwuytHZhehvrSIUQegsWKuDx5bpZgmpCdWnSGyrVbjVUyTtq0MlFBem9PVT8XmQiDyw
/XmqIngibxYr7D1S3gB0D4lB70xZdKM345+/X6lvfbZXQTYrNTNhe9cyQVpvhASKPCOEAFf6vgpQ
/o1V8saHexVuszRl9FNhMxFu+jK54anOAFvY8Sl9MjwIp7PNTew3nySPZWoL7sWdwdG4PdFehd8s
0rSbZrIzwkO0/jSdVzHG0OtyuwRNghTjvF8u6jCuekF/lRqfvyKiHVTVDSzpVqbl632hgF6c5xZI
EAAddzi0u3SXn4UdZJkLEuLPRcvXkdbSPRgqNGPp3ZrrL3mxA3NZysS2JBJmj87iD77k646B2lR8
Kvl3kq969S7elef4arnDdHVnIr857uWPy4dmF/oXdcp+Xb9oVFNvoTnPZaRt0QZBGsiq3IDXk76g
8Sh7vI5uQ89wYszoszttsv9GD+PX2X4dc1MGXL2dFSgmPCPOwa7f5TtpVyOmWl3u//96ORJJE6Hb
orMHmHhzOTaLpEJKi3GA/yIXO/XD0NFaDVywcp+sBXQiavjlTeaRpV/qDP16/LyOvCnYJrPR1HVN
ZNrbdhKNdtrue/Xw+4Nh3YivF9PrIJtlK0BmmeaeIJrwqU4+Rgml5y511ZBiTKU4EuDM3wd8e1Ro
gq5+ingrbLamVuq9oZcEBFtmJ4KAfc1XqSSz+q/U64004+1R/VcQa7NFImXMwIuxPOZlXxuJo1Js
iOpvkop4Brh3i5rU7wNu+1xcizzZsIvholJ0DvPNMilxPgErTMTWa8Kd5kv73PmiaTa4y8XL/X/e
N/wl4mZ5wEFMChRK1gMnuO3O65EO4vUjWi5u6grupU73W9/t5QC3C6UcVHkwCNchsS9A80ZvJLyw
Nt46SV7G2OzqeSposqE2btfx4oJlDvPEu/Cd3loZL0Osw3xxeEIeGof2+TtBHQR5Itvh9ew1N4Wf
uKaLgHrvRB/kjxVqyU9/wz9pnaXtdnsZfnPXC4ESkc8wQvYWl6LWuBAb3IDAZfnOOCLffrFt/9YB
9jLk5ubPZ4uTTSEkdDRvRJ6ZTVCZThx+uDC1b53JLwNt7nwrlmtoZgRSd8LHggZJ76c31TF0L+Wg
8rq0fzeLmzMksXTKbxKRGqOZfV0XJFuVy888gX2AvRWu5hDIs0eIe9jWg1BAWKW2hjuo1Zldt0Bh
4DzjFl7cw0u5VvPiA5z3xziTzkGg+CPd6d/PzPpzfvNzt6cRLOQlhs6/Tky470GtAUnd5/6l3tiF
HWptjqCwsgTKd4SRFUxk009zmbitecElcAt42R471ubYkZZyoXT1PJj+k/xdbWzR053YGz43+9Xw
ckHgxrW4ii8u5AunwzbDiuUJ3b71dIiT7616FwEO/fe+0/b46QPRDEUCJIdwvy5g2El+t7sETHvj
1fjqrrA2Z1Catj31MeKsrkIJ5Jr3JKc2JcmP2WLHN+tpsL4ZUx8KmGvuGuPSIXjhFLI2p1BoUkgF
/Mz+wcUSsa0jysGn4QjMcN/sLDd8/P28bqSK19yYASNjh9gcORSAvNeH7hh1etKiFMqAg50GiLJ0
9INxtRqhQlT4Oy40b4xwdWdB0w6sIQrpm9sqCtWyn7oAUTBMtfo7iYimazjyx8BuHPFEg/r3Q3xj
bTI0AzF2ajHU2jZ7Lx+lvhwYInZxOlTp3s2pPv57ITYbbzDo/00hnbva/FiVX3LEef69AJs566Sp
RaWZAIa5m5TA08TxwsJ7c5ZQx+WdABL0l6YoOvMCZTKk5CQhvxum/qEb4wv57JshsLSmbPaWK6Iy
FEbcmHR0alTYqxytk5vfz9Jzwr85zYGmcGVSNiPZUze7VypxAMpFqAHmVU/7ifP8jNSE4cee4NU4
TvZwJ7NjeIglV/7au5JTHceTLl8Y5wYI8byn+BkabWymUiPpfL2nxCmOFDqkEZpwzkDtSXcs/DNO
gqPas4+cRHmDi4hn3OgXvuEWib1u5leBN5sZLmoRSxOB1828nLub+X3/bdpb3upsLD7QuUEr9V9Z
+y8Gu0ktglFoF61Z5xxJwvF7IH79/Uddf/P2m1J5kUjc1669ukkorBb6jNry96tSt0O4AsYp4s3F
Da0+B1TrpW93IZy2eZ4ES42QTkc42t5uon1f/UB0F9POVYDLG79M3uokbAAFerxYGnkjHeSQgu0g
A8IGNrHZ5S0mqiKtGIZ6BYisOqf78jbxu9N8k58pj4CTdfL70FXvfj/Db+1L1PWojvDwk019s2uG
YJ4xqVgQGJHuZoHoYur+KxEgisBL0KiObAY2ll0ziSlMvCbHiFrth9zVtaa5sBKf5XJ/WSpcZ/i3
6WD/tritCnWhCjupCCZCfKc65S0k6Iel88zaTtx198FEpb4Fr7F3cl5jgA3s2I1jfxTt5mIusU7b
b37NFqzX0MNqFpFfMwxQE+bbUPkwZhe3/Dp1v4uyud248RrKpNwMCc8/zYtLz9iXO5AbO1H9sFYQ
L+f4bw7MUGl/UH3hgbJZL0YazCYaj4hwLr2NjgNk0MBWhkvWXW/uxBdhNqdoOpdzFKXsxKlFQKDS
9tZ8RuJr102aJ2sXAHJv5UGYTvw1qM3RKYRiWOqGBgIxgryMjSmQcRTBwagy0HT2zS+QcneX3gVv
1SaozmHwBHsGqtPzz3rx5p1KMJ0REkbPJfvipt8JnnpvUgkV7dTNri49z94eJmFMUcLokGP19dWE
rm2AOTICqp1Lq9YB/xEdEdxHJtKhFuLizBChkdtd2P9vlLhJ+SzGRz2MYvp2ydT1kGhSvwrB0plY
vQ7zyQGl51q7DBa/c2la3z4JXsTbrJ1SHkJ0N4mXHOJ9Jrh9tMfxh/57qzvl4PZIpTzmT6s7GzAG
ZwCNwu8JD+NJRiuldYYSoqt76XHx1iwYIhO/WoOAf95algrVhERrNK3XM5yXzlf26Q72rQc/tsEC
KX/8/an7Vjr0Kt5mo5ZoA5diLwKheZJ8ye0QydVc6s/H7j48Uu13UQj6pqOcC9LESZ4m3B0uVaDX
23lzPEFhwreT3iq19+37ugkqpKbi9fbmfb0W3kef7sLFs/atlGulSgHaVfBm/AW0rCEEYVQN6SvU
VU+Nr+ZrA6Q382s42q75NB4KxFLV07/08n0VeJOeDA0mhpAvWdkZyLdUc7S6Ov/+O76RFpCQo+0o
QdGSfqGS5oaRR2nL2Crj88TTDBTT3CJokFx6ZL9xsP8/0r5ruW6dafaJWMUcbplW1FJOvmHZssSc
M5/+NOS9tygIZ8Gf/jtXqcqzAA4Gg5mebujLkZFVhAZNo28sfQFrWyPAUI0BxanQXOAn3SznSdox
AjvMoA6LV5mKLIcKtXoNKp20x5bF4WU7mACL2WB4yYYd8EScdxPTL6D4IWNYVAXZO93UBm15oVW6
TF4EwAY72a3mZ77gKRfCPVEeg4TKhWnY1t35L8YK61jih1kq/qSCDIabBTupboajAfYKwOkhY4fi
EvCmISjWHH7Vmb2tHzapbVWyKoIEF5IsqbTuJODnQfs1F5m3gAgMJMgeZ4mMrPHTEqm8f2qkpU+A
ZXx/xktu4k8KeciPvujmbjI5en81JQdujsz20Y9VUudNGCutiGTc04qxy+YbMN04gG6BIe9FF8LN
JF1Nc7FVrIM53dY9BDfn0zSV0FnqOJ7FOpSrLyxR7wRZS/IC0Em8yEXdqWUd4LF5YwpIL8tvHP+1
JerKHsC7ouYBQmgGJk/NHLPNMMOHukLtwTrJPTGc7/p+ia0yEpRae10CHz++6+RmYG2DulFnZ6D0
czr0ix39wAdIM10XbwMZOBcNuiLU+0AouilXSPQ2kuYBWqUu+DeMXH0Bw6HdLLzDybNGdmC1wsxI
QdFF8tfJT9FgKJ5H083ccvMyQd4y+1mcxrsFYC5IaJ8/MsydhWI5hoRIqkmDwC0dcEC8XsBblYDG
qgXtBXgUzptgeiVGVgCKUHFjGFQMyOqgBjcCTPRD89SOIZjRO1ADKuoJWg289xar3gyd7A9rVAgo
BVDRdjk8c8AMb9eBfmNyotsUDy1jg2ceqCvGq+6mV7dj7f1Fw0Zm5BZoXyuY2CdTAXRhb+wR6OYA
hUTS1ofowgYSpU6HEoviqY+8lJKZvIHJAdmbjMEy6Al/9hohLRLQScDa4He77nJ8fZftzGxhox76
ztZvzn9JiRxrOnNa26M2Vy7bvNPAAWobhaUVexOFiYHwZxoXo9rhRVsOyfgTGEHISkC6OTXctEur
X2oICC7IBZLp/vzvYSVyYJXGkD3gbSa2/fPyTXGOTTC749IG4dBS2qaBbNJ4U2TwP4oQHNAeZDD9
n7fJ3PO1USou1JayKMmE2/tfNViwDAx4qpBnA/ace7kwHtOEOvu/RVKRYchqxQomPBuITGh3N57K
+l3PkSStM2gF+IPC5CvSX3ltkVx3q1iE3hOUQlpc2lNvg+wM7Am+YNq1k9wWj8b9ZALCAErri+E0
bGK/5YCoWK/BT+ul0hRQb81iLWG9QHfvgrdk3KQeeRThSZLt1CNgXdtv9Ko/maSO0dzGSbqQ4NuV
lzk0LEv1YZZ4BCXMyLTeVurwQGSgkccO3tq4g1veQGMjgBgjSA0aT5198MPsp01z0f+K7hVOkGfV
YD8tkEpQNIygiEIAnx38Zpc8LWCSnezicvk14JU9eIonSjf85I/MaTEcCYUvEHqjAk1fLk1mDGYV
Y18JO4U+4YndCaCndNN7Ax0r2RW34cv4WBlkanmnHrhvW9alitnXf+3T+ZAFlYkpJIk2wuNxhq5w
uZEfcsxpR76BazUC2Qnk4g4FOkq8CjQrJVybphKkACw8gRTDdAW+IUMSjq0MPpCcq0LGs0OFwFFO
506XYYe8ZbMAFGIHIomNPoKnvead02C0pQdi7xtgI/QyAEHGcCgm5GhYjmDFjdSQBpauHSQ9hKAt
OOw0TnxnJScrI/RDvYqKIbFM9AEHEJZbA4j3eB0m5vZpqHMZGPBDlZk6k1M6DX1LKuu42g4hCLET
ENFqEufO4Fmhjh/G2ZRYA6mebVq5Xwu3cyOCB1rhWGH1iQ3g6dBnAlga08vkZ6zitp4n8gCe0gjk
9Pbkil5/IT2Clyx7NFJb+Dk5aBXbNQodGFBGRhKC7tyWOJGGleuhZq+IFroiyMOoy1HLDAFqBtjP
Pmp+5JP4ZtbSrVUrp6VTNucvYuamrkxR9yIGd2oIlMHz4+ohAy4nDbeDNXP2lB20V1aoPUVjUjZ6
oHCgMEykynOwS9uVX6WA9JFThlHxA6hkF53ohfva7/NLZD7Z19tJ3YVqW0Gdy8AaW0/dm/vhctqC
3H9woptxhzaBn7YOxyIzZK/WS12FvaxgVk+DD4F+9an3QHEeOoQrdYNhugYS0qgFN97woCyQoQD4
CTwxvMuY50LUkRQHDCZlRD+sqsc7Wez8UV12SkRYD1VegZ3nQ9TBjJcwXUYdUYxET2SM1XiSo1vp
QOqQEvINrxjQFPoZc9lDOIZpapRcBu/wSNyqGoUKuhKg5S76zPCClhd7eD5EE6MsHWY5BvOfS3j6
bXV2BEoNbSN5MbjAt7HPuxqYty5mVsAagD4Mhk4+h6GhRJUNV39khw0UwArNETVCOGmCE0F0o+In
x2N55qgbsJ+glFBpWB/JbVIPRWTLFUVQK7sEFJN4qXCIhysAuBcQZk52/a18dbVcKuRhRjEUUlJN
Hs3qcUb9ox+qa0HoXDAPgHUj1tw8Xo5tgJ7UOFTQvlPFPajYriQtvIAQwv78dpCo9yV3X/0aKioW
oHVs5hG70RSNF7WjM9QDhwaM7bsf35cKiUMiDeUywnfnLN7mUCA8WlkLCOlkdN7/vhjEcMCpMWeJ
2gG1tXkzh5DyRPMrAhFoM7Y2tLn98yZY0UbWMMgEaUwy4095TyxJ6EX0WExU9Ac5Aa27od+ZpWc2
g33eEvPhCLQPagMgFvmK+E8XySTiD3+Kk2TEoBl86LVt8it5i949CE3PG2SF8rU9yhWscpKDhLgC
Xsb1YvrdYGEjLyNwq1fpPhwS6A3xchDmdmKiAck+NFc0nTr7CpjTwVhMUpAAI7bgZi/mI5jbIcL4
fH5xLD9HxeM/Q9R3g5SCPvUDDBVB6A/Ls6zyto959a9NUN7XqclkFTHiWLYDKT2m8McHkGeT0iPp
36Bo3jyE0EuGbHbyF516ZtwG8MEyFORSFoaZPodRdWqm+j2VIrgZPIdnCBv7EMlytL0I8hnInPJq
gcze3NokdfV25ZTM0AUnK86uzAfxHuQ3se5coaqx6Rz1IFwVzuymaKx70T5zIEXScnyW+VJd/wTq
RobeZN+D0ZEckuA6uEYl1IdgZeCSpqjsYrO7zV9wDbK8af00p9w2EPIuV0gUAO2PE+xRwCakWgMK
HT2Q1sDHW1yI0vvj81ykJkdpla23WQC1kAI2Zb2yZwtwSqsZnTC/sjCA0C0FdC56gIrS7nrMOHkP
M4KbOnmWY/hIIVLCa9NDhwqZSjA9ZW3K06FJYvBHj0VUR8Dpl0PFSyoZSG8cVSDg8CiBnuG7q6+W
KgqDmiqQmSJA2QNpuGYoOpCWa8u7jFnxBwwfGBRBZx/UkdSHHAwhE4wY0yLZ0QApPEAZXgaUTexU
b8DZmS/wXTL18xcTbKw9XVumAlI5il2sT7irQBJwJJyG4mtxGXrxhWqLLzoeZJvUT3kNH5bfro1S
ISpHhQMSqjDaEdJtK7XVkQNfZGVXawvUJdKpWlZoAz7dUD5DVtMeRMvpxOuwrm1hmjn3PevrYXgZ
s8+6DEgm/XrEdGwQtETAoKmM61CfQPshQ1gH18gCvZ7//QIxZJBpmZqho4dNBZpclVIxqeApZgDB
++xNDApeLCO7T59wQwGrHMS7MI9K93nLVBeCNoMJzV4UJ95Kh3QDvNd+joGlyd2/YNXkWaRiSk1o
dULoFEGByw42EKQByBSdj+QBmgiOWtjRvt6e30ZmGFsvkrqmqs7Q8jSFySkajlCctMtW2vRK6Onq
Tb5oD5Wm7Ajfe/2NYWo0k1bbS0UxIZ8FEboXgJi5xa7cEuQ2mExLlP5t6bG8jlwCICpO89HcmuXu
L24N1pFf/wDKhcC3AQadHD+g9doH2VG98dU6DXa+A0LTzgBrDX2NcxzZJjHEqYMcALyT1IHvx6gP
GrLbkhxBQHOfQwtFUjlvCOYxBP3dv0aoM9/0Qwf2ExjRg6t4uQOs2VbbnVzrznnf4S2G/H11LWSR
pfc9OYIJILMwNDXafjAkzjFkRTBjtRrqTEB0XtZaMrxQh7Uz99a1Kuv7TphBx/EW15vzS2J2L9bW
qOMwicA36dr7qIS6D/bGNk4B11NtUirqburLGEAWzhHkbSN1DsDINU8SGQ9R5kel2iuQTeq5Fyvr
pkF7GKVSTC2oMl1FKBIDUvLE8f50vd5RK7+sk4EUCYWxH/Mv4fd3dnJlkbpQi2WuQEEEi61Xya78
E91wZwAPaCrb7RGvmWt+VYaZfa5XSR0vEfQBYvRnlcvThMkobzlmvb0c0EtFcxN9f1v5mXjcRgUz
bq/WSp24CK0CRSR2NXv0mt/9feTjmvWKU39VOfNW5bzgeR+TOnhRC06zmWztQjS3J8HNIw4+hFmL
JkAqzNChDgSE2Oez3deFAhozmOjc3gv22MsAjMP5dXvdXYV77TQ5k7cA9Nx5+kHeWjteFZH5lln/
AGqNoxAaWirgVAhb8AV5/UY5QK6yvDbwhHqEJBQeUrgSj+1lcoAmhuDop5JzLmmabTL5gCEbA0kv
CvJAyVM/oZRGIe7JTxgd4XI2HAHtGPBPgjFtOei7eCc+iS/Sj/7VePwD+oQKReMl1zwCAOZLcv07
qAhodQUUCcm3GPzJBdbMrS8it9o2Xr0r9uMjt9tIkuwvec9q3VQMrFFhSPIJ61ZB/AyBja25IzB3
8cjHKjNj38oUFfv63BChigZTkQUmwUZPbmOlb8Gx9A8D0f9X+IF5ZFaGqLs+q0IQNJJv2aEHVeDF
lkBK/XzE46yF7nZlQvbPZwr6e1W7ayrMc+i78zaYLdmVL9BDnynEasBPBl+YMQUUPWdXaEPH3p8R
QhktvCv50tiQowGtFHf4zjj1+kjQ06AQ50ozyKFhJvMhPi1ufFC2kPdJ7WGbOumxADuW0+zlAyaC
biZO6sS+mj8+IT3JklQLeLGQMNrRLrhu7gjpTuq8tHgWwiopK/CgG7wPSsXApghFA+kAwqwOjd6L
YbrvpV/nvyfHLenRUCsIFmkhT4xWKMdlk5tdCyXdrgx5pDO8tVAxJF4ksYHoENJ88WSajZ0rV4F+
fX4x7C+kE7AvaZ1/Gatqp6CD6CpWo//oveEIVhR8I/KAgcDXX76YmBv4YZIerYIcuqiVhF5C3Fcd
ue2RrZmuepnfVafmpsFQLc8r2KsE6hW3IpjAv0xUlXo0FqhcknCs+ID+b5QbSf0H9Y9KEzhwQHe+
cIILO7VZWaWcUWzlf967nWteQ3wFNLPgYvKhnOpGP+O78g7wTT4Gnrm9K6vErVYpfiN1taZBOgqz
K+YNpLIvW403ksMzQXmm0KVFaBDPXAbJXtpTnt9z3JJVvsJ8xH8fjLrPoiEDkxS5z9IHc99uusfW
BWvGkb9b3I9EXWehEmE+hJSvoIcNxMqb2NjpDUjP3ktYPaA7LcpX8vZ7+edqhdTtBmD2JKN2RQp0
6lt3RewRzOKg24kNCW7uBAYzmvxnD8O3n91CnyuIOZNvVml96otQh20g/ofWS+xyvh3TO6DgBsJ9
AwTxdEPCGsXQ6MnjSN3ImQ1SHPAi3hJGBdVH+zN+Bm6A28Fmn/CVUerpQlhLQ4t8RnFjbiQX3C6Y
YW8eIU+KgaYRTd8L8zsZ/coi/XApmy5vZfIBx3ZjlL9No+M81rmLIju9Osp1UmgK0W0mvgk9D7yl
dTtyEgwuoGFgXBcQpjvK256TRLOT19XKqAgia1CS1cjKSH0nzu0e5WMorBEZoMaJ9kFuf2ceDYR1
mgrFWBDfv/MyrldKaNek3oDJDkA9sPQ5SrmDRDYga4qzvJqSE13zLgVysL+kzB8m34UJVpsbLFVj
4OLDPd4ozeVi5ocxmbZVlewhs+60plT4Yjty2gDscLOySlXLE2MQy6olVt/A8ozZwtCWbMjrBW7r
Z3gVBTaclUgbmNzriByBcwumjkioQxhGIefyT9kOktjJhjx5CceDlbjWb04cILfAOXvUAbG6CRO+
ZKkgWgWTz+CkD4M7/yQJhg5ROjde/OIGPL73CiftZAeg/5xJoY6NnKUZoUGCMyW93auhreYcgjdm
MF19ReqEhIaeau9fcTDva3mXqKUtzJy6Fs8GdclqTSCBVxmrQNXcyYznUWrsBICK81+Jt1fURVtl
YLlNyUeyAtPLzdlOupfzFnjroC5YdKaLRCDPn6mH7rH5wwTBfMQb5uD5GnWbikk7Z1A0J0lPs1XK
0g/C3u0DwRfqm/PLYW0Yel2obhKJgi9T8tloSONAEmY0TpxSOpbolZ63wEQtIAaiUQIuO8gnUIuB
AHqrF2Qx8z68kb14j1GK2+REkDWWyxXIIceePqYra/S037gocSmRJ9PYLt3TGEErPZ6eIfp+LWuj
A+q5PWRw7QrYFkHWbmLoFfmDmfBwJ0QM4uzPoALjELZKGLz/DIcQs9/NpxqzDOUbydd7p9j1sQMe
9kB384clB7+fBCojwwluMcOvYfQBhFmIZcisVQvESlutsasIYMFaAw88bi5IJV8me17Fi+kLHx/K
IFu7ukISvYEePfnNEH13gngvz5nH8QWeCSqIhtCzh4IYgjYZRZDc2JMgioCFkXll+RDc6MCUPp63
SY78OYcgP2m1qqBapAwSCSgfAqoLjNwI9WYQkgZB46q5MtoNpGfPW2QmOmsfJDFkZVLJ/v34nZ//
LE8qvm/ki8/oRjotBhD+Iu0n+0YvEjPCpgiCFlIypSyqerhEfY0xHnUjoVYJLu6tcYGRIfgQbt+N
5nJWyApQa3tUNAfnRhBKOez1szNjom7ptuUPjLF0dv9kbUzT1n4uGV4afM4xlgetLVMRXp57oe4I
oktP48tCA4WBwGtV8ExQIT7rjCJKRpyDGOy7o3wrTpb/f9w/OiY2gTEkKolSTobRn6fwZhmQJpJa
hXgFUaFYdaafhKuKN7nO+XB0iRAziWIQzjDcNnpnx60KoQj0Aa34WhVvzy+SRVdAZHL+dUq6UthG
apBrE2yZF9pTApTTDahfvOIYHQfI3UF3TjlEfrWVrsEuv48a1NIX05mPGWba+Rp05AR8OSEQA0FN
SCa5ORV52q6H9kuEh0b71j60p8gpLqNLVGoAt3hp76p9ftkeUk7oYV594KD5zygVe0B/PMcziqWg
w1eBDRZbDINbR8yJJ844Ro9WpF9mQgPuvAbwRE1JfzRCfKd00+78l2A+gda/gwoPijw2eUk8On8Y
PcMvN7hy3HQnOYRKhU+PwNtrKjo0JWR39ARbO6D/GwSB35dNb49xxAlDrNAOkI4O4gngO0GY/TnO
GlYc1FaGKDRPz32Ub4bG60vBFfF0BT2wc34TmYvCaISJkRUUF+nZiHmIayF8DzwVFB9OUXCb50/n
TTB7XhaAqmiRIk/C4fm8oADE42Ma4DuRd2MY2i0q68gLRPwDTOvA7uVH+IcTHCIvSb3qgveIZEa+
lX3KX5dBmCDHjuAqDvcN5hTG4Pn8CiXWM3W9QsoTha4Y5DSBhcYNbyrwdLc2ZKKILi9QDwNEbBe0
9WJQJ4Dh0dVGLsUx+0hCIEuRAfKCqCF1f4hZAuVYghD6wyaPjZ0ADuxsZZ8cktTm5VRMr1mZo+6S
SSH0oCZcNA+vxfSh7Ee0ln5xNpW4xZfYRvQZAPaUQbNFbWoVCGUYE3QcUaF9zzZSCLNO6KxjjPU1
21ic3iyzBwT49n8GqQOeVUlkpMv7V+zcFCJJv8sf7X0TuEDOqGjVlbv2SrTlX5YCZMaWD1Ni7+qH
feojdroVpnOLBUsYTNL0TT89WSEveDN3FWoX6LyivgiGm8+HcQgLhBYNh5EAFoY7qI5fg3DUEa6z
LcY6Nsbd+a/IXBN4I0EIp4NOjMZ6LXGpazWI0sA9JdiGshWy26XlXf/vxJdfXGVlhfpyfQBwVSlj
UeqF8hLdNbvpiUAN5b34Zlyqe+1y8RPwNQ1b4acJQbIHU3FAAl7vFrBuVVyCG2a8Wf0a6jsGUd4t
pYE1B5MFuqaqKjGL1W/ObyzPCHUE1T6NexXc3Kg8PCNqK9Hv8/8/78NRuRyaggOg5NjSuItdVb/t
UFwcoZf1HStQIgLjNzi1aNxWMCym2oiwUg1VIzmNZLYQVxtns3MyyPfwuD+ZlT0QLsiYJwDTEeqV
n71fT2RtyUjKkIBrKrxRQRiI5N6XHN2fPBDMgOqFVzZl5qYrk9T7E5KBRYF1IVbWDw1CRyY8NTPh
T544e8l8oK0XR92z0NYTE7AtgW7lEsh4t9wT1V4sz8UMKhixnczhHTzG2qBCL+maDoVGYJgpJ1En
cxArwurQKcpNV0KRGCwZYTQ5prjwIMyMwEXgy2iAYngDc9PU6jpLCAWBaMz9e8U1mKZwyTMbY3fA
3X8nzYWMD3iqUN95H4X97CsgUIDaV4TF6Rc6mOi1Q7CzWgwZCiA0GDGNfv4ksNiPTORISMTAfovg
TPmJOHVjlU4w9y+STMKAVvBgeZ0nObItPwYmGk+O3PJ5ekhAosLnJ9PU1vZiNUGfDq8IxY6ljb5X
PeWXINrlxtxVmo1JnDvxmL5ke7Gzv0PV8ck2iXOrqkLaFFWVz1g2IQODbhKBwavImqLtWEDShDeE
xzokn+yRuLey17YA5YJGnEDKyofuLvXa2g4BCHbmFxBhz3dYY+D0hnP+67Jy4E9mqRsKtJKVBTVK
UBYe5P1ypxzivXHSfi2/1CuVMA04UNrLn3voJgde88LdZUarFk0boo+MR4UGrtvPqw7BaVjMFXZ5
MUanVi6zHKInuQBZhdIJk0M41LaIiZ6Ix4fEuKXWdun+jdKGkZYQp7YK1JWrt0bm5DMsPNsnC1RE
rytBqYIBG5scra2+gdK7ozxap2UD+DogbfjKYMgm+BkiJG4dm9AVeHkj46r89BOokzsJrdpHhFFa
3ahviWKXy2bStnp6ZY627ir7wlvkw1xJ0MvhYVxZb2ATGDoRr0VQwan0NFQq6l1dSvh0GJG5AW7p
mfSoUwRFUQYkM/J4mT8z4q/s0WlHI0Myj9gL4tdU0QCofxaLq6ni3SxMxzFEjAeAZAqaVZTD5qAB
0JoB0V61BntGV6WTeRcK+S++RL0PE19q6mCg0GUyx6Zugr0MBs/b+j5wVSBaAxs8LpviRKS4lF1x
n+15B5K5jSvbtNdm+G7jgohbpJB4bTA8Jwd+AsBjUXMiD9tDVqYo76yaoS8nwuQdvimX5kbFgCWy
AswCA9CGWe59y0t4OJ+Ozun0yKhyVDcAKm0xky9AE7i5PR9NebtH3RmTrvXgjsCXq6bRjsXE0RE9
FVS9A55MA28t1G0xClGlWR0sGVOxaRflZ6oJDSdvY98Nqy9E3Q2Wic/TESKwwR8fIkizXSVu5Iq3
vQtZ1Mf4t/RmXRAqa4CgnpsN70RzHYR6roCmvImHAGsk/DsEBgsQ7CNhkRM23SbbqDfnPx5zSxGz
wCz73k2gko00nyA0QsZ94z52RwUZlc5xD1aWj/LshwnKP4o5GDRjQkCWr/VNt8tepG13aLzFya+G
E+h1/kIqjbcqylFqWbAmIYFJRYYUjjyB7a/dnd84RpHp06ooN2lDRe96YG3tYSmKx7EtdIjGBqET
5Qa46vMqelTrEjrjsV5zOZpIkPgSK1c7SvlIOvej1uVYHgbnIc0IOgGvO1Qe4fYSXC6dGs8adcno
4lDFyJOJNXDhHtFnus0Oqi37hTd23GIWOyVcLY66a/oiNJNxeF+c5A+7ZTdAydYjLwvJGX8vYNrl
hUjm1YPXJwRJNRRF6GfoDJlCUyEDxXK4eH36UCihPeqPBTi6GwLT7n8Nk8oJM8wsZWWTbPoq8R21
Mc8bBcd8MH5l6v2o3UQ84AzPBHW0FwF0BWaO79YZv8zxYlguKl5nn/1MWi2DOttgCwIjgQwb2jii
+p6qk50GfbQJwvo2aMXTlAi+moubWTQddSm3kaZvFUAEo1K/aUbtZbTiEwoRHDQL80Za/Srq+OtR
N0UioYuULcOrtcYBlA80MGBwTng1DHbGu7JFxYEmWzoIFsNdl1shv6yTnS5tFF+BgCje3ztr9iDy
LPeg6fXI4OtLegc1gr+Y7GVHvA8fpkJCVBtGEfb4GUV0GlRji6YQJ7FmbqolWijUQJr3C0FmqEyg
5iYiX0Gp5lsztcLNUAvNRdrV/b7sRZGD++LZo8KOKUFxPAzJRyxeamECR8nvKgHStH/9RiBfrYuK
N1JSm9pQ4FEkLvMmr7tHWRomTy3BQaGgGqukKLrFwEect8oiqURLCWxeZOZW/TJtHhTozoykLEle
2jpB+b+qvwnfjbhdvkMiT4rM4N0ilPkgavgcbVI90No/713J/kMmrlxINx2m23M/u5BvOGsjkYW+
n1bmaLh6YMidri/YUlIcGnZhtCO6CoQ0XRQJTQGUhb3/o0kqhYd+r1Vp5EUvX3RusyPimQKgLcKF
BGaE2P8GcR5QO+CclVSogyKMfN7QWp4g6y5hhXq2L5XmOV5eoJL6rX1cWaGOQKGpsW4QlU6gmgTw
a2BVeE2iGruA4KL+zSfVJD/7y4dTLTLUDhnLL6Pt+TSMQimRM9foN+B+2oihvgV/6y7Res9oyvob
t6C0skddH20jQOKeUMDrsvbaN+WrWQdvRZJzQonMiiWYCQXbAjhoodRC+X+rp1BvWt5TmMFt7tLG
GfJ7SXXk15yIut5AwsHJtnEOMMv0quKddJ1YDgRmNVt5SP0OAAbO8WeF69UPoisxk7yAc53cGnEM
Cp9calIb2MnEP38q2Ms2Ic2BNzuWT3lpCthKo5EeOfraaHQec+n3QiZvKk6Kz3IbGQpD4BYHgSeM
fT4NTYsPOZGKpYSWaiaW7gSagqQe/bCX3LnhlQoYmweUH/jdYBINwvcn1Cp3EvqymAsSsRu3O5IS
U+JOv0ht3djI7oQCosvLuMkCqHPxySLtp92SmQ2p5bdFddUb/dMQi6day+/Ofy+eGWofWyvXB53w
EmnpjzK6mzTTjkD/ed4I64X5aTHEa1bbN84QGIgIr0oDhExYHvAk8yM3e9QaHxo/ipPs9f8d9//J
IuWHYS/Pk0nWlVXPqljZIbdzxXMJKlKq8tCHrQaXKAmJifQrnLj9HIaTYxEG8h/EChwmKp3uSq2b
ug7b1rlEmjr21OcbM4EwfYd6cXIgEoOKnf6KNpzPRW6ur773YZfyvS4goGbie5oA6rjCzzf63QKa
Ib8j7TGONfY+fhijPDCJ5tJMCxhbFMU2q7tA5FGfMy3IJphvcH/id1Oh2Kr0UQ8q+ELZG7YZhS56
jQ5ny2TWln3YoAFoej6EwGj/4+ESCH3D0DE8QKDwQA4h2eJy7DHyHUte2aOSj64UJTkj+U7jpqfk
WdpGt5YzPxUnCJ5dW1dcZCRvfeTvqxMcoPRQNiHWRxiLwfB1CVEMR7+V/dJPXnmvY84Ho/0+EDCu
pAjE/wJcUsJTYvCyAHZEWu0f+Qmr9WSzUoo5WQ+Y9x8IAw2ZpozvhIu/G6fkrYhy8r62wlrV8bmy
cHbbGDjkvuXcvMxIrmigrkKHB+A86gstYa7WQo0VCUqxy4tpVwvpcY5UjhkW1AlonA87VFAa9FyX
5BR2iOQEuQrz+DbxSZdy8ebAF++sPUIUlMysIy9UkJD6JS6tTFMfTexGNEAI5xLUcAYFibAKhfVR
M8ZsG5rg59rP4qJYjpBr+rOSFDJnnoT1gALlHDQrMQGFeWk6udEitbGSBO9RcU8WXlySacD6GB3m
LZcrgOkxhBocwBmw3NGUT2k26lUKjme0KYf3bQbfbP6DTFsRecgELDqXvKDC9CC0BgnyEOIedD9E
q5akGXsSU6LWrbR9BTloC1JM50MXzwoVucYRUnEpUZSV2sLRhbds+REtA+dSYVWJAIj9WAt1GmJg
DjW9BvlocG+A87nBSCMYn2LQW6RX0Yn001M3vuXtIIv0CWYh6GHiiY28lDrnoOit5ZzI4HVzAjqW
XDZsvQpOEHt2ZUEx3F7RQnvKl4uss46FErjn95Z9OFf2qUQrTeSunTGOjpZWOLmp7md3FdLUHdhM
nMhVTsGtZBwWNPIh+5Nd8J6oTJ9dWSf5zCqoSqURqJKGCqMQFzagSY4caxzvYZ9BEzBHsGhDCflL
c0lQ66hucS7iCKQhlh/uQfw8vhAdEby5OVkkC1YJjU9DBBUwcNSAgnxeUVE3fT2nOPHzPo0dwyeB
rn8ifOHTBR//x/balTnq80l1DbUFIgmb7MqTMjj1nuAEBKCa1RakJCF62MXotQceIwvzw63sUh/O
LBVAlIgsbDsvJ0HCmL3Jg+8wj/3KBJUum4vaSlGDakk0gU9AraJwqy9G687tyCt08VZD5XtGUg2l
nGA1U4WH7nih9TPHCzmLoatNkEQWogFPGluen5f4DlXnNOcRS/B8T6MCZZkuVp8T31MvRHCcAxdz
8dK9za4MfnMeKoa3ICpcahG4AgZSyypE8aDJP0MdbCCTxskdWDDN9XGiIVzGMIxDTjTrGnf2gOnd
57mb3EmapxylrekmbwRlW+/6y8XT9q1sWxcojHhQRPMKZGcur/PJIiL69HuIJ60CVp+WYggFK/LA
KhEQ02PT71FO8HNncKbGNjDiP+D3dA4g1Iipfgcp3KfQaTD5z/sCLKcFATJEI6CKqCh0haERgT0u
FXL0IQlUjqXbmjLnkcIzQa127GRBTck0lZaD9lC+jyzlOxZkVQN6TULMpBP3LAZxnWbi+5pd4C7i
zynhvolZb1NEfwtSUmDCRPXn8ycTdCuvVXK4rds/Mx/NlojRJ9CsyjirYYZj8ikME/JcoLmgon8F
osoSsHTiHvKbfm1u8FDYvsaO+DK+mJeSl/p6aPMuURKd6CR3bZS6A8ZIU425hlFwwm4JRRShZMj2
vFya6QyrtVH7aFlK23YjzKjL6KWmDKBGytk/ZlBZpevU9oWhbFXAxMHfROUmTMInSUpPdSi8cJIe
hbFj6xcJtWOC0hKlatghYgU6Jop1x9wNqK+q6BeXl3LJ5wVh7d7aJLV7iWF1iZCTXqqvPYmRYzzV
J9JRMXeYAs6cRPdVvlHeOqkrtGpqKSlmGEWPY7Y1iF2RCqTwg8xDlD6/Sc3CpXx66lEXaThGo9gI
5EGAAQzFB7BuuxyaR+U0FPv2iTAVFzgD0Kze5IcBldBvFW4+HIguWZfAhbU9yabrQr1aimybtjxq
b/Ytu7JB3bJKrPdLQMpPBBA+ACTlYYQZzFfpc7LvtwoncWAhU9ZbqlAXrSq2Wjm8V0L17SjvVISU
zA3cPHENSP+FbnkkFzyfXInjsPRzcpLCQBN6bGVatRedaew6y+SxFDBz83Xoohx01gI9aErEFDCz
X6vetJV3BEvX7GMugILpm2tblG8CmP0Pzz2BiICswLjr0dVsnRRiMMltetGl0KzGLe6Zi19XSJl4
bz1WdFv9ANo5MbUwKAZBhg0plG+axY1iHcSwPOAwq+axNkP55zQt0dSTPQ3k5GXWQq+SQL4Z57ui
tmp7qHI/kVPOs4flLGublJOmetKi2oelAfY/gGVz7FKwdOvjwhs+ZE1cIdv574al3RJjEVM0Lljd
4IsONPxEgHvG/fIk+QXkBEboIzyGYN1LrwZMY214HDq8dZK/r9K/AhjFIJ9hXRtqN19qJw84GS/b
AppUogKNZoVmWRpGM0oEDQkRBCkx/4G+/lJ5568/crt9zRc+TFAfC3hcNVoMLELQbpoucaa0Bs1t
5EYZj1CMWTQFKf5/qyEX1Gq/ZCmBGABRdIkNNLxzDy0c0U4eK6/6KXky0M2pyImXvMVRX8hsBIw8
kiqYlUqhHS6FZJtKCL7uptwryfJ6fiu5C6QyliIXTGSX7+6YXFV+6OVOBHApoUT15u2c2wYH4cJO
MYHFkCG1hklfmvBLXuQYBxoWlcvBNff9JgLtTg5dxzKxCVgCL59N20JRgrNS5sau7FJhRVJyQZUE
Al7AuIewrXYCCMDy1+BI2ByG0wzyYpErJ8mMZRrIUlRZhAQsTfkzDqk+jATAaCh5Y2d199J3GW67
uvilhbNoR6l2ic7u9jtrhZyDiCaa/FXCvC9yuU0lkaTxoDZCkHa0gy7ckIr/4oCk+XquPTxUgsTh
JdksZKGlrExTN2KpCe2CcjmqHlBeUJ0sBham8I2TeCW+JJOLBGrPJ0PgWqXuxrKNDKsaZ+Rt8lFc
HP1B2hJkSrR4g+nIL7NL9El5TRt2LP9Yq0px1wVjmw2DAoAB2WbF2ui1I0sQnppwDZfHINxk22Ky
h9wdj/XVcs+XXmQGWx14AKCcyO+gTq/eWyZWjmDRCaFvyjdDWHKOzXsT5Uuw1aErrIqgFtLp6mOb
QronUCA6Q2a0+hOOTIoOs5uHaDrYYuqWumNhQnlCNJRCp3vFdI1eulW4kw/furwg1ICYATrpLxDS
WhXisIjwU4Abc9J09o28vf5/7H3Zctw6lu2vVJx3nktwZkdXPXDKQfNwJNsvDFuSOY/gAPLre0H2
aWciM4Ry9euNqIgqV0raCWBjY49rfXxzzoaiByKEp2UB+ooZ88lFY9NcU/Q36RuAf0rHZc/64PqB
HOFdYb0zGiXDBeUBXBnoz5jHKrCNdAeYNwRVkhfzrBN+KE94VeKalRkxcT/4KTYgO+0944m74fqX
/Hq+nO6z0ZMzn541uQerFNSTlYqulhNsQanED4kN1B6kRO+LESOhCzFlzrhMGv/84K0GDfXkDBPU
o1RBw5QR9hTPmL7OVaDZFNOnjxXlvMUBXYgBVjsbl0OwOG2h18iTrHxHSdStHs3A+sC2A4pXGF4c
7nSGMWvpI8aj7JPb+EvqezXmYI20ZikSWpCK7Pw9vY87r/EbX7+Kb22w2PbXoJ+yAEz4b2SG+PP4
kWTh+WydFibIga3Ld8OuDoBiEUyevjGi5kZ2z9+zTB/JEm4hYQBjBKUM95FZMO26zeizyN1OIDIt
wtFBHz7bp1uAaRS8qhXZoeXxjMBwJXvNzpuD/z1kMUVpmPVU5ja+SIlFUwzTFzsr+jdAV/mCPlqw
cD3ZYKHsMvFjxayBBjReQtFsgGrIztoiDyxb1rl+ahdkon8r77u5OFCjjLUzpQ3k8d6G9TJPkQGH
w+nbz80mwSyqvekeEX+krR9rATJKDyM8YGkK/nz0fPA1hBs7G8k4JD2+RrlLX9uIP5sYbQZc0r9B
yiTbYiF/FSsYPzOyd8teXVe4qWM0BoAYR1W0xJj4x9aBGzbxPA1gVxsYMoXvJ6Zsid6BwIvPjrgL
YPgwCHpja7FvtmrjfSzorP9+KElwt0aW51btQkPRkHtpozUG8LJOMISMRjxrL0+RnbOyhwIFu6d2
vZGtvFNKc5X9HKMcybRInZfIMmSoQBJRluBeGWti0WbE82EX2V7NUJew3ur8zi7+k17HgzWJMSvV
WaopEzaRF2lmxJQ+OIsC58HBUKTFXw9MT8mcR9niBBuHqRQO84rIQDHuF9X2qYHuEuOz2ci6D849
GYeLE1yNvNB1FOn5Lsbxrqsx6IlRbzB10gwr05JAopDnXFKu9phdwCgrImdcjQPTkq/GnLAcng1v
udcD8+Kds4/HHbE33avP+ZVsJ88+xYciBTNSq/kCdwLHxylTJuj+buUwCWAn5iDLIwCyIpkFla1S
sCbVoNaL6/Brp3Z+XaH515XFcGdtCC/4u5aJPlxRKbW6L+tOgTtDed0Qb8LAyQ85FrevBZi2+SYP
J84aZHABAhbLMVD+F6uV8C3oAoL1H4fX8154nlF0N8aEuUhpIprbpmMraZs6BznEO4R8tC5sohp3
5rwW0EwaKjcOMg4gJ33ixnn9Zn3uggLkq171aoK/HIkW2QmecYmPpQuW065s2rQuWqt4KvWGE4Z1
Pnsu9rzhCFXYr+ZfcvC600t/LFMwnrbWUWq13EW1AOs0PKbrSwuMRUKloMqnCnokSQxNc6cbgJuC
1Q1BfJcaoJzrNk6gb/LreARYXA9QLqlzevrEHssUXERHix1S8R2Nr7J7Dk5XoPloRALgPywfH0sT
DKiTme2S8R7XLr5Mm2KTmbOE/OzM43osQjCdwM1wWcYXNO+Vm+6ejwkDzzUk30nIn1ZZQVymkgY/
1APbmZYm7Xouz9hgYMF0PYImAe4HgmBGfdHfe5jia5nYc0rpGgZITx3QyLmqcA2donINukApx9KJ
mGr4o0p81/jMiqfffhuAbcBBTQmw/sCxLLwNhdqsI8YXEfVi9usuu+bOSv0MvJX0SXsBCShG9mSY
22fP8FCm8DjoNh2bhl+EvIF3zYA0xmMXIPD1c8BCoKpGbvDxMs/u58Eqhf3Mkt6ddZ4BwzRHoFeu
1ygLRvbflFUW8Z4+Ecf7KZqwdkT3EteX0rpn6r2CdO1SS96hc4bkcP8Ek1UBMqKpOPrFQr8paecV
7uePt+v8IlzNsQ0DobTYQaF1Q5d1KQoGLP+SAGfeWGpQbm8+FnJ+Fb+ECDerSZOOFh2E0FHxuqzy
6uHL/02CoNtqxpxqraDbdvOY9WD5k2FKypYgKLKmzO2q8deyXsxtmte7ZSklBk92FILmAoEK/L/g
jsCsVLethnLnTDToB12iUu9Zb+HhtwBVjrcf3SzwEoWHAu12hV5q8BF5DQxlRH/dmiCeau46EO5M
Pvi0aTA861vrrbzh3J3mRvftJ/iPIdTjQg/bjR10rY+nLaxlY5xnthnfDRjnIGpVwaop7AEwxk0d
zRW4vQDPL3S8XbGso/OMgTgSIVxbtuQsb1WEvbAUvrJ2+0R1PWexMAonmdE+k71FeA1iVDA1gt3W
EIfG0OC25FbScOjD+C6/pffLlf1c6qH+zB6ajbHjBZf6S+tPU1B8RtZs5YNdVBJfnVErsP7hoPHG
mARU08fPWpatKoaTcDUSTKMMRRuWzXeTlcHHF/DsWg/FCNvadlU3Dpy5m4cBmhM4dkCvMc35Zj43
V4Bj3lWXnM1sfnCA6TV65Gv2adk2krWeO9vDLyGYyyljgKXg0VYPHKbY7b256aKk0LYs0yQLPucu
AGASE8cqINTgzQkmJzNWJ564+c93xTVPzfO7AtynPSacgReeApW/lcg8u7wDkYIRWtOla3QFy2MY
z0t5/WqbA/Ip1SWDB/ysRAsBvDuAwmngfwZO4rHKxJQNY8wDkXkABVaiLBeAeOcTrE4J/CUtpDnq
hrl9/7EKcUX8SCq3DYf+l9KpfcoLDEoeP7ZWexXHU4EqmRumqrtX+fDMxwLP3oyDZQonOCACA3gD
LIGefzUAl600GzZNEiHn9cQGqB+qrXC+xEiydUhp2iukKNsRaP3JxXzd3eUPvEDGvjev9KF+k7WK
nInJMbF0IFPwzktCpsngNq4J890cZlujjdat6/chvZwfCxWU17I8AD+dk9M7ECnoTKOifbgGwZOn
DG5UldZlnDqSl+vseXHQcUfluM5iL1OxNGXMeJ62HfeLeTuDOrCQaL5MhLAKw+2LteEbN821r+Yg
wDNpZDFJFf78Xv1aiKDp6gK6zCzBPa7BmtQi3KhG/2PVPjOYwTXglwhBt02qNWrMF2LecOrPat/9
Bf6MgKPMrBsO/2dcZi+t7wYyStuztuNAsGCj3HaaLAOEQt6UXbLxYnQ+Ax0oqFCuTO3nPq4kC+UW
/VTtfq1TeN3mxczmhBdIjWl4dNLybq7hJutNERC9/ZyUybdyqcJedcbg4x0WbbENhGjMZesYtcfz
ihTRsbUiazV2pdFzksDym5b2xEcB7HsNxHbf6RoZqJqoMe/SDCT1AE4CRA0xdmMdsBYthh4NVRuV
S1y2YY/gpJc8n2eloCEcaXNMnZ+YKnVu+irV0DnE9E71G1aNN0nmjJJuL/GO8bWAB46gzcQ00Zch
+J8NKtoDnTMw0efT1bhWQdJfz2QNf/98DqUIJtDoqthRa0iJm2zr4p4pgxYYJA3q5OFjSaIKiusR
bAZAYhFwD5BENcUjWQmA5MvEVraxi0wTs7ZOuyGvH4uUbSE/yIOnEm1s3cAoRKot9Sy797T2UzE/
fSzknDYc7qCg4a6+VFbXQkieVb5uogqYyQb1z10ijQB6Fm4U8qyiD4USrj7oKUQk6dUwuHu7iD3X
qYOZlJK3QyaJf36wY7kyVZleQVLcWhtW2PuBrIk3UfNrQZgkGD17OgerEmxS1dqjU3NZZWXujLz8
4irmJ/TgSjT87PkY2DlNQ08jzP3xkqpq1Fu0K+eApLCLsF9J9ldururdx1qAMQf8nUMT+67fNvhR
LQC5IkEl6HfmNJlpaCn0QENA42sLqfatZZb3bavmz0bTd499nuTflVVRvqg0i28aUJTlvmnELAnT
2apfiTGnn3p38ctKCdlaNG9uQWsS9NWMMkEGNB0PgG9F69d9ugCZzKTp8DaYOWCra+zm6HVUNzMM
yFRg70KLb5m6iQ4ICZqrpVcZJJ5GL2lqZQQd9NLn8Pm7VSs/k2adzCiP4/krrZ1V81idaYpvE3e1
781+WNebtWna6lNSzLn5NcndDP0mta30s181Gf1WuqqT+Is2ZzRwYtMM69LAcNfassTw135cWLSg
Ird4tEU50s8WxtDYaaXLTTHR/MmlyYg1gTXLulhHJck9t80NDA62q3ndUQ43PitO4i0Tw9xPa2nF
VZwjBciou7o7LbbmDCPOxB4hax3bIOsBXerPGrqCdiv47NDr1AJ2PFKtdQZ/rI1XNtSqZADjBbyL
/oJWRfNoJ6n91rN+zP0qqSzFWyylQ3U51vESbFhpp6Of1V3F4sTLkjZRkD9uEuIM9wa42XI38bu8
BzTqjjUzBaAMkkhZ73p9obC08pfExnGC8iy20C5fxFS5AZJcAVOrVIxczwsdgUSjY8zrBgjyneWx
lbF+644KQMNaijTHbUxmytpgqQxqfOHdVuUTQqsxTi7Y2Cam5WPIvDexxyzvWRgTt+ypF+tJu+4U
d41v+nFes42j08zYqUphIb2kJOR1mgaiA3sum5stsHCL+s4wKwd15xrF94DXh91gsMslbrxE7QHQ
Xzat9t2maRlapWk0G7V1K9BOWk1aX9nIIiIN3Duag0k1ts4L+1R0U1VpIVHc3u0At8u69VZRnane
AqzGXu+mwqiU5MrKmaO9Og2lNV4GsB+SwSvmsTQCSyPgf9qP1JoeFw3ME5dpO2eviHo6ZF9GxVT8
irb0TrfjuYrWvimNq1SpiXUFz6QrgeBsK0ukEgb7mRkvSgyIHbsElE+dLfnXMl5RUEkpc8MGAETW
haO4gxPazaJMl7GjLGCOY6NtRLaVG22oKk4ByA8gWsyek+ml/dCNc1ZsWzdPzUA3Gmp7dCVN/oA6
SoPxezQSdVs9K+wpMtTRKMIB3FnLdlC6GGddxBP1rXbW0XdZuPb8aLTrMm1XhdH0dU30eXhbDaVY
A3TxGHXhE7Mqx02Dbn59n9Q22ofUwQB/2xQPJYlse3Ycv7fGjHnwLabx2mLrulx2dmGZXtUqK2Bk
2nZRLmg5z9rjtBi03qZtvPq5bVbFdqbjChAEh9U6jMBSZx4MZ5ddK1Vvt17XErXbFXHMCr/tlLLy
tTg28OgNsapg+r9Jl/FpdmfMMtfl0C0PRV+ZKwnHenDtMaBFr/ahXVkO3n8XXaG+ZmfIBzVhMjXK
wCIl1x20+fpuk/bTI5l6kmKeZukTCkxsZxpvc7Sl28EQl67tEdK3TdTpjqLuLOg3uyiXKVHB8ZrN
MACbaiFtDnzWbmmHePexsT/7SjoEySKw5qCoK7xcqQNiC7APQ5+AQ7xcana7NfMyMqkucWBO+pDf
H5UDSfzROXiP7QrPBnKQ8GD24PDrlwfOt7Ju0Q+8Vz85L6QOccnnG3kR8OyreSBYSBE1RNE1GEcI
pgXyKNGw/PXxHp4XALwGE5P54Hzgnx+sjDUaG5kLW69mnya02YGgSBLznPUvnF8S+OcHEhxtooVu
QMJkfTOcC5O+1dXLx4s4rwi/RAjukk76fq0diKAUJA4U01j9k11dVrYk3hZzPu9qAFJhAJMitAE+
yvFS8IKChGaEnLXCUIuLufccE7hTEeQuQUhnRR8v6+zOAWUMGGmY57dMUZyupWnBcKXrQo3qrtmk
9RTMqiaJo47F2Gj7BgqYZQJjDoAQSKQJ10hL7KaNi/GVpRZpQl3htmTISRn7+ZpWc/jxooQiGxfH
yUxMFy6nAeYiEfowTpVsqWryzWR1TLRPjOQMj1Q5Oc1zu452flegncG8d+NhVnYpbSxwxOH/qu8m
3VqWAK3wkxlvetZQZfZavA9u7r1/xf/3wv4reWtuf3iL9F//jX+/NC3AQJN0EP75r6vspW9o8334
b/5r//tjx7/0r5v2rX4Y+re34eprK/7k0S/i7/+UH3wdvh79A3WHbFjuxrd+uX+jYzm8C8E35T/5
7374j7f3v/K4tG///OOlgS3nfy3JmvqPnx/tXv/5B4DEDk6L//2fH15/rfB7l9m35evJz799pcM/
/9DMPxEYAmEZuHUoeWDi949/zG/8E/dP3QXGnIu3AjwnKNPgkxrM4ek//9D1P8kPpjZHA+AHTwSg
C4t/Qtw/gf4HXjVE1XBL8ekffy/76IB+Hdg/6rG6bbJ6oPht89iOAewCUDBoDcE3wPdA6lJQYrDc
lrkzgI56bRctIWHZAk9IfWhdXUFk6Kt44V20Y7rV0OhIfRtuR+p5o5CirPVPpLKoEwd9lml97wFG
uoUWGaVufUNNv+x2bp3Hc8QKx0lAhVNNKmm9clZnKGCaV5VCkXWmrd2gdxnf4oWtE1WGwAD1KLnK
9QLpApRuYni5Xr9g3gKwt6seKk2+FjeFkhNt2tSlhbc3mNHHY+Nna+4KWH2fhXrekJt2rkgxe6RN
+joEwojzpVgJAgTqWNXWLDNL/eqAR4kaF4lSNl2gGuCsJn7bmiPZwC0s586js1W4oLInoNoAYTUc
irYNRnTH2wW4cIcEj4vR6yOZPXddjVEDbOCgG09QXWe4g8eku9cJT9SaHknjunO8Kbet+NmcWbaC
3dbpil7zG9toTC20tMme7XBWk1r5ouRat/CGncJKwGRr5X23hgzZmly/iAczJaCCnFsjU/Y6Yger
jrpS6+cM/oU7rg+JBeLPNMjKtGretKkwpxcTmBjLNemQ0HKDhI71skbamLrqU1/Mq6NHDErXv9WF
boN4bTYbg75YzWyhVRXNgY4Rar1aYNYCNYGCKp5mI8GpeiDIqjt9PyNVoTzXqr24n0wz7cYCPINg
Fb6tem1xPq2zUcUEIQ9hQBXPjLZMZgREw5hgNKce6T0d8qX4Ftuscy+VWBvsy9rKRv01SQGHB+jq
dcjXsKSpwtaQFsbS4l0kUwb2r7wYR2L5FqAzLOSjC90dvnepHZd/laamJuu+m3jkFblqWxU9qEla
p4mjvmJmep8RZTAWHzAJDLFlU2kmooXSdeugp7aJFJlZAFLks5IpIyoHeWWN9UvpzIb+lk5mbn2e
G0ujqABNxZqtHhvKqcM4s1GbXf5ZAXGYTX17IbUG+E3CWF36GnQkvbRB5bUYfuEAdnqP1ZTssh3Y
lCa7WdHYzDzwWs157mHqiJUm/At9BKmEZwFnkxNKZKZLlbs0M0mdfMYIbr+g78JwYnuYx7BaGrV0
wYBcuEt+21hwna3YK9IZI1AWdNCu4Vj7dYvbgIm3atGprUpSfydPlYUACXiW6E/ELAvKS/zlPHBd
BrfRTZpYFno94ytAkXOk3v4C3nAPmtvXOlwumucDe/vTsB0aMmFwF/MPAOJTbaRqCYqf6HcTRDrW
oOVOmSB6QScfCUrQbpRxMM/+qHtp6ZXX+YW6TdCPBTaXL9NnxIa4sR9/B2HghH8HmGqANAGoCSNh
J7A+VuUytwGKBQrBc7gAUmujhIMHZsHLHAUA1NMl8nhK5lfK5m95NrLTiEexciFlo7ZKPzDsP5+2
2yxhCihHk4QL/Ppdep1etFdp8lvNC+8STdOCGbDBngh2NSEZlQ9uTS1g+XpljTby7nLWXhl9/XhZ
/KSEVWHMCk4pHkT0ZYpMgqOR9I3WJ5aXIEtT3hn9ziol2S6hWve+DoCROTYaP1EZ1MUp63zlwwAA
wgSOF2af51ANZ8whrffE5L109jvU3OzJimfHKeQfUkFvq6HlQYWWiHHXmPTx2pi1iVpyvyv2fPDJ
3WvSecgzeogEkY0HHU0JNhgZhVManDxNxjk1vJ6tgUvMxyEj3+Ag3MRTipnheIw4LYdWxw/xuG5I
A3TWaqSS9CgP7Y6PkTupQLPTgWgBfHDBsajnumuBnosmnSkJHXSZsk7z1ORhKRsPOPuBNcuanE4l
YmjXgn4CzBpTmaJyIhfrDKta8LYgFIq6azux9qiPepazne3MB3Bh+LuayqeE4fvbAGIG64iwxF6t
5ljvS8NTAT+uf5qWGiuTdZmKDpoFSwrKETj9pgbEc7GOohQYwiMpDrNR5rCb8ojUMhHCjCVXTBuN
ggbBhUAcg/8c22uzQOYCIH1YyN6M3GdOf5dG38YnzCrvs415NTyRcNioaOO7lTVGnlFW1Lsw92gB
2Mc6ve4rqvNdbdu6N+7ju2yb7YvpCtVLoKyAk6bbGLJixFmBBP4zbiFSwDCdx4uNAVhtqLWh46WI
N3wmGqVZijbFJkpukGPrpeAcPNw8vgkQdCBQyEUAoCyNsxICDU4aE00XTAd3WLNjm/ov5dJoNx9r
5bnTRLSIJlC87ABcFDmuppUqU9lrSIG5nkm84ZOxb6P8Ya08lnjKU7ZbolHz5ktQvADeaL6T1YbP
aCwCft7ibqi4jOLNd+cFaScG+SjY+mp5z+IHyQoFCTpiI262NRwiJ9sU2xnnHM0qtFLB0+EzBA+3
1VaZov6Z3DeXKNB+ZVclBjC/SYTy23xwjBAK5gE0eAFxATPmJ2DdQ2v3dUyxLAyZmw8cpLQKa+BN
K/74md1x/mASsg242CRphtPFgrnRxjm+Qz+elKCXidSK00EtteSO2Z8tXQrAICgoXxnaxgBEjnQG
vCdxO4u11zqmGNAJ+C18Wdm+31ogS0S33F6mHeLbeyKNr/fAOVR63WpUlJq8+qW/JIH7rAe49JjL
tV5ijzz1/4GndCJT8A7BJspQloDM/ifktToD4wgMpjAy8bUpBzY+zqwBO17YUiGzltUma+L5fUud
jfmwYvJhuiXozSm9tvTMfX8N5lSpRyi4Tj+lIo6HHQUCncgOUPF0XryAKWpIGs8sN5leeJmsWVn0
7rkUhysKshDw8TUR+Hps85K5NSHYzDk0oyos7pSwCzCdFlnfuIv98cU7o//wNQHtgGgCFK2idiZF
laIjSCNebj0Z8VVTSZzBs3+fs9TDsQWXvAi/a039YNdwQwGkAnAM95a2knS7MPHzrgyuA4oi9IYS
MM68T4oeaLzZzgpC2YngeY03CPvCxm8vyL7cqlvpvM8ZxTuSxe/6gSzWoRFibmeCmADRva+FRuet
nnKdbGi0+u21s80cz91Jn/Ezuwi5NnwJWPzTacx5MK22oiOBDSHR8DhurNvlsxEwvOOD3/r0mytr
zBfa335uK8f7AHIM5qIt4VIrRdzmXUsJOpwNjJgiYACOnhKaIdkPpad/5wQApuwsz1wx7lcjVcZJ
pwwxC7vYrLE6tyFogF385AJ4Qs8lYNmvyB295CNjCVzPxGts7+NLcHaxB3JFbFADx1ppC+QCu5x9
Km9JoOJgn/sLcqekPn3s75Tgt30lftUPV2sKkYRizKXWgUjFUze0vjDA4JvetFtCL9WowcSfFELh
zEsEt0XFJXRNuKHiXe/qxmZKUXEtcsC5SjEuFgf1FrBUYJSUkpzyb3/8oiP16qoYi0MWzjm5l0Aw
WLU8S3Dz+4gzWCJOCfo4nELt31jbyQVBlYg3XGmwYagciLYZZf++6AeKgXr1S1o+LMZWoiEnNx8+
PAH/CdxX1CRQ1ju++cWSUqdqBiBaRfVuDaabAW2BxI9f9S+lhwsxfe1AAwzUHzWNJKLFtaEQzWGT
EXMhxQ3GWCF+qMbGMFm1gGUZo+4Oet5ZQDfKdbztLsERbikBBbB5KMt/vG/Z4flBrGNiS8EEhf8B
1M7jFa/rZKOLs+Ri4018pz05T/Yzn3fK/cXn0Qvb2r69WS6LoPZfmL+gi/u+ebW2PahX5ePvomng
PjdRHThqaJHGdxN2AY2YpGrsqvUaFiiKERhx5jXLbw7MIZzmYggmJ1BLMB2kSI5XjYpgMWstxHBv
rb6lHGHJdy456+r0F0AiJc+vgGNwIk+0PENnZmbcvcvjLwrleJQTUGoKOIku7zMdQitSt13sl5vY
77Jo2cpel9Odha1F7z0vliCUMgQzBKSKcV4mzIpQzfDKwY6sstg66FeT6LHo4uP+IAx9H+TQUa0U
zc+0Gv2SOC3kQKEsn1wUV90G7X6cs5GDKkGPwJNqo6Ige1ZObxDSabzvEzQAmnpCotbbQM0C6h+X
zDlZ8mjowE285aCRYEgJ2o3aMe/3yJD5ySLwf4eUd1H/scVAUUO3Szs5YDjqyS1rnhVFGmufWRZ8
RZh09JqiKV7MRHU1eoLAKVh72ffxu7UnXh1kHTCMPOUv6xPA673iRv5o8Xt2bBbgoNo6r8siDkVS
4fiCdGRw50x1akyUjt/NiGImd+3RFA98ty2ATG7XzxK1ES0v38cDgSLDAeobi55VWCVSW/Qreyy+
xK/aa1t52SW4PsMqSgHn9KYDL+dZIlmyVHHIq05XzMevWKqxmRBL5VF2RXPPgM5w+j3nXtrQcSIQ
Jp6DSROXQ4o4os/VrsBTaIwVKhP1l86+2CPHbsPlmsLlsrqZt5NsVOwk2gC5GLCrMSeP5BSfYxeM
PH9yNFCh1z8mjsCPkaJq4RvAUjX3XaTs1HvJnoo+CASiGGoaDmw4/kusiJprlqMehE52GloIhbfI
2GByjtgAMuFERTLbdmJzBHFCOqrONTdBa1PlrTWNvTFXwl5b4cpNL40JrmRUNP6P6xOuRzGktdlw
gfaN66EfZ7Nuhy3na2QAT5O9HifRPgAI0T7PR/3Qu2CeXMZR7WadLDqGZsvAzII+CTmgKoer6zbW
roMpWABELUf/OrE8kIvCEzqcQA0BUl9BbaZBjedc73AHW6APNHfTKimFnFFMSEC1B3lEXnUSH6W2
RaY/AQKN14XW3Q8zo+46kEOSkMOGS71VIb2NbvpjeVxvDyI7DAOoWT5A3rx3/ClaIzUsceNtG6Bm
c7QE6b0OKm94eBeyCFy6VG4VDkTbLTMWx534leCzpHWAcTQOSOd4qPpfKLey51C2VH64B/JIq6CH
AJj+XoFexxWZ00mv/FZDGa/67i6bPCGSHNtJePW+uZiEA12zhSSf2P3s6Go9FgUkcpRB3qSWjUEG
nM4BTLcEs7BrHkin5k+8Gsymw5dBOMBrCCdZd7fJB1NVUBo0AAGFBv+NHXHELxCPvIDKiY9Rcnsj
85rF/DfXIwwFG8CL5tp7Uh3S9LRplmlFFsprL4G45Sd7C/wIBLNC8mt4RnUQVyETjWoecuCoAx0f
pcUSjKQrPPyILDuwMZ+m4Cl2buCLJz4oOaUTaiePMU+wHAgU7KmRmRRTXSMaxsmNYfUeg9uYrDdO
KRvWeQ+ojvwMQZJgSEmj6J3eQtIUNdeKvcXxwdXo0TO77b/XnhWB1tTvoxnhyG+bcB5G8mjP5Xlb
0U8tTLhuhY5NXfYjapdFiFI3z6AqG/gazHMfJfLEQJkLO5Qn3MfFQpUmNiGPhxz0mmz7Cwt2W9mr
W0UyNHfmwTiWJRjueF5Ltze4wrwk94bfYlOBj+NVSjSFvDCreuUVXQLJCk/vIpfKcwEOuqpcXYgw
0FSvKy2jaE8AldNXjBuk4OvgzE4F2uYbZIoR4lzkV7ZsZ89p66FcwaiPCspRLacyrRbPuZtDgLkG
zQaOeLstLvXNArnANN1IuRhP/Thk6pBlN+Emmzomm4+vZbrkI6YskIrOd3YJJidOnNlu2d69A8Iq
sv6/ndnh+nMgUGQyrJRm6AcCgYTX2/m5ThdxVPRgHWuiLDJlBypZoCscaE8qZrQ25HUh8P4A9LJ1
79GBHOYcOp4jkkhd41NHDsN0OrroLHT5obooSBzXxHbzGEBHU4Q2y2GH+HHbUwC3cgq7CqVTwPXq
myJQdlKYJX7/BEt0JFrUIktrzakBLTuQzaP0M4qaVzP6o4C5/E6CelFvtPvfvjAOwKURLavojTQ0
cX91u2tN3rLFI48ABCYeYM43bTh4agT+4cDdBbJo9SSNjlLDkUhhlWtl6uiyWgs8XBzAEW/0vt1y
ptx2I03znqrPsSz++YEHAo4Il5UTlgfwqHcQa+Waj/3HLygQg6ZHujb+3Y9PEPKQVkZHGnyBk1RW
kTaGkraMb2eyNf7imUjtheNtqtvxWfp+nF3dgTRulQ5Xh1wk6TtI47Tm/SOgToC5xOthmPFCBVMm
79Sd44tDjyu8K6STT56rSWN0bXFwRg9kd2LC+mxJWnaXRYsk9pjl9nNS5u79pGiaBJzjjLcD2ciM
Ohwnjxiil96YebOuylzAdWVB3nqcT90AyAnmDoaN/CBP35FjcYKOgmN0cowY4sp+q7Ktbn4yZT1Y
3DSLqqKjDoaxA+1MHTopmwphAPASuaroiN3m6D2vsZPccI78eCIHV1sHQR28RTGfXGkxJldMjE/U
lzxO5I8+RzLR/q5Z/f+28T/gmh1s+knb+MP4+vWozfz953+0jevOn4AH5EheiF5NKDA06UfbuEb+
dOBKI0UBQD/U3Hi2/WfbuKb9ibQlvHvuGwI8wcFN/Nk3jrZxRMG8xQZVAh2VOu33+saPlQMoFxYi
X4046KBRTzOlyVqCir5ufrQ68nbLbO9e2yGH+e+97qHcNPJ0v+CFnsjkr+CB1dKtao0NzDXglZtD
Pfa6TXLVoZra3lK/2bg+2aPWSL01zB4tJKEBgD38nHA4GnA4bDMVBprgIwrrFrzTRVtqLbPwHYon
kMzxNAa6+K6GkITZjlOKlNdoI4pcmVMsGOyfYt13Vw15WrF41DeONZUOxKa7cgeA/zC/GbzSW78n
CPl/P2sjyhP7I2M0aUxF21q4+/F+uOSg28vtLdqHfXJVIaK5ez3Q+9sfVuVwXwWbdiJP8J3spErd
MsX6eIsUKAnRGcktjZSzQXhmf8hBXxKKCZjYAQXnsQqVw5yCzxhyaMjH/9DoMlTYxzkwfaAvy5N7
4vPzQ6ABMw26BktFV8axwCXHmHGZQ2C+o1+5z1LfcLTPOUA9ZZBD3gsv7U9x6GNwYTlOO0zREO4O
LSaK0Uyn39TQlGJLvxT7JLRD/U7vPe3B3aD9+ptzXXz7+AQFF/SHZNTgeG8wXicRKCMmtJjmsQMy
UulcOeVykbNZ0lEqvK1cBLc1GKaBNQTtjXB4APAiDIUoXALSm+iGynd5a6HdXmm3H69FJojv8oGh
WdesLMcYaxmt8pqy5l6t3EeLdpIM4pktw3oMTqsNJmZc7mMxVbFaa08hJnYflHwNkq4KPl6IQBz8
bq6ORAiOXqIr1Biynut7dd3CVvF2dHtvyG/WGePM4VEACaPD1YOXd7wYK8HQzDxDEncpx2ueyOpR
t9dDbZtKpgnPKDn4fsGQiAEDANqKxnBtqY2opMSQeZneuABhyZxN6tyinRmAGRhgkhhfIa57V7sD
caItpFMBAp8R4pYETBzpp6wcoqKiIMsuAgzZSGYnzikFOpGQVMa4H4IBQcnzokvqeoLBWMoMTMv3
bJUVHMRc588F/RIhqHdsd6NRAbsJNinbLoaXRmrta0NghhgzD4pgRCSApIvifayM527V4cpEU1j3
domGcTwieuKVWo5aB/KrSi8Rc+YpgXb8vboT6iPaM62qKFaXEH1HFzWYswaTxy9WP/lxx/Z5cudO
EoNxfksx7AI+LpSNTjhipjZVG6VDCxL6Vu4Ab77JkTziVeP1CU3vgPv7H9Kua8lxHMt+ESPozSut
TCpT6SrNCyPL0YDek1+/B+qdaQniCl29MTPdE1ERdQUQuADuPYb3YFwbJVinMKQB8uJaUqUwk0xG
nwqjLMM7I4+/F53yu2gUP0rVw1gnbgHGEwhfnBS8tvVgJwu0DNIwGjrMLh+1eTQG0KDsuExdqCz7
lnxnRarfdoMN11uv43Fs2Uf/abGeR6T75SwXt+nUkcTATYRe+qaXNqDvHdzzHvlWQ2tb7zwUk4+t
Lhv7DsIxdpQuIsSlRiiPIzpnfa7mZAX8D6ophZsziwaMy3Y2o6qgd532vvAJnqOgOe6agHfbWdtw
54Hky6kTGjkmeEmAhdXWzjh8zGICV0FuP3Hlbqqeh2HWRChJuTKaOMZKb/E1X9oM+wQGy+K7ClRI
u+eRyxh35b/ONEhr4PlLqatX8NM8tSajA+/Tlh8nXye2+dn40kNyb/jksXxtUKbZqm6+BeNE2YU9
usQwoEAfhVfUWJ/d//4MtqCpF5LWDTU+o2wMdtgfpqq1ieTdzplsj+Gv5Q/YOa6OAIigjXL5DRdc
+kFYxJqU+jSliiVDbVt1oWxJAX73MuW1n9QzpK8SQw002KjY0JWYNzmM0YO+kcNv0ICNDllnaTCQ
ndqXZEqVxzif51+3f+haPgK2DY0X9JRos/7yd05x1EAVFMeWuKNkPxjWAjyeelx469phfB6HPUQy
ZH61w6zTa0Y6OFpi5yKKydp+2ID445IBWEgoW0BmtTvwNpTMlEROXwOlENBwwAXAdZR5phQNHLTz
CqPM8Z9qq70Xx8LNJ7i7Drb3w7T77YCejAvzzE9h+6cl9KvozH7WypEo8LOgl7nZk9CePIHYKVMG
9Wx3GJ3bn3QtHZ4PltnXcaUZuUbDyYO+6aOjBJTk7QhrWwgMPzzHwNpC6ZP5mAOk3zWT3nUggeTN
WRqM0vA05dLT7TDrA8HKBM2dlkCYPSTq0SArPV2bc/2gFyPEx7q55czWWmUADuWg5uNpAj4TC3Uy
ixH2JnQw9KBa7tA/eg63KdghHZx+FE/t7PTPMYenNXEelVkThhVPpTEjqrnkOzM0N1WHlnXN7XXS
v+esGHgVh1kM6aQtTbrQT3XQd/Nh2oND+EA9hSEuueWl1rUPBtQIirYaMBRXBKYlynvw+LDyphDk
OtUUvtelxLnVs43p04jQO0W5DA/la121dp7imVS4yswA5S/bmnpBIYFM31K4FfG5n2uVAPRqgZ4C
Gg5x2cU+10UvaxkGpT92W6uDpxjt2KIQ8LMJjCPvfnhFAqOP5bNw7KtFLQARLQccHHJggmJud0iM
6E5LQehjyK7pU7hI4+TPwjE78ChL68cWWJg4EICIvYKJkUQlwKpgsHQztC1gf9QtpvLMrQFgw+x2
Thfkz9aRB25YWzmgQ1OVDRPHBAtEhjDKaMwEd4NCb58F6Hp1TcJbOKt3YHrIgaO8gmmEIJVmnN6D
ctADrNm9VD8JhY6j44/6GMgOQe7WR6win9u1XXtkwyn3v6GZ3S4kuWQmFp4Z1B8OVmn7ZQbDYnRL
FzayPFT36jiR0nQI8YKQzZZbhMoQpGLGXGZC8wuC29DziqFHrR3BjUO7T5Bntyiqh9u5en3dnkVl
LhJKBQ25scC27Nz5N6Bb+mF6mJ0woFTUTgTUCUTYKDB21T1Kn1zLIW545kgaJUkUMnqra1wzAMZ5
PxAneeweToY1j9M3C7w/uEk7avBt3vBwVqvnoQQJd0tBLQuqQpeXKJI3QiWkmPHYgKrkhPtk/26M
H7dneG2LAKr/nyBsYhgWiUA8EYmBkOTZjAZADSaRxyheDQJVUcB+oD+gsvtwmDqNjCamcYQXVtnB
okpu3dvjkFZn6ywG/Q1nL0O0QYwlG+k7ICi2Y4w1Qm2Ou41ysD7Nh8nLQBnhlZ5WT3m8doAvQkkI
kC3mLmE08qAMCc5BihCPnTooWifrgNbQgpMDz4O8KZzlw2ztfzNatNtxfwFI/Qr1X0KqD5JmmFFw
yHbw+v0OjWcokvh0Q1iBBh6sU5Rcp+HV7wiQOMop+IpX4Fs0gKwyFOilRgPuvYWnqRFyRrZ6oz8L
wZQopyrqilZCiKGq7MQAtHH+FGsMSEPpRs23nHnkjYj9gDHI9AVBOKGGmR/9huSTvFrA2Yu+tDNq
h4+BW0uk528W5u6kCOYi5ipCShGeKCOOfDA0lXpvTZGTq08DFw6yujPOHmPMzshSEgLEjICQXwna
J2nT7aUnKK51KDTAgtuZv4f3PbesyItK//xsPw6Q5ibqgP1In2bLnV7bA4xMfWhIAv8SmnaBEofF
d91dOxPPZ5dZP5GeYf3AJxYHxkAb/Mu+eIOXiQeXDb55G2+MzOpJR72HjBpmNtKGyo5Gq38gdR8+
GTLMdTgvCvrDr67cf9+CWVZBuOQmlIhw2MuQnfUgTkucMouhldtkeeQPljh/u703eAGZ160AVqc0
q5jJZa7vs47sI2ksHWvQP9Us4iW0tX14dsdHO/pitZR1XYWpjHM+VNLdXEybOOZsdXpa3po/Ztst
xVDEpohvlW7/xknwd7fMGwmz2xao1kKlFHEGQIUUF2Tod8qRUqEJeWeJTrSNXuQBqKHYC53lQaps
CIYDTWjzCXGrb5rzSWW2YCQ3vZjSMrSwqbYEbnQkEI/yMzIbzsJ2w4W80Sm8NcXM3huiqK4yEGJB
JUiPyR4QMCd+m2BCCWHgf2CduLL7NB2KjjiPqBQDW33Wy3Rq+xkLFMqLdll8VfFjCLWj27tg7Qqo
6SB+AAtK1fHYIs8k4kFah8AJZltoenV3/Zf2Q981R2mvu1ogzJ5wkBy0b2WUXeYNFxW+ks9wa0JZ
E6QCUBtF5htqpVBkpUS3vRD1Ni5X34UsaZ12KQso/gqfTdtuxcr4VoT9e6ekW0lPOH3JtZo7ONwo
b4Fvd+p8Xe5NJc6WYcYU2dAQcsyl/DDUfF8UkiNUil00M6Q7ZceMBBeydpuYbzK0UmbDmwNPR8qs
oNN9GT+Pc/yyCJZQy8O8036MSHnbaG/saWlZe9Iexw8tAFcm/xgO4ib0/sxe6FRg1oDiAjQWWkJQ
RGSSfCk24zh0iWFrYxXusMDNIFOTZpNEy+LoozH5t1fcyv3gIh7z5GlNKCp2UAa2K9gt2oIZ3xUk
PC4VksS0vOpwfLSjqPm6HXQlO4JvCPIf3MEoKogdpAJmUUt0A7rNn5M4oVcUbxLS2TJJgjYbfFkr
HjpJDG5HXcmVF1GZL1sqSjMu6CLjsofDuduaY8LZvqsRINNHax/m9QWdiHK8UC6ZTeRtkb3DVo8T
YOWURP4xUF7B2Xxt3wpuiqrNtQwF5zGDxDsAD0m+hbQ0PGQa9/Zs0W/ApNeLUEwqMMppHsQSeg1N
DMqroDlZRWzR/F5J0FHPXm4HW0muEERCdgX9FIZxbKehaK2q7rTKhAh/6UDLHhsczROJV9tbnT6L
kqaAwQEknBlTmCoRIPgIA8B95Jaq4dSaqxpAcnVCxZm/lY0FVS4JanxQpICjAbPGu6boJy0hpr30
lm9ZGJLQQA2ydFWFOCmuNF3NrV+s5C6qjgLvIvCzUXBmxodLMETejBRblqiOIcAyldS7EnrkSSG+
xtAJVofIgXw9aD7in+cRC47C1FIPdfurxljWVMMEzhtW5qJ7HV7mdpaJQaEvtjaI8EwE8wlWGANn
S68VNmltHWcmkOA6IAuX2RrCjGmBvxbpqxcguJ8+W3HzGNa/xGraygbg8GV4UNTqa6klv8l+qAav
1nm9cg0c1YBC0iUFfB5z0RvjOJvkBQ3ItFUcmNXCfrSutnqZcJrfjNsSPRhgSwAkMaiMSCHw0bwc
aZWHCiROTk+N8pu6Gyd3vpdfx0MeJI7ow/mjfWmP0wHOD37o/enuRGisYxOoT9SPWTpjRLpWylpk
GzMpYYJwT5SjJbS8T3mdPEHGgrwACOiAdl4JWM4EgnYjfYv3u+VHs6XgxrJwijeQcbxxK0JGzxY4
i3alpwbaBGS8RKhaG4AVMBuGtFEypBTaiMKG6eDfieUM28KN/QFE5qp2hm/o2Mz+/CD6GtCOxuj8
edXYgLQAVfMGNPC6alzVRdWN9F4popTUL3YZj5xDY23pUPUCUKYR6JqTTsZSavLmtHT+Yr9AIaPc
z/AHQMM8CnCnmuMn9OcVcEfH/VJw3pIrH/Y8PPuWXERhahZIwdpGgYZNC/H1gqcixgvBvB7R3VOJ
XmKEhDSBmn0QXfp/DkK+3H4KPHLEpUaBYSgrx6h+Zk3O+0xrg5BQtkSpSz/VYC9DyLpgCDDm+Ktv
IXuw/bCBmdgoQfX1F4pAOv7xvtYkdA2haoF77pW6Y7KEKYxyMCZ9traGWToZzIWzPOGkj+tT17gI
w0ydWie9KoCIbmfW/Aj32d9hP7rQQd6HosibRJoFL28tiAUYKLpcEKVV2Otz3Bp6Zmb0EZrEe01L
HUWyglG5i1uYTMaxe3sCr++xl9GYy/OsD/AVoG+VbCzhyQMeq2I5VaZ7WTzgffKUVLWdij0n6tp8
wjuNqs5AmO/qqBXyKE5FgCrsXgXwCVYyOuwyo6M28CRJ1tKjRpmzGvhz0FFliclN2yTQ54OLzrwT
Wi8+hlVk95M7QEZsE+0oxMwQtw2wFtKDYDpA0/2FN/vzaxs4bWc/g26cs+KenkplYw7I/20Gf5yq
ckRrcaBAZ7cw4rn9RdfmFjaaaNXjVaJcMXbMMtaXspJQLq0WwTF7Sd9mKEA9ZpEs79K5rZ9ux1tZ
r1T1UIGMELY86uuXQ5vToSBgQ8JgJn3LJs02TPDOi6c+qxyl4F1JVwZ3SixwAhAh0nuq4JzNYxqm
gjIueOvNhnhUO2kPbbsX9Kf3eRZtbo/r+vYL0UgqA4r2K8hXrE6QXMVGk0UmdoasuN0MZGJyXCbV
rUBpzY3frfh6O97a0PBYRt8KUmxQg2JuRxCyj2pQlvC207RNUuZeL/YbsQZeCdIPt0Ot3DmBM6aP
FLDJcPNkwRbtMjdNGGaGPf2AJpFXPDRA/5g/FCcHG4J3PaA3kMuERkk4uB5DlRqsGrYigz56GdcW
yhEVPOZb804c3/RR5qz6tSC4HqgQCQR752r2hESphblRgGs3YMMCArJcfcgCT+bg+huBGHAWhcmW
abpY7dipVPfaeIDQEOU5p24h2oanP2MLgC5qq9+zQ/7G+WC84TGbzIQTQ1xB6MWWHmjXpd4l3rIf
9vMIlirVkitR3H7mocVoUmI/3NloT7n1bLMZ+dLXfY2gRb8T+l8T4WE5OaNioZxGm1vygiut3SWu
ADBuWj4pCmfqeDHYo1sXoxQa05ptZkDbRHC2VB+HhGc2dJ0ELxbGCXR5NlXyInfKQBcG/Mhgpx0o
auIY4yaaj2b4cnstnGbl1mdhzpJZzsWsQxWIyiVpmUOxbOpr9mAeq7desIt9saE3/fK59NX9/FZD
VingpeHr3Hg5XDrpZ8MVgVglFcwGbZ08l+G3Odka8x3gfY48+kTj1FNXEKuX0eiuPIsmKR2cSSdE
o/IJ2NrdS74Rvbx2rPfxPoEaaBIMuwVKdeUx+Yk3HnVN/wfiiteV5cufwSToQqllKA3Reb8DhQyE
zmFvOVS1Vd1z+dOcRMOKbOdSVYVNj1itp+6a7WfuRcQmB/U4OFZQ+tVr7MlvvKin4sqtlcVkGVAm
LGuYMdGUIQ4VFzvxQpeKSJrH5CCgmL/r3dEVfqfevNFc8hUe5EP7lqE1cnuJryYeWr1HhZCWWJm3
kAHZlyzD5dFekgLwBxHmlbzn1srFEF8TRCgAUYGDBlX0clEtERQCTTrD6d3yPnvTdj5ksIwHOAU1
eskzAC6DKr0vgPKMXtNk4zk27nnXwhXiw+WvYJZ21wAkAdY1/c6DG8HTM2hfqSR2581u/zzc/ysO
32VIZhnDkyqDJw1CUqVZxU1dybAT3IMlrwm0I+/kWl9TZ/PMHJkSPPsKWFZS04bpDorfD+Uu++gP
yz551VDNcynoC4LLr8NT6oWehpZ3kAVdbc/8TbWatc5+CrO89XKQI23GT6Gt7oUu7Fd4EUJbSz5W
HloT0O2wjhHwph/Jw7+4BBkoYEBwEhcUFRqml8stDRP4TubYWoZy1wubYu5tAY3M2/tm5ay7CMKc
DISoIUwpZcy18rPTPWL9GvTn2yFWEDzWRQxm38CFshj0CAPJ7irZtt6nLXmMXeMe6hlwp4mfQhtO
MfvyO0/qZeWEvYjL7BR5VpqkohMId0pbwT83YXFX66BB8dIgbxaZDQLLn0YfKsxi2yVOXn9RMaSp
+WOe2uU0MtuijUIYstETlMhQbocmXzb/eRK9mDBmtaczTFabBBG6DDWE5KXUf91eCmsp9DyCSWv5
Z+cyUldrhXBht9XH9Lj4+mvnSrhjURUu4Kqq2Um/0vvua9xSBevInTkPz5Uz8iI8c0rIjTA0NV2J
SYuUDWMz/VGRP+qec+lfXQ6Ab4EYgQcnSDOXo1Tidib6Imp2oz414aMIC8ai8m9PJSfGifN0NpOq
1bdTgfm0G416Zj205Uu1PN6OsXKoomH533GcutZnMUa5VaOqwTjQNz7IcRQkqcKpMK68KzFFqBCp
1MAK2Y7JcmIxRpM1zRoAFEAUNtvcoyshrHFrkN3E5yXVFcAGHntIpjBhRr/yiu1ZixnsymvEozhp
qv0UprZ5pNJ6VMorTB0eMnstC50HZLYtkcRKBmFIs2s9cg0l9CL9qLaaa2WRVyoGDytNHyfMhQxl
K4MiQCHiCbrb5dpLYJ0XCwThRvIGP2tPkEmAxixqni9Cgt5Q17/i7/PhKw2kQ7UFMI8L56Ah2J9A
1VJgCQYG/pV0AqQAej2csTSn6qXaUg50uDErQDjKI4D37u01urqAzqKx6Nqu7XJzahCN6vgCLZG6
sSs/U5EiuN/9A6GGtQk+j8dMsAB/ZthaIJ7Y+BTlBMc/p/qNg4xi7P8BwogXj/752Sasi7qLjY5u
9AYeVrmHJ3xvK0+tK/soTPIB2WubHuIn0EgEbwIfjznLBCsXwizHpoedry0CAtO3nAvBSupCY00B
IhqsYZDX6J+fjUiyhgiqAiglFcno4jH/zVisGuV4lZdbVtI9SprgtICBhCYQe2EfjN4UChOBcMr4
wLoKsl0TsCIGm7oP9Q9pZGuvxe4fZJmrTQ/zDPoawShBWLgiQEFMU6zQl8Kz6JnKd4Knm+dAMOJ1
RLUYT19uhlb85E5f/0CTgubMiw3IRGdSTk7qWOrQLAeeCk0vG6r0gC4Dbys58wvx+z2vHXydVJmA
zIGXGxqs1qHRdkqqyp18epBMTnun+iZUU5yM92XpCP7vEcLi+HIJDX1OphyklNOz03pf7tTJzi0v
9U23dWd3WezqCValn8Yv/se9/W1h/XIZu9SFuYjwBgXeQA+s4deC26Uwzm45zjbMoew/zW90bqlV
LTAGaPGwInehKoctEA7/W8rwCgp39CjDjSL+es4NcPVLgnmCJy5cyZC8md1P4DQvwOwJRLDIpdjK
aAcHK/mFwK0Wr50qyJzwizPAtdV6HpJZrWB/CHMWI2TjtprfbaVNDhVI2bLT+wKUE3iSeZyIa1/w
PCKzXEmo15qZIKKUOfERCOYOVjc/ol3xfXAmDy1vv8p3VHYn8nVe7Kt0js+Jlje+JIwbKLTgcvUU
iV6hMQk/R1TCgvij+aCExQRh28HhP92vUi2iocUCZCVCXYtGiSVA00qKAmOlNne4lN7HSYWzP+Jc
Rq8RnEwc5hlZmKkZTxIWqfpYws8u8po7iDHaeRC/WZ/yM6QRpWCWbclDbXEI/gU1nInPHCmVpY5y
MtP4SbuF+5tP9G6v1hanrri6Pc7nk544Z0dX2ut5NcSYz+IOVUXVKwMCf6n6ToYgHMUb8/hJ19Ue
ZmDMfjSNOGzrBQOTHha/bG1oB0MjWbXz2KVSk8SPXK701VpyPR8ksyErfcyykU4mPTaVuyZxlc2w
AXkD8lePdx8Q8wx+Z7/QP+B1D67OawwWpQ5AqjQwKQEKuJzdIgHhVVOBUKdXECcMCdyw+3l2pFZ+
ksSUk3iuLjqIBrwYEFQSurxXTBtZmWA80QDEBKWv3ZQC/TJ2H7czDS8Es1ykFCCtakSILsqeAaaC
NrIAPcbbQdZmDRUi4M+oX/3VC8qsVKiQCAgCc52dNMS/rSX7BlZBbmtFNfFO3pXcCbwbnmy41QCL
yb7XSB6Wxohvh+s2LWmXu6HcwiY8/zVA52jy5q1cublpz9R9HKy920OVVsZ6EZ3JM7GuxKhPIDpV
LZNQMUj9uN4NlKVIEVOKE77F3eeguRFXfWJt71Ohchj9QAJDvFqdKjqQjbigS24emi0V4KPC2pTg
k/xMQS3gvRulldwNEhi8V0RcAMwrRl8YtmWZo49+op6a8W7JHvUtFTKTvOW1h7XGZyr7c+jygG/X
Lyp8Pjzb6P0Vp+QV404mplE0rUw/cfkF4TsfQn+PBhhvYGn/sdI9YAeX0ZhsMxmx1TYLonWgTsXv
kNe/V90a9lPFIdtlDlemmB6wzNVRl/AJQScE6Bar+DLJtHOoCjlSkB1+Tomd/ZwPxXP5mhzkIwr4
u8KEnmIHknYXxI9jB5I/Z7euzi4SDpwZQKug7fTL+JIyzXVGhL8AT8PgUMgf1dHIf9Yf/MvqyoZB
eoNGMoSn0eNmqRV62pqkDaFII7Y/hHEXFy+jEPuA1W9u78y1xXoeh157zg7GfkwS0i+IU8aPRPhZ
KsdU4dQ/rzMPVWyDwiZl6gI3yHy4qpBnmNfXwJln1WQXsv6AtibG1QaGhSeOCIfV22O6XinYdKhh
wDEA0kFXNoW5DFuQMOkte1TyBxKGX5MqO2E1bcYm2U61YDfD9wa44ttRr78YogKPAOU9lE+uSOBI
5lFoKIiahdVBMxJ7Vq2nVja26jh8vx3q+qOpsM5CrYhaKUM0gHnJSMksWqlgWLZEPtvi+5TD2Srn
tc2uz0AEAbGFUvcBkmZBMd0sF1Pfa5Zd9p0tFYlNIl7N63plIISBCqIFVClQW8w4ppCEYt2ZCCHl
dpNo/qCFm2oqN3IDx8DoZ5OXbk1+AYhkR4plQ4jCzfD/ZfOpHdWgXn4VA+GgDFeyN34TDKphWgjl
6itPmxKQ7Fgb4SXTeiac4oetAV1ISh5WgvyoAb1sJy6PRnNNI5IvgzK5NGstFRAgBG1c44fsLZAQ
zbeRgxIH/zikT+zLPHoZi9mOY5ZLag+vCRzF+mwbEAsw74qvASphXJ4r/X5sKHxZVNUkA1qULM5p
1tW+JW1l2FDH8YZlcQlpt1WJL9mnjpynQQGgRl2btppHziJnnG95DZ/AtMIAjv6XAqdPN4Oz5BaG
UBHpgLI8XYiBwEPLNah/oZSUO8Y93m6OtpvvDNUm78MhcWEId0fe/nyn4kyC+iIKZsDNMYdGY+LS
pfSdAV8NT25g7mVBbJcTY+VyhYK4iAmGniTMU9mdGnYdjhADtILBrxdH8zO/29C64yb5NZzMUfDC
IXYp2twXx0qOOI/MGt6VeTvAvRdYx/ybGSx3hSt9p5atAlx2VF+grtl/ztim1f+/B8v6bIaWmAN4
g8GOzuIbPuRSWsjDdBCmxSX9QGBzZW15dbL1YYIfg8sVwrPruA+LaRHCybDFIrZlKXIUGNv98ULB
sP4OwWSAvAIVS4sQIsPjqYxbQAFlZ+IBOFcOjosozN7H660zlGwGCkBJA7FRcRp/IL17t8eycuOm
3+i/g2HRZGmf18ANYTCtp70v73+5vUiP+o94Q4mg3FYCZ1jsOdJMCWyrR8RTntPI04NkQ5sJNbyl
XsINNc2Sbf4NbW1RoMcPLCyAjth2zFzmWhLPtbFg1y2GS3Av7cnH7Xm87rpiseFhCAAsKC2UZHl5
OZOUQlUJQQgILz1Cneipd2Bb4Zpf/SGHSZ4jBUPuiu+yn7vVweJz+NfOpYsfQO88Zwl0zsRUH0ys
l9EZ3PY+31FFZsmp0Q/ibuyVw+IiFr0snMUyx1SblAaxYEIC96P2FZKndnyvwFKq5mXM1W93NrHM
bgtTdRE7OrFUgIFqTfe/Qpc+CfV3xEMDW3m5/SnXrhUXo2NWizLLZqQpGF22VUp4BBRu+tzs23cq
Ao/0/Dgc/tXLF2gnFbwC/A9efWxRuBYtIcPFmx4Mkm/5cJQiTtHArV6GChLIbrfHuLYLKVsRBy2l
fLJPFquw4rCzBLDbdDzwieWU8n1jcfXV6DpgLhUqgsB1UIe9Ip5il+skVyLBzBZQFevZXnyykV8B
wIzf5drGTcaVHqOXWnXCJhAL2MbzStArC4dCjimgGhQU/PMyuAoNjdyaetRJ0vpunrutVn/dnsW1
0xwhwH6COe5p51+G6OMaYPV5NE9r0wCI9WcGhhf66opTN2h/FV70sByzO5PzTLvGXlJGly4BBE/1
a/BWuwwswJQXGtizeXrQS2BBbntqLe1ZkkPiU8lk8ER3RsXmM3fbLRxJnytYafOAcivL6K/1CgEp
2mdkHgX1YAjlDHcgWwzvVbH0O+ndMnmraDUIhRGACoW3DXuiN/2g6AWxMNa5c6Qot4Vc2owqT6KL
ThmzVkET/DsMk2fSpNNj8JnwLSuHNDCblj1qfJaGXg80L7QmYGvvctbP2hLFrgcAxERp8YpWm49J
oco9YgJneFd/O9WBPJQr7pUddV1PXG5xb+VFAWYRhVdSbimY0ZcLpyurMpkLTKaKk7c/6NvZl3Hk
Im9z8DlrF4uLSMx8wtldq4wckaL7EVjoehdu/1PIIz4fM7DypEez16IvVBHoeDZ/Sh2Uqss+x5O+
x+XdVWfALSGiqpFH1LghT1Iv4KJ4nO+3smYQDnULsEMMvJuYFJM3hiAYU2rZRW34uHRCg9ASA6ls
t8n4q5LJRq/3vShtq+TZiCCdHbWOKvMe/yvVLtU8echCIB6/hi0Xz0oZiU2E4cZbHV72ZdDtCviF
UMoUf57p4cdsE9RqsGZBvkGFjT05otZEHZG0mOeTWB/VrZa8LuC1KVY2vQlrFx1G9jj7r6hoQwwl
8AXNNtx+i43Qv7fRtM+hNnr7A67sP0oqR/qGhRM6IsxuAKYAitXSaMHeYdlmhuz0UsVbI2sLE8YV
eNPCEUFBTfRyx0FzV6nHaUKFyxl/V3cDEFeRXT+WQbVpSzvOdg2UOSOI57zxrmlrc4hPhHPeQgfm
qpgnzG1qlc1sASSNd3Od2FUsubnFk8q+DgN+FOZOQ++cVrmY69LYpAZE9ywLdJHRMwXBnfLRETKV
kyyv7xIIQ6nwqD6hVM82rka4CZc6XGRsPd1V5UErakeapa+pngOi5y+3F8bKnkI0KrcBHV8cbCz7
HjOWan2Nsp0lHzOIYA36L6kLH1sjfJWGBAKALeChmae0lgP+/Ksy5P7tX0DT4+U+o2qf6CdDEAim
WGwPO106XYgHbOqui+8WzXCFyhqdSNGPojQ/dmO6VfqBk7PXviTaESbIboC3X9WAlDHWAIIKkTer
L6tG6x7+1CKczW+PbO1D4izXTdhtQ4iHTVcKaeJYXLBeJkt/bMt8C7BXUInhYRxqNyXcJC2vzCTt
A9BNjg/J1nWiJdRbuNCjkoVuGu0pxW70KgUUiti+8cRM1z6bBbEquttP1PvL3Z6XYZ7NQOfZ0ADx
zDx8jZRjrpp20t+30VcUlt7tybzOYGhvnMWjgz97ibWtrvfga+GTWeW+yCBmNIScjbdyy72MwVw2
MbN136M5isvmTDZD71AtdMGTX+bMMR+S0G5faKU1feXicq5vK5eR6ejPRid1dRZ3MRZkkqTfCwFc
G0W70+rGlqfMTvIPgUi+2Fd2TjhmLNdJ+zIw3SnngZW+WQBrQ+ARLQhsvHLewfjAHkLNuf0BV3eD
hr0mQ7AZhxFzBI1lIQjDjNVZGthpcxe7+ix481w4wpL4Y//7drjVLX4WjrmVJShehSiFoB3RxV6C
DplZQa6x40RZufzR+ft7VMyZENVCLarZac8tHbTzIe15vwRYKmNpWzv5H6jErWwEHHGAVFB2NRoC
zFMkG2UlqkVEMAfNiazoYEwd77lH/w4mJyM34q/HcUdxt8yqgFZ4vMQzYtC7T/NA3dmoNVy4T7lc
q1On7VYsukLPViAkEaFY1CHW4JMnBe65xFnuk1eYzOR35acF2OgRrrOoSGTAAzQQ34EZC9R9P4Vn
bVsclufI51VWV0pc+KJnw2eWqhbBACus8ZMaP58hmZLhiSSWMNo2nvJXcysf6WRUlpNtYi/7FTo8
UZWVtXsRn1m7cRbWi0Lj92Q7h5Ybyw9ixtMUudY0AQwQrQi8IhRqxsE+N8ksRaekg/uaDFFaU4VS
JUz5TFd8GH2qOQgz6h0ORqmmOY+TDU4MQvazg1kHI0O4TVHFo8vPXnV6mI+EhLb62XvNdjwoWqBJ
qHl1BLwoYnpUGRfUYl+H6RpMLA/GRxMADqJ9NZCsFzYRdSfZ3M4ZKwAp9BX//lFs6yANhUSaMvwo
yvRccIImQPLjd4xuvNE3RRDeK1tOyJW0iGYmBJBEygXEa+NyHka5htp6HWEegmYbNvB01/z5kPpA
nP0sIZPYAYfSIPAY2Vw15LVtDqk1kCUAz8bFllnnZl5bTdjGAO/v8nvqd2w9UeMXCNe9Kby211ra
Oo/FrOmhEpQWkoiY2l250QMlAeDNzKAsD7wNEH0A2TsmACnltvQFVztmgbwhz9pX4nMrAzQSs/Ko
+apBIel4rbAzrrZWX5RJST/ygN8Q6OBtQPArhLa9/KPyxCPFNqMAo9rZK88e/UQguApOla5opRCS
W8zn7hItDNWmwlUCYiBdgkwGRXKP7L5bie1nbu7oPwHqLuz8QFMuJWEmH19QWIX0V1CjRJo/cBf9
yrURyHzkO5HC57EWLlegYuYTZgs/idbTsyNky3fqkTYo2ucI/cfb631luV8EY65xE5lUMZURrBbe
Mg2GdlPsxDGUo4cGtFeenNtKJkfrUaf8FfjCQ9uCWeGxOc6xZCGcYveO9pDHSHWCTbxQsHu4DRFn
2Gkeas/pHtLR+nfe3F4vevj+wM/AgjYbxDDZt82cirERy9C6nKIvMfpt1H9+/aByJPhupxvV1Zt7
mCTLgKlACD/TsPEbmApQX4oY2EoDyHUIHHI5T+hWM/sHDV2UKmg5GFhgE02gy/WiQimkw6PtHUCr
Xn+J66GG6ndUp6nY3JlFHhm/IhFvZWi5F0tbNZ9qN8JswJvEcjYO+RjpcurVeW5KsQPj3Hyot2Gl
KJ18r+CJW8j+mKntoARlbPSlFzWhIpHndAIXqXJ7ISlGHAZhCu9aZzKVDMJ40dSa+vcojGFn7pvl
XLSdPyLjEmMjZ0ucOKUlpOpXKIbRaAMfDuhLkMdpong4W3vIzRnaXNapC/mOUHtdognHki2Q1NgR
HRqumdeFs9y4AqGix+4EA7mIOLhNGuJByCa9961x6rXGMQ0yFc9dVuEOb6eky6fGLiFykmzyNiXV
bwUIvNLt+6qPLVhTQrUT8r551eYOmCV61TuAtoUijhojrIrfudiY1YfQJTCBmsC1sr7PNX7mQ2sk
nbLvJCL2AC/pZlRvYZs4o9RCutEUa1uTC1P5yrNJKXu37fUB/OpGMadltgkcKGCjp9UlSeGgPTUJ
rIjIZEH1q8U0v2SLIGuTW4VJY+mOtZjJUMI2cZT6l0SIlAnMYUxrZxMg0vsXbKt50TZSY2rCZ2cN
inYsRqUkP0iy5Pp+qIUqSvG3qIO8japE6WofhjBtfBd3qpIrzgB0iQmnlr5Iw0/NgMSCPynLNMH3
N1NH8ymuhbB4LSQrI69jqyZl6sypVAiBMIhLvjczpUCiNFH76fcQLps0D1VYJbzrKyAgv2mNPGBO
xxbRMtvszSx8zI1UR3FyNKTpvp4aFTfNkoSqS4xUpY4NZlvsCAyG+qCIUT1wsimR0r08Crr5qbYV
qXyjqeBd5qQtEcPSLRQg1aH0WtRYhiSO1HZrLKn+MDVN50aCGCpv+tKPaFtoUSFAvrGO5cbcgIqd
KQcyE2sp7SFqm24b13GWRU70P+x9R3Pcupr2X5maPW8xh8VsGJodpVawJGvDkmUfAmAmQRDAr5+H
PjP32i2V+05926+8UJUTSBDhDU9Y0Ot/qDSwazA5L4OanpxRtDNksegytjk0N3us+66wYI9WmAig
Tq3dEnDX0amFzzfaYKjZaGDnFoC8RStlwvyysBPLXoYlV5NXG7GUleNvi6BuRzthbt/zN6VthD4K
5psjFat0sVTLFBM36K1vEQp7utq1zChXve+akhFyd4OleposnVmiKaSNTlC/efGsfuI7Y2wXacJc
ISDuSB79khEEogdngrI1GPY8cKu/4FpeBjYMgoSUL8M4sOGb8LVt3i3LACBcRYLG9RL4JSxo3U2s
Na0ToZZbgRzTDo27mxZ/CnPDcZ3ymYf1pPeD7xkGzg5zXpLGaA3YqVlg9SS9EAoCRrXBrYElYWFq
W8Vu5ZhYxwseesKsF3bbvaB4Ubs/usGhpoOCENSy8JZF0fRfpzni5n2/aFqYiYktZbzTcKLlxqlR
QxrBaVsM8cgYqpyDNpz2wa5Gx86IGgsg1DhIY/Xr4HSe36y1LYOfRsnq+imY5gniZrIOPQ6QuqvU
ls8zUfeqHf2qTttaYtzYEVNL6sMQVCGf4wgS9s1ZBFxURTKpwNBzzALZlicR6QEQYqta6BYWTIaf
lS2zjW9dpekCmXaLeFMMXoNt7bHMAnJeekHZsYFIfPUXrJSmmmd+U28L7CU77SY9Tbed0xPn4IQC
0BKHN8sYc9Muu69Ci8mZk3me62mOi5DpnkCddTD0/8A2/r+5/H8i/PwldPpgLn96+/5Wvk3vb+N/
/sePllOudt//6+9/9LfDvGf+A0YzuPlR74aiKBKp/3WYd51/oG6MVjCiTBTnoA79T4d5w7L+EXk/
HUDh/4kQ1Ea6/T8W8zjb/4FwBXBmIGJReQ68/4vF/Jq//SvQBWgngutIgKfAz5++z79HCWXnGU4T
lWGC+u3G2Vb5sjHyfweh8dOp8WKkAM0pvCqYUOB7XBQrJnswvYVXQVILCYapy8xee8liNdjdKTCx
NathJjt6c532bIkUbuXSbY2bpbDLMA9l6cF1nixuaSde7TivkPkM3uBaxn8YcmKAkFMuDej/irLN
K2QWfQLKXnCop4LPKUQsebGZZbTgaIJblZnU9qwhJ9JKAipfJVSxSBBFoe1rxS5XoYT8eqMGCqGR
fqoYhBeIdmF20UOeF7ROh1QLbJP6lplQE5JtXT2X1Uj5obQnDlsauDRLLuMa3rCmiINqZPhNSOB5
uPm5jz/Cu3oNZ3NMQmYhkAEaSCAeDFmLUlUsXFtFIiamOVV2XLikp/tByxr+8LD/6KrYaxZ3WmJS
VBFtYuqas4g2zVBK/4emQ8gh5UD6YWCxbpbAy2Q/qnrjcJ9DM26E3xQAD7yq+pOcjTHcRw3kAPfC
bh1zp5ldqMS2eyd6N7yZdwuuw46NeyLaLtiC2gIp875zKijOkbBACZZ1i0gLpQoRr5jqO9510a5b
fD/3wlk9RbOo0r7u+jpbZtsDF9caVZXCxYSLjNm2buKCyPLkVPWy1VWk9n3Ax30xTAZM4yO7v+lQ
HzzgBsOVYZOZPauFm4/liLoaLs0wjyZjTBYmzCJZpFV+qxpCNz0n9tFozZbFparx4YQ/tq/AjC6A
7Cx+lEwdo1/dToV27A5OWBxbm+vTwnrzxQla+JwuY4m8d2javVikzTctDSVq9pDle7VAJUzMWi/3
hlssJ+FUBSSZI4jMKvzFYiCOjdtmMsvYMLxS5Z3WBUnNUTeIWFFmeLMsAVeaAP2N3eC54pvld1bK
LGY9eb4nb2bRu0/KrhcYYLahgt6P51bPY7dumE6NlpmiuBjKeBpgRR+LOhq/1kMngpT6c/sFWpZo
3zlw0ATVYeTiphxnOx2sydh4Phv2RuPYd7Ws7CoGfQ863fa86BsdoqsU4dp8YMOozqoJUNae1VDt
O2E5qUAicFR9oKJYM4ioOiJqbOxQq0Wo4EPXg3j2KfThNR10S7nBdvP8xIXocAwABdik9lymlHdi
OytveC1gepZCsKAPgRCZxqxpW6kOaCSRIe2p72+bstdbzDWeQSpcYZ5feklU6/7EmTJew1aj91pT
I7opQkKLxFYsqhPKF/qlQZiBqAscyK8VNZe9b4QKRVhZntumLyqUtJVxKHD6RNs1+1jSkobsK7eQ
ZACrYi+vnk+mfQjJJTsN1SCK3Gj84Z4oR/K8EDMgwL69lCezc8kNlbK4LYOmNpNxigwfYFnuO0k3
efoHi0rfSWteiz6GqM/iAvjDTLh2hMbcnrkiqOIvc3BwVcBRvhxJWb2pCgq/saQ9LKa7gX5HI1eI
uO+CgibomHpbJ5iHQxPUPloduFaGxBx5QZCTWJWM+Ty6RjJJwh4jrxMPvQ8ZUa+hANO2nXvsK0Kf
bCm9sx/ybv26BT0hThy6jV3M/qblg83vfLeS7wHnC8adC7akTFbqaAUWtA7gmJEz39TnyNFRDnFr
N5HE6LaqDNi9NqTzvSrKMZfc79wEqNQ5cwvi7phX+zc+6Y1vGtCoOCjC4Ng5LftBFlpnkSmirPMs
cuPVldoHkK7feGGPcmYx6WxEO3fbIy+q4ZA3j5uujdqbWuj5hmujh5QQtWkVM8uyZSyCEZrOxgIg
WWJ2RpGXUWulnsP5TWsZddzQguSaOzo13W7JDToBn2RPlvweLSWgv63fIOspre+kDtwNlL8mFMDU
8teIAtUpMkd7V/gBPRQ4q7+gwN/fDD3+CMNqcRvBbTru7AH1oJ7rQ4n1cgh7691pQjxSqeU+KImN
pH+Z3U1QN0NKtNntxKLrW8JatWnIDPk2ou27YIBiNbR9g70v7fFFhNSI0cirNo7SbrpYcCDzaGRs
nY45DyZx/Xfq9paKa970KcSrOIPgXgG0vDGaO58wsTVHYzmLiTmQLpMGfbEFvI2ajkSpWwLtI2cs
ztm2iw0rO5yHll3duWATfglqZp69wiOPxRLAAtGPyi9CjebGpfiO7dSzRJstzxaXjRtsyZrFxdRY
z8jUSwN3T1smcqq6TTU7441NjHmP6F08wnqkyepqgL3LoowqQ/Q6ZTbGynVkj1aMLe2lc6GMv7pB
FUlAJBaSUUYJ9WY3FbXtffV9IuE/DIHSe8x8eBjKaJljf2zEXVN7S2a7cmgyTlX9gpuBZwyUTJpE
YeGlXJfzUdStm0YuiXYlOs9pITzUm6ye3krPF+D5hu2GRKP9gFig28xmQDe+7KyESWUkNiKAvMJV
cuTd6nEGayz2OPQUOLuhtbci8uos9AskaCGZXokKq2+UoYhqgDSSG+VkZFPngG/W4EDherJPS9TZ
aa/gbqEWH9yweWrvw84dt43seOL7dXkoC9XE6Bw7GxRoTdTiKn4LNFF3cJahSxbDZHkYLkPSqrDO
m6p4qwaXJZSZN3XPu5R5YbGxBMJ/0o/BmTBPvfhL6D5OZt9kVNjmplQLBGwRZuWmMSFmadkMvVAS
pn6n68Sue3MDmWR5VkjNMu5SlNt7Nt4DGMGel2Uxt1HNrFdpteE3p/WQ/LhAogd68bIR83ByuRyS
1ZnkHTw96xyMEkp2I1uegAX3087XZcpdWZ9tIEgOQFRNwPCx/VzO5BbIg+UO9wR2+DwZNB3ooHdG
YBeHoZP9fQfcxAYzSDeDnMZdNQRgMJouFN7hJ5OWCz6528kocbkvzqjt6B+gjk0bZphiIz2JmAZC
2pvecSHl4nDkoP7sfe/dJprQHRzontr+kg9m6xxbpw+tzI4UP6JqMaakktYZIYeGBOEcIRF1eS82
uOCw2H2zI9gc3bifue19qxZzvjOjwTrCsJWUUIkq+5071v67QtntwTZblWgqgUU11kY9LCYyI3LG
tGLLcDb1hMMFzK2xhEKLPyQUkqvp0Dnhe2hOGne7XHKm/Plgmpy+8alCW6SMprtQwJqdVi0cVBcU
bLRP6ZaA53qI+sDazN1kJ3wpNf5tZL2EbTWcOstyN4OvjeOinR562NXcvDJv8uBtX6vp3jIaBTP4
SpB5WwyDPZxdjykrB3BFFqjQOGbadxbpEigfsTJ3HctGS7AJiZmisuQMGXM7lJHGmp1cZRTbsnCc
b6TR+lVXvXvoLYlqRwWc7FMPhbUDVShQQgDbOyPkag819mUeuC3NYJozZkvbQ1al8MK7SM09Qbit
sMd127YZWcY+tQuithMpnbyexJIttFmeLYRAsYfFGLchsMZD2aNlz5c255NpQpB1ZNulEWauBuZ+
qVQ5YHmUReoPS3XHKyViavZeIqbGT0DyjtK6i5zYcYR3r2zl4324C21riiSG0OqMC2dO/KAYcpNG
0EbwUa6caFemcjLFgauZfh+wC33HmNKm6KFbyo06KZkzblw2Qz8KlbTEnSwrqydZ3PNGwcfA9KZc
DtzJfNSrTsQf0G2gZZCZnhgz0skgdYemzIxmATdz8AU5uFGpj1FtT5sZ1u5AIMu52eIMCrOWEmvX
NI21C2uvxVFQtmLX1X2QV6Mlt7AY5SKFf5AHA9NuxrFgD3VSoUy31Tjh8no0+9PUhvNrFI1wGXId
Pb2N2rLfDXMaNhOV89dy6uih9Wp5KHxVbr3B1Pd9HfCsqiWoew4RWev50IYFVOQvxgrnQUAkV8cm
88w+Rl10/NLIok9b7TU70Vn1jRmIPjfqZokhJMbyBoWatDCqaqO0hl2w7CbM/gQpE4uXt6wG1SgG
rdNK6nlCFBnZIl3quUk9v1hiQHHMfSDovGtbph8LVMNY4iEubhFUwYSKwbbirSora4fK9ZB7KL6m
geHy3A4AD1rlhhDF0eq5MZm712FXPjfLEmZh1OkGJHnb22NGcdcwWM7W91ZHIatSjBF5XnzitbEa
rLJLeqcFlkN1+rmqzDZ1tONsgcYyn1Hx+7pA2eeAqxQAoSFq4EM6TzPcgU1cDYMpdOx66jtQiew2
xOTlTOLGjUdvNL4Qs9V3A3bdqjfcrERP0ELRES8W9hpMk3sOeyKeBpRQY6kjvWlRbMg9FgavgS44
rMjKCb2sn1kqLAt9yBm19Wvh9g2PITcgRQYtpP6WE95kARxMd1bvwShsGVQi54j+wKXQP8M9NriZ
delXG0md4DniHKRrTSRSXnS7/ipoiA+D6wT44gG5GMGnyCpYT2z6Jaqfh4VDu9hDYbzPe+rSPkUb
YYxiT9fhRkIdfz94RG9JV/r5QHECB9QOGlCTeoWgpAcUp1aK7qNBzyTu6lDfFBBQT9G2L5sEVoys
SFy6uDsqA/peO8pKbZ9Wt4MKixY0qgr+CojWASBYw6Q20vS5xuG2R5WWIruFXnnCO9Z/JV7BtmER
OWeLUHSgB2lsZO2RxAhneugmZMCiHKe/GuaaaUX8OhVG2L37UtAjSKNQoCu5Bp/RGLEkLAeuUxL2
oge7Q9N39krvAFxqCFtYF+JuDry3j+CElGgU8CDsE+B6oxOElse7nsvgPIzcVnc+PAONDfX7KTGG
abm1eIB93nu8iycsnX0rkBOix45iwywLSMqWLKpuqo6rnNPJBT4GwF7jtodtGt+LniOR6+thOoi1
i2V4xE1lb/SZUcwyI77b7sauBu7Wj4pUT3oGYAgnfqHFGhu65VEUY/GiZxW4cYmbIh07bT4YkWls
cbgh7xxqVGfCECtnslRWMVcdUPEObwPE7luA5Voes5pCJrvUEHSueTDluADkBsdwB7R/WEln00QE
nVqAKDTZRzB5Owts9yeE6MuLEXXB4+gHzY4KL3yHYP+YlnYJAR5EiDkbIM2zzEgTXUWDh3Lx7O0Q
BfW5tFR0h4JtAFFfFkKBrZqrXAZlsMNSdpF6WqBMTn2Ulqg2x52kdWIhKyljikw4BSMQzuhBvZzV
UkFZpfMFs5PRdcc3V+syQz7H94Y/YWXDb+omAEkTahr+6EY4Rp2y2rgtVJZT2xPLnSfWzpHo0C6o
6uLR95p2y1B/uW89Q+W1NUBZDF6C+lSEC/leUNc68iIc4k6Ie6h7NnFUd2MyDWorlQb9JTDapNI4
lqYOVY6680/mbB6jrilTuK1Cq54bj6UHF1RXl/3GWnzexuMk2WaA81NcClYeESeXGYIZaHBYwGYS
aDEfK3Qu8gkilYnXRW4KiTDjTXkuzayhFG2OKijpU9Sa5l1jk3HvWbw3U1Q74DSjXMTuqd25sJrk
/tJ3YNqHMtOtDre49do2GSAVszN5H4b7wIjqbdVL+46VFdOJaXbCzRdcUECcoJ6GtNt169yZ3WIf
uKICVQuVRzDgmLa+1LNnvUWjYaBZH6ngqFAFOlrVBJFYu+crZr610eYOBZCLnijnMen02FZpxSMP
v1FHj0gZi7uiD+QXaixAfNjMh1Elr2zkOAHdlW7EwW0JAvWiGqrgNkMDVqU1Y4oklgjQoGPcOtuq
qF8MR+LLLmZNJuyCphu2dtNqfVv6gfoSdWUIwUrkP99GRudH1Zi6Sl174U+4Z11IZjl+fa9Afnuy
Z9XrOOo86I4qVyMipn1l6bPlDshQhPIqNKT8vt5zRthtNMnpkTtLgTXhD4BXMLcWrwTyFedmGpaD
Y/jju0MWIwsMm+1Cq2nzJSgRCbKx3IqG1ScrwEPHOGCMeef1xFWJoVBIUPNUZMNcB++I6KutMcrq
aHUle9YG9lpsMH/5PmvfekLPvdCIaSl9NGccybKpNU942LVtHHQEpQ+0uI4VCuCJwTvziGyschKf
oSGb2H6DijXXfjdkTm2rFwPrgZ8gnqKG/Sy8KYSH1uLBb4GqEN9jKGya92VHYEM9cD5tDBH5Qx2b
Du/gxRiGRLx0FaC6TwFfRXXCCG0elMUaUecmcnN2P7lWIx/k7Cv3uSlrBCCxiT4vjmA0T3EfKdqI
8FQRMgABRE13W8tByN3MS1Xtq7Fx0RLCuxrvQT+bdRlPqFGUX6lDBrR96xFpBipAEhKft6bb2OKu
cOTs3LnCDNEOnXGJPOhhMq1jAeNFIyXlKLuYkZCiZFUEfEhKw+PNmQFHw6HEI5EldzaW5t6oCttp
ksgKpgKM3ULW3Zd6EILchAZyjnPBx9DPOriYjPmkF4r/NmSTjVvCdopQPbKm0qgZoEHm47xByxpN
qbAgO11VOCWmolqs5x4+e2jRNk7xYrhkaB65gD4nyCW8KZ9rgQQgU3T0t9Ng4xjn0kcNHotzcp8o
TDKaxK7MYM7EPArUQIVHSL4G0U3a1EODFL+GbXlsoajCn5ENS7pvWTg6eFpZ4j8yqwa1vyQinVc9
lI5js9sZtBtyh3qJEezt0THbHdbOpDLlusMjNSujgCHi4I/5bFnWtG/9QtSnom25/ja0qBh9Fejn
4RuVnpxNcGS1sQy7gI1TkbRz4QH5gP+ZHEMUCfyTLZEp3jo9tC9TG7q56DMOIRoqWQEraY2KhYWo
Q8WFpy3zIeJF094PqOqUm85w+Msvnafz372U/2jRN+xoy6f/+s8LFt7azAHCFZ0hdHJ8AE7cC4iQ
XyNA8YgokuJkbYq9+aV2Ulcn7DxCOh0IplWwAcfrSuzvHov+NqhxpcEjPb7OxLN+B0d+fJYLBBE4
XTWpGJ5l5dpb9N5O/ITdVuAdl15mLGl3Zll/6rZ/noLfkTwfR73AbaED1zeIyWEBXbuxxP4U5rVJ
/h0a9XGI9RF+AcIuyGV7vWCIFROGxvWmT+sdKg65s4GmdU7SNalM/tb3IVsGMc5dk5K75tbdrpjY
P7/vBRTy49NcdNVcZndzQDHNUzY9Ib9bBUBWu6oen7iIy4RlxlXS3uef1o3MFVuEPuTaU/xlBmYK
oifhmAEXhgehsdUa+I7o8cqbrYDi3/uF62L+5ygfxK5hT0zD9VOuGr/Eib0tu6Vf+m3zsmwgvJl6
Q2xvixt+FXD7sSX6+8AXu6hpeTjMGgN7D+YelcSnOddb75t+pqdlE+XjPX8CwA+gW3Tbr+Ftr0zt
TxrQL1NLI9TjbFjdJwA+oJaHhmfkJYO4gvK8NsrFLgnAkZ2DAqOU1RgH4ns0vY/kmiT0tWm82CdB
KUIEEBgE1d7cH6IzoShwhkV/AGwicYYmQcVzwyOS/j8unIstMeP2juz15DHz4qT+GnfepspoFtwU
JOYZAosNT8yDe4UC7awH2sf1CkIP6IjoqgcXGEa4VhVO2OF9eTo9kXxJ+LHfyG21VVkAyChIPjmi
5HsNM4smt3cSDi3GfoRegJ8579Aq2nUg1l8Dsl6gx//3fPjXU12gANE/RgerwlOtUGkBYe6flhZ3
qwApsrLMPLrb5QgJiNy9//NnWD/vn6bj4pDoClW6fMKdieJ4ElZPPZj1fx7hgtTx4d3Cla3zy2ZB
TqctxTEE25VbFIdXJWA/Bij33N5JCI7+HyHJHwe8OBmIQ73GBZAARxKEOW+8Dbr5ZbYqS6N8noyQ
BFrtKxHpX1e4+Pw0/Od3DC+uU3dQuNgcfEe2cyugkseduK3TLglTQ8ao+t0E+y4tyqsH0tVJvjgr
KEJnR4WY5CmDkQd/nBKSrmKkAh3w1MaVdk356Scw9Q8rJ7w8OFDAQssDr1q8+nsz5yk5E2C/zSTM
xnS1NYM1bbxSeIpVhR1tlTsj8QDFh3rQEAeJyCA7m07nEULw3o9qJZMnV0VA1m3z4RnBsIbaAFDi
4AP8vvQK3qFkua4E9448WiJWKFfCyutAIdRabIoH9EpuGBxjCPjC8b8Bp/n0sPll/IttXSGL6wnB
+Ou29p9W4A6c+UB8a9Jqcw0e/ZNi8qe3vdjL/SztGXJcaLPnPpzszisSHtBsfpi/Dsf2xoNWU7TE
4+t1dvenp8i/3vOS6QEsESpvC95ToMpuVHsB7t2fTxH72hAXm1oKr13QI8NU7skZuRLC1J+HpPxe
Y4W5MUC3jwI0B4qzpUNas2+zKr1+uHx6J4O66ALqBH2SS3h/DdKpsNbz0uhRsj6p8c6jT1dedd2r
H74jaHBQdgDc/oNmng++vgNVFUQ2UMyLf3I79NbfmbdzXnyFUF8+HI18PchWoQdAU+dHf3vdIe3T
N/3lKS6OMoUmDuqueAoNqHCrnuxmTh3jx5V3/fTA/GWUi3NLMxIAb41RVv8qY8S55T2H+zalUMUP
DsOpyae0eoTl8P2YAPJrnaw39xt/Gu+vGyReEFb/vjcgheAjPQNo4IMuoIz0yDUM2hPgTDWNpYgh
SlJlq0A/OtM0Kb/qBs4nJCvTa/zfCxmmj2NfnBTMQx3QqjE2MORZtQWnIvUf6W41LTOvRa8Xonkf
B7s4KMzBBESjx2BiU0LOPSEJpjtjKerND+HZ3lU7dm+n5rN/vzyyLDpfe4AL3s6HB/AvQoLC5J4T
TniA1ZpOpzisbuFrm9J98LgkMm3PU0L3gN+OMbKyTZCNWfWIiAycsWFr7rusu/WvxIWfJsIQ5LFg
UgeFHPgc/X5VSIMYDuB06wcwkwJFpx9/X6DW3t4AXZ/XIEok1y7Rzw61ENojsKQ10Ua5FDqChb1L
NF/nYQpBwDg15rD58wb7NPP8dYh1A/4SfZWD9Nky/pxq+rZk/Xfrp+ME3SGyX8+QMr32Up9lFL+O
eHnp1hBGtoIWl+58D/Amio+odfb37UBQNzxEDcqLo7wSZH520f865sX2iQRAl42DMedWZ4X74Bu3
lvUlsE6MP/ne65/n9NpXu9g+Y0GVY6+r16H2O4AKaNhYV3RTPzt8EbFAwAQasOB/XByLkwh5TRne
pw2/jPZNoE/GdOWa+ezk/XWI9S1/WRhDyYduJBhCBYDFdyjXOulQcEhxtNfu7nU7X1xo8AdfwdUB
BK8+aHB0NqgO8LyNEhOcbtADH/jDKrdabMI+jrLmWJ4hfIVMHRfN8C34ek3R67OD3QOkGx4dMF2C
QPhF7BAoifYYjG2wt6sbyPaOt7zbGYl/lPuVi+p8aV9rmaBzd0319ZOVApmt0AFD0QcJ+pKfWNvC
UVWLaCH0D736rszvf16JF3ojPw/SVVYeoQh00mzQjn//iI2Koop1I/Ya6lrqtOpycjEjf9YQ15m2
QLJc+5afBCdQ8Ald2BBhLj+4kJgd2qRuibDfzEEKeff3qyao982E+ihSDo44rEZrJm2QJY9J8Q5j
krs6v1pPW4OPixUFLSEgF30PM/vBqqPsAYWKQJlKFtjY5G424MW7dwhLiMxGaH11BX2ygn8dL7i4
sLqgjbylQpjC2yZxqiYe5DcCRArcqT1cXU7nHC3V7f78dT85BDAoZIxsqKFDgOTiIPWNqdcC1rHo
H90p8iMCOQV0lCsf9JNjIHBNZ1XTBrnyg6dUq8xiHhpSoM9opqW4B48JXDIANqsrKjGXewEMCXyp
EGBdbz2pLwnyFsBvEY8mnZTTRqEFW0/GlVe5nK/LES4ugVByD5jBDrJrQGR3zpx6Fm438LX+/Fk+
HCfrOBAlhB4ohHZgIngRKiCnlKiPhSggw87XSZFksTRq4h4WNT5Mw3liczDsJxjdXhOe+rDf/x4a
fDWQ3Nctf3Ev+J5qfRVojeoVyFNt5mYSdWSRRSomDeQxrmlBfagrXA54cUssgHbPtDc1yuj8KHbe
AcJoKJ2vwnaN9W80JD77hjgt//mCF3MbVHMP+FlUratEANzRl3ecXDk1r41xERJ5raUokG46aes3
VDtjuzxIkG6vrJJ1d/56RF3O3MXudVspDL/GKGtLB2VbjvLDW9llVdbkAvbWDmJMvUEDa7697hT3
IezzoR4PTRNceUjL8etioch2BjVEjPVaD9pJmi4yWbVAvLwA0WxXpTrMlu21Y/njxEJN3l3FF4AP
h+XAxStr06klkB8yKVS7bQyW8KFIg1pnf57ajzPrY+NBkxebAA27S2WmqcKt0IgGMrUmR2MVaVoP
uJUaslk/lY115UN+yJYwlfChsW34xUHuDY273+/YCqRf0MJqkYSv9P5lPNI3mRpxnSIvzLr9asGB
crU6IJqu0uh6NfPygP45PFJSx0JWijjiYniKFLnyGQDzSxLdNvdzbtz4O13G8sBh6/LTEYPERRB3
z3+e5Qu2v4cKhw/501XUBMwz1/QvtklR0bbvBETZeBrmzqMNjUB69838q9jPeXcKMijDMT+m3+2j
fTDS6cp18cnJ40d+AEK8g5+o1l8spnFmrev3FPcF5pskZQcBqX2Ze3cWZhoYyaTPr0l4uB/vKBDx
4f8BLQkbceKlfJvBp0AKAfuktlIvhdE/ktnr4tL2kPohBvei23bpjgZIbyaT2eLdcfuLcKBnLID4
KZ2NCfqLAxfqXs2JhZ+DPeOQ+Wvsy602Hqb51jCOnfm9IMi2R7pxzWNPm2wxUfwYxbYvwch17aMG
bX2qwSubISDHEWtM5iG07xtBNhHqlI097yNqXZnvj8sMr47MF0L2CFU/eEEAvNusIk8sAV4S+Hk7
g+DnUZkPpJ2ubN9PJ/lfI30oFpaj6S8sMsGcH8Eq2Y3MT/+8dD/e0B5SzAjeICYuko9Bas+oy9AR
Fbi1mjcJxtENtBob1DnQUMmmtHSO8smF5M01f54PB+DFuBcRiORkpfZYiAN0kzkN/KANmcHnJv/z
+334VhgGmYy5KuEB9nK5TIF3425f4PXIDHU1AzwSSNxSHyUr7l6JqT7URXwPGmNrQwOmlCigX2ai
gdfO+CtaJPWxuYmmnXdkqYyjRO9ttekBwtmMOeSE+ivjXhYRLoddF9Ev2alRDrN0TCVQouK7Fm4H
q92Avf1v0s5jSXImB9JPRDNqcU2mLNlVrftCa0mtNZ9+v6gx2z+TSUtu985hDtM2hYwgAoEA4O5r
if2VL85WJz7omZnM8CfARZhpUvwxf6cw9nv7W12nbDMTszDqg2YttJgN7PbtLutcwbRqboOn9AN3
//pT5Wq6ZL5zs7iZtd3YyJP4YKe43qS79mNGQS3blgf9U/3b/EBb/iGiGVAdQN79yreavhHw2RUX
Xft+s5OQNtIQBwa/Qj94d9m+O8YndZ/crfG9Xl/Os92d1WJCINiDpg1ob7neCyq823bnHxGP0rai
zeifxq25908SJfP+gQt6/WWoztO8yx8wL2X2StsXPe+0t1Im2V7/Wj5Ku3avhgxJQ5C8Sv4svt9F
XjkzOMsH4oERKsT4hD+pf8Qw8k/vT01go5xHrbx8GL7rP5G6/3/oZs0fwTPPMsVWnB2WMct7OQ7t
3E1RO+yTalsUIE6DgBHZU2uE4JuHQ1nkW7OaVrxp5Zias2w2LT3QCMKnJ9Ug5OimD3hDXbk1FqIq
2uPKGwkPkXX+rKsA8pRNrpPnpdDktfaeAcoNWcgmTKQVUwv3BHSDChmsBjpBno/mIOHIHKDDeiCy
6eRQaHQMU7qWuC55CsgdWEVNVdRsZt9LqkzTlsQZ7PbGl9He0kly7hl1cOsv3a56arflNj8NR4s5
M+kwPIlXSPLgUz7p79XjWkBY+oTnP2b2CT0z7pOmJNImduOCgAEbt6IAuhgLzk2In3Dmn4rZN7Y6
YgLE7ibfaPYxfiJn3QVbfSu90Hh9EFxkoBW3oAP7zXGNjes6ZeVonv+A2W3SdIC7bBHqo1P8mu6e
vdNPwTpWn5rDes91JuxKjjqzNrtYSojnp7QVd9e2eAC3GD1qCGtAOebmbvUjdqVvwZO8zXYdX3Yt
0Vn7msL1zraaIe3IQl2DA5l8q8c7Z/y+cmuuGZjdH21ngrMaWJzoEIXHiicOxUXpEVw2vNfOdrxf
DaxLh/L8682ukkat8qYaWdOb2qFbH7oTWkBCoqTdej/Vh+rR+Foeb69zYZkUknhjCVIzKuQzj0mC
qIgmp4dmrHttqRhV0poMwkJUo+wOY5qoElMAn10XOgDMsmCq3y3L/kXKwg9+62zNQj70obKmcLR0
AHg4CWEChxeUOS9PJZ7Gw2ko6OHxTv6fEEK10w4DrIuw9ax2mpaS0wt7sxMvVWmiaBFknoJsT0fk
ZdQ3tQ75IBjf7fgAJLh2adytZY1Le8o4iQaxCzR/PMovvd/SmaFPQQ+5Wfk4yA+5QaI/IOTsryWP
S4YQH9Khakamj4fwpSHYIqAzKlCKTeN4O1qQkngeaUXxACvU9rYnLni/c2ZqXuH2E9ADEAegsu3A
72fdVU7ktuYKP7I4tbPcxYGf1BGXkrhn52FD7rlk0zZzW+9BkJZVFC0N64X6FRKq7zIp2v3tongm
QahNkUiUEea6lA6Jgw9KenDLSMoPpVoUhxZ1iRdrKtZIp6/378LUW8v7LCJqkGDKQxt3bm0MrgU3
ng53mA5K4vaKrj2C82XzHx2Er6rOT5jXisxaK7hO4BFphmnvQZMAetdljG/F1MLpurQ1O125n4+p
qjO5az4Cb3HHx/RbsGWS7XHYKW62q9ziMfh4e3nXdUuDbgdMiLiJQUFiHhB7K5c18umeia30SbCu
5wf9nb4pH0rEEivoitcGmBe+24VBseFn3631+zEFUNi4fjKeFJ5kGvyWgVX/9fGioKSIfhUC2hD0
i59xZiZXnAmoqU+kMt9LQJxgIAaJFv+9FY12EQ1jxIW0q6pvbBSlOsYUA1Sz2+Thb63/7refb3+i
BQ/EBuUVKr26Cuz/ciXAqYReSte43WBFh7KByIBOSf3cNEZ4SBJF+tvJDJNhHHASBCeFO1KZH+Iu
R5rFkXqyxk2/a5+yfeky3+VKj4zt3wXoEP91GfvNoKVT8YXk4IpbPTdCaB57bhW1dtTd4IWUi2Jo
8qYQicfbm3k1+Pu/xf1na5bn9Eree5kViJw1g9oLXMB22nOTHdJD+GJvIfPYVvXG/xI/r+U74u64
jMViW/+zPLtbAsMYy6oHzJVATTVZ3QnCzB16tlP+x6PeaZjJQ1+aKzHl+gLAKO8zWePRAzxyfgGA
3FMKh61VPOqaZrmZgs8dg20O8h9atPX1aeVRsBRQaG8qFLNZLWRts4MHZrIK8qRp2GA6ZjtlE20B
2xafFdkVOnfaTqI98m7lq4qX1WxvL4zOgorpeZPDddq40K3shVqnt1V/xUxzVdQDphVrIgzfMjbb
U9+jygzsqnF15xP8oJAfrqlFaGsmZl46jQk6gQVoMcumCyGPCNq30gHM59Mol+9tHa5LvYOawD9A
ILBVrOAp9zU31h+DkQKFkCXV4Jx3dFdrANy27WkMzXdKF/PMdrZekYTM7dzrPUeZ0btsOsBL9+rE
J8929iEMNUpkuTUQeog3Vvxx6Y7DGal3GzSUiC6zlWmZ5CN+SG+h3nmHdKfcF82G+WTeyFvFzX/J
TCX7WzXY33aQhRh6YXV29pjRnXpF93kotlq/mRSmDaN6+tp2FlQegPlWKgELeblQCVO4GHg1Et1m
j28oCixjAurhDj8hpW7Q1UqojtGFhE6QzDzcr034LS3w3KBwqLPrLkmCtkMQoYXxq4QUNz20Zr1P
JW8n6WsTKQsXuOCDpnNBl4ohhtkBhwk0HRKdZ1vrv9jZa5J8jtWPtz/XtQn6/Y6hWiSRQldntn3N
FDGmZzAwN2Q4RPJajN9aay3duj5jJo9A5OCtt+GaeaFdDYYcbt4AtHBevlojgOFMfbm9DhEJLiOF
aaNxhj4V5S2F4tPlV6Hvo8EmBAOb4UeQhmSwj24AngaPUeI5j3XlKfe64q3dcde7Z2kkdAjW8SJ0
kIi/tFrEKQ+cwsrpBkNplOevqQ+cEb3dv5yZg3L/3M4ciRZbXdyqEeVJD9wijANweXhuDrXB7U1c
XA70bjKpgcIYyyzcBtAKyfHAcjQVlY0RTN30kbLTSmC69gYWQ2WQYTVEEq/lJBrImR25b5Fz2QvG
lib++wfLpYVZ5ItRCvFCmXWEEYRZKCPU9SMwkpW24sL9e2lm9vWBXetVk2KGpqlZbTy4r7bcAa+g
vGAlP0l38KMgS7DykRa2D+4oevbMhinwnouPeBZ/5BHaGyWIc3dqP2fmXbOKR1gyQEyFAx99YHLS
mRdoHlTkeUhZBarmn7GdfAq097f9bCFok5ydmZh9IB+OdmT7Iop5W4XEMN0FwUZyIUg/ZDv5c3u/
lvZezaBzgFA3hPwVuhuKUvNhQikeyj7JeZ3Ld+ERqmNQS2LAoH4XvbTH24tb2D4R65Cpp0vLHN9s
+zJYcThZdDDbfPxq+LAImrH+4baNt5Hty3D3FlD/r5HZBpplEFeSrYrqUKUiviMzewNN1Vc4UakT
pY/mB1h79tOO4e7f1e/0a4pWhrUd3tnpKj5LmLr6KbwkEH1lyE6bV+E0faChK9UZ+Pu2u3PgwYYW
rgv3Sq1Mm7rSDNRJre9t79QrQfHtL19ZNsTsCh1cmV7z5UmoIJlPywyqDwHw7pNNkVKdhixzUx/g
SxmOpF5b6U+vbhATEXjd4rH/vHYaF/rxSGwipmuhVkoTef6qz6suLTufOkxlJU74XJtJrH8zk8GA
ATWThhRNKTtrg61iJFZyr3vqxlbLwxQZ32PnVwKdpvmliZTfqQnJ+5PCv6srhamFoI6oHNVfHflI
k9Gpy13CtuTpNe+Sog7fBQGvhDzYyEH347ZLLpuxLJJNUeaYgwyMUjOVPlZ5yiIcUFrllongolib
g1x4VFoMBohqgzgAV/nK2FnhMIZDQ1Ibvk57ALaH5vnEe/Kkv3devjffRQ3df7Zfb6/u+lCDnhEh
lzfzArTW9CUTim0vhcUFFFgd3EGStxI3rjdQAHTYPHSDqZbPh6GKYqq9VsYENMNu01JhC1M3Vdfu
xrdc4fLUXNpRL/3B6cLMUytYL5SuCR9CGE/3aQTFvl0r7YtuDHR4paA+GsloHJmU/iW1jne6vZtr
S50la13ZtXFSsdQqevWJlBpd+lT5+A9G3jwf9AkYyZkRC1r1ulXU1B2bZkv71vT77RSszeMsLUVD
OwXlYI7/VcnIiLpQaiLhGDABpQxRMy7SVvJKyrRmZfbNNC+HjyplLUPx2Grwfn2OjLU7+TqDpq5m
G0iy0lHV5Pl+Ga1XlcWIDQnlVcj//kA56WoROkPKa3fUDvYX87k9MVJh9e7aROni+s5si+N3ltOU
XYgoe8YulnD7UYP7prU0HKRypd62Zkb8+5kZOSjwlJ5yQlCdFGt8NZXfqEJ/vO13Ip7OzxfpmZDa
YdxMmd+Hjp7YgyEnKYBR0O2SvYmm3o163W3U4KmGvTqBfDNQupXbcClCnZuduciAelHseDF1jCqJ
d/QMglOQT3896U4eZQEWI8ijqkygutzBuBxCJ0xoBQTBxzz3oVtPtre3byE+YQLiaMZ78cMrFoNQ
Uk0vUVB7NNF8kQxYnWTlvd+lu3GKj2Gkf4nb7keRJS+xFq74x1JGf2F7llbB4DmOrU3qO/1sHpoP
zueWJ9e2OkqPNtf2BsrOsdmsNZyvvfJywbMLuoskOwD1Qd8jbCDbk6Z3WlZ+DjzbWIkib6nnpWte
WJrTFeijlpRZgyXYYvfpU/0U3teIuYnpaeonu/55+l4+r7fzr0+EeBvLKB7wnGCyb+Y0QZ45Olye
9I+gc6uc970ig8FQNppcbMM42nvj89Cv1AOWNvXc5iyiSHkxOOPk9+6Y/5bkn6kEtd5ay2/pGUPp
nkOOKBrYr/nzHy5iXZJSukjynZZvpI11H7wXKoCT6/xpvq03hRcXxcCiozC7TJtR/PtZ/LL0PPHg
kqO4q77K0mnsDt4qaGbRSc7zxdn7pTdK1YPrnOcfNLCvOrwHwXYCxvkU/WlbvEQkWMFvezf8pMRy
++xfl9ZI7s5S1dnx6yYENTsIHV0IQ/dOexeHKIFEuptJ6kqV8tolwa5RqWfqk5bc1eB7IAX+0I41
c7O0mrZprI5umsVHz/MYrvEGt0Z9Gao4O90h220fbi9zIYm9tD6L1TEqLpMPTflbZZZ2k/Yj7U/N
fbmtH/J0Pz0i500xPYZL9APj/6tkCtdudGl+dh6loSiR2MC8jZTiS/29piczoVf8OzZcIKyC5x6A
W8ioeLQS3BcuqYttn51KA7mAOgwptqfZT3u4t/qvt3d2bWXzAxIZZRgr4u97hcujdGtp0iG2kr9P
1VkGCvKocQL3mrft4NrUSjVnAyvtIVa+qOZraTzfXslCNoYJTgPlRSgZ5kWYoGRiR1JZiSHF+p2k
K/5doUjWvp8+98nXJh+177cNLn+a/wzOzh4iMMOgFhSCqZo+xfG08Z1oZdsW1yTkSyn+yApC7pfh
K8nLOjD0FhMjYgWnDlmRVP/d2o+QgN9ejPixlxcdHv7WWuWF6DCwc2mpGmB0kAWeMbHah2T81KK4
JQX9wQ4e3vftWthaPs8CHkRgFtPrs5BJLxU9u5CFjQf9RXqmDLyr0VvbDfeOW+2sAxIYbgzQ/7k/
rnUjFj3+zPTss7WaWaSGnKfuZP+AoAdaYpSQ/6GVxH7i7zQZuVSvZrl0T2lCSi2ivtJ+kjbBl/Fj
uEN+FELzTfFafJPvfcpLt7/htbcwTQNdBQMFFsq/88JKYVjIKzEG5WaT8j7MoRZl8mT0R9cpsqMN
eeJtc6oIupc+c2lPXE5nlysDBl4Rlxzq/0n6KhtL3uTxVvG2qfFuaO6FMJUA/06QZRd7f2v8gn86
iA/5+jjy9Vm8/Ckzf+rqwR9UpNl4GLfv+1yBobJFp/P2gq8959LIzHNiMwXO01l0TNqu20qqXTyM
DfTAieNrK2F5cT0iUzJ1eISvCChgQbFh3qT/A+e5PGysKKhfEEqSTrdXtIBHYElndmafUJMUniYG
Ty/Pa5o7g8eZi4bTYD4kUtUJdndBbFB6zAQHcvfSIwD6wNi0+RiVrfVxTMpipUO/sMVitA2YM258
XYLQCzuT7YDDmSefw0a/k2vTLdVqJdgtW2GqiLE9lbGmWVhFr1BNUMbCSYJHlcf7kBz17vfK1oqc
YHY6AOXAKU38tgBeznKGWoKvL2rfToeyf0sKn2OUh+stnPAMVeurMfU6FySYnhkUPnV2HFMltaki
cvz/N/+obJJnittoPYIaS9DZVkHhT9GmzE5rzYLry0OEccGXQlkHgsnZ5RG3vpmWCq1EeVKeE3l0
I4pVWyULw02dOF98qG93Xd17K8nv0mfkXQ1dCoWQ6/E3G/x46PeoKsnBKc7gxUAZtEtXDv1CuRoZ
QIXxfCqNAB/nztJnuQY7NlbqXb+DjHjHiHNXu/Gh2UmH+n2FkNELbBEQ86zNAy9tK+eADoF4hF4B
A/rYqXOrFduKRmWr34Xao2qheIcIRaxv21ZZiQZLDsRxUMjxBVR4/liStT7yGzSX3AFi5E3fd3vH
Dx8QYabx0+krJ33N2Czy0M9EGwUqbLeFidQbTj0aCq3cvteq4q/rPHzAs2XN7gZkEOQwi9XEnRTF
dSB9j+E5WTnsy6th0g4KAJpYV4fdTPNKtt6cxKFe9UHd1QfAIo4F4/PG2gmogY0Qh44mqVuudFUX
7grW95/t2bm3JS0I/QbbfvCY59+VYeUuWqgvsYFMhzGCKcMtMk/e1cmRDJuxHxcZGMJ/fmwMWAsl
a7pP4+weKh9/08AV3ejTq19Q4rq9t0unnM6g/QZzpBU5Cy41NPFJXDmja5XaOzOvX6zQ/N3Yf80D
QCrK14NjA8JpnrczL6kbO6YLAEY+kB6d0Nh4TLaigXx7LQv1j0sr8xTCszXfQULIHfYwZEtf5EdG
P0v/Dl2rg/adWNIXd6uvV7FD85tIJ9dGvICJD6qQlxdDnyFgnA6FiGAQMZJgf9Xu08cRkNwRMMOG
WbHjYGyLj/Ixu/P3a5XqhRIhaxbwJjrJtD/m5V1TMkoGQzFvvij7DNVBRrieJXc6yPv4K5lwc+9s
05UzsRQ6z22K1PXsLkxyn/EpB/aP9E+ivPMTH9WIZ73I9woI5jXa1KUs6mKFsw2OYDymRQCbCVXC
L8p+OE1H/4D2hGAYjffOr9tOtHAgIPcRDC2C+4+X7uXaYhK2LuhSxASBxW4YTEFy3btLveGvC4LO
uZ0raHYNqb0VsYcy9P2d3m2M/quHgPPt1SzdrxdmZskYwq7MhiUsR5C9ybtkO/3wIt4OzR26KS70
pY/V78a/W4uaVxyS9HUv7M5cpC2GMnIqFMerrbXpv5eTq7uigYPo57vgWfnMzC3dcKYR4Y7cqw+C
ITalNfG4ljwthG9+B8KPYiDv+imcJ7md5x7rNwPzsWvM11SRvqzs8ZqNWdhpENYY1TiBEWk/ksPU
B//FAm/sDmD90j2vX+vr2rKWvfS/Zc28VGhuGq0fY1LLEEF8RSVzM3rWysW7srA32oqzc25EDYIt
LQtrE6QkFaZUlHZ/e/MWF0LoFOeNNH4evsIQxbjUlGAocwhdZdhGm7wejhqZ7fa2paU4osK7JLqv
NM6vQKdlXaAmEXkwszDcjuYt2L0Ubo38lDGYvMpvcX0rkFkyIgm7pZCkngUtS2/M2sgg1/HUO7pv
DGNVK0d76eOcWxD/fvZxJjAdFsP6sZt2ziFMxjujNP/c3rJFE9xoMCbCy0KWfGmChjVshjXsSzUs
Venw5Ayn2wbEH5jdnfTtuLhQ7ma6a54W+FOOKmjdxEDX/aN2bI7GQd/H+zXo+kL+iBkyR94zAPPm
V3RZGohn93x55BUR/4P03HgEoLRB+WR3e0GLO3ZmafZRYDUZmLnGUjt+lL1jEP+6/fcXnfh8KeI8
nX31oU06hJgEKxWFko19V4F81R4RHh52aCrs1ooyi+sxTdUWvGU0kWcekIVxoZWBYKeXI/RaTtY6
68WyCWaWZFlmasqYpYaqYkqdnXBSKkgbfOhYKwi1n0X0HHZQJ8Sb5HFYGeNfSpqoxv5ncxaxk4oK
nyTh2M5768vwXiD6vaP+bG/Cd/D7bp3T2uNvKcydG5ztI4XzpEFXcAKuhjh5NiAKq+51eyWYrmzl
nCChsKVEoS5ChOuDk5zKf2rRt77tgYtH9r+tm48FZW00SHGFh482ZHxxsTec8iTnFLQ1s/zcpqge
h6BovCQ+3Da8uIUWPX7mJlE7nQ90QbNlW5GBK+aDrBwNBKUeDMlQUInttZV9vOZjInvRzmyJgHJ2
ykx9THxEE2LX/AalGKB2botoq6ON+DF/9A9NIbBCT8xECaCc91pJq3X0hQlR8RNIoxge59U0H4SH
2a/0k2b8X2iUaoQp3jnw6YiMoqu/rVEGLIAzHCp1grvdBLtDVfRyxXlZyG1hAIcQeWL1IT6KAldz
FBTq8TttZ/+gwLy9/UGXvJVKCPA2rgBeoLODnwd1I42yzgdNGZErkfAF5nvbxFLgPzcxO+cBepJT
3E7QB0LoaDpfdIRKpwz+8nL4h9tYp4hlUGDFOef3fRsjWmuGClQAITLAw5O1hs1b9MlzC2I7z3xS
C5u4aMyY0Yi9YO0uD+0rhGhPb0RLbrPRRgic831xUNONv60e1zxk6fgZAB1VPtUCjwZHra+0BgfR
6vg+Rz8WfWVv+nuECakguBmLsQzaLHP0TDQNY8P0FRmnlR2zYkICMX4YK2flAbu4mRRUwbEwdnc9
JVtScau7pBLu3u+MfbYd7oU0Sf34inYFY985jFXO12R3LFaFK5bc/tz0LLZMra91k1rzHXMH/eEX
pW53t71+qQ7CNDswTpUb1bHnt7ZkagHIP1YnGJ0kxTXgx/xY7GCWBN6YF9v+x1qesGxSAIk1EPRY
Fu5z5p0IvNWNbHItVFtKquFROUpuCX45/iBKIOuoJ1Uc3Xnq+LY4agOmwwvv0iBN9TqpFPxx4NE1
wmAPCdAH/xgQo79F2+a+OaW7jh9Rb0eIOYoDagw1SdL0KS82WQqFHD9qbXJKRKwbv8kRrD5nm6Aq
ZVOhbsYmAF6y62CjN/suVnh7fk9XqZ4Xt9wijVEZfKNCOQ/ZtRYY1diyA4K3Q6q22vat0oVi6E7w
I4aoBq5E7KUYcG5x9qgfg9yOFB+L3eRA5fm7SXW6dcVK0F44ILybmAxXuPh0kKuXuygHal/IlcrZ
zJz3iBC+6xJj5YQsLMSQqbhCKgH/6VXXQbMhWEJWlIcNs+eFToVCrRAT/XX7HF4thJECYCXEF5lJ
XELa5UIGU9IyJu+xIq4chEunIFzZq7cX0oXLYUPUbsV0Ab3++b0D3bxStH5JmgAtImfPOQXZPn/x
7xo0eLpPKf8FrL8+CS0FZyutJEpX9yvWaZ/C+0fJjMmG2afKelOf5IGEs4zkB6O7S3AIr8o3BSq9
t/fy6mjxBgUhzpUAOwfUKrNkIWsdIw25DNxo5PSqqWzvlHDYTp31eerlhzpJ12YvxW+f7eyFxVnu
gCijQjVe4gU/qq5Xy1srTx4SU9sgT/qQtNW+73pyCh5fsEoZ+idJaIk7a5SoV57KunmAk5VRsVCu
6vPZqHtNmWXkFYl0VLpsP1q/GBFb2d2F7wjHOEP+0J5CdDjvAvhpOSSqRJ5Ul6QvkAAEm9i0vwCd
lTetuYq/XDJH7UqRUXehHDNv+kWlbYdNgJ5brOV7a8xfuo72jTy+y9R+ZWVL+0fxjxYjTUzbmXto
qI8WqQQnPSyhVZaQFqWU4RvF7rZ7Lhx1FdQqTQBdSADOx6Mcr/dyz8JMAF0satKbZpXL8zpFF8IV
vH6oX3CzX1H7TyiEwhGCDcE6v9X2HQouYXywZLI/8+e0UwauNBldhpUtXPpagNUonJH90RCeHfIE
xVTF8bjakWj+qZnZl6i0YGvzm/ekAafb+7hoi3oDmZ8AMcwdMe+Zt5xSigHMXh6VkUvbNE9dm9IP
c/5lWfDdAt/hAXJF+W7LjeKVOU5YREg1Nb76EiCdYY7V96mU1nBCy+v6z9gsmNiV0UqlSqAMvSyw
N8yT+y2e7xneXZnXoe0GqZHKh9ubueiUzEfJdIV4l8yPmeqEfc3wLlWOuDiOE9IzsrqyiYvH68yE
ennFlbWf1amMicLR7nL0ohNL3g4IUd5eyaIZPpEhELq02mYuCApJ1ZIAF5Rq+Miqfmu0r9qajul1
bU1wZYgOLG1mMVY2s1I4nu9pIxFfvmse/vfkt54QuLwrn/3tGoPdgkdosDMJYCbkcld6NBkk/VIP
DZMby56yD6XgvZ2k00at9XyjI9W8/esdBJgIct+AnpB8cfa+Z7YkV2PfT9zSbHeKFD0NifahyrSV
87twTQsBVAHGYM6ROs2lP/jmOA61E6EZpg/PulXv0Nw6leQfUxyd1GmN3PF6SM4ktYJzjQEgRbtG
iBtWocPSyYSVfojg0kKJBl6+fle+OvtsX3V7y9WfUXb+YjOQuOvoeJmf1/EE182u2a+YnW6tt6Om
l8C61Dv7MG2zrcaDC67Xb35ONyj6VezDHu0A9Hd3+TaVtiblnJ99dpLexe9X+9ELecvFlsw+gRYw
V2aHbEm17aG4EW0OiclP0QPPduH7v250XK59juEIoigMTPEFlLDdDJRrO//9bdddCGPnC7piQZr6
YZAcdteRA7fqx03rHG9bePP+Wa53YWIWxpiyz6PQxkTvlp+cY7vT9umx/uh/IxtiKOMwfWqhtM23
4ETu0s/R3RpqdyEY8Io1BMkBfGNX2jKBgnjTqGiMRzjVL8WSko2hId9JUnOyu3KthLtkjURBUHjw
KrlKJFre6rVUMv4oFXW5KTLn0yQpL20JsiFPIJe9vblLIUFlbgfdE8BTV9rIupf4vBG9xC3UT50c
7Zpu2JbDZys290q0UtdZchUavVTaCarGFVar17XY8iJsmWn3vQ9piDZ61bj/siA+E9+ATzYf5Bq6
pu6rTBjJ3wEd3aRgsMb4J9nZfRWuaQYv3Hy0rv8zJr7lWUkhKmur6EZKKpF98lAG7sbH8B/eqToP
SOq/KsnQ1e3aduFgZAOTt6Py4jv3PHxWXGBxEWcGxGc7W4Tnx0bD/CTd6hQm5To2dp0Dw6KZQ8Zz
+9usWRL/fmapd7TRV0C+u2Y2ITqub4LkmP91m4WQd75fs29SOFJlaSnfRB0Ltwk+1NU/RLxzA7PH
bul1qjyOrCISHJQT1OLhuJIPLMaAs08yu7IG5iGbRkxbS+1BjdKd2uYbORld7vWV47JmaXYfZaWd
JxpcA4Tuz0P9khTgeNQXK10rhSzFGc2AN4i2N/xj89SjCqU0KnuD4S9er2UTb4Yg32Yg7pLhFAKh
+ntHoxTxv744cJj5J+pge7YrxgKNlMdDkm8n4QurtbAlfz43M/tMmlFpctViJhEoZ/OdJzUbVV4Z
4VwzMvtCyFLZIOAx4tkyGhoo9Crv4mgFQLQUms9WMs8Twrju+kzFiOQND3Lj3SOBsb/9TcTvnN/i
5yZmOS4Am0JRJTwACrJ442nSl9CKvjqZ/9NL6gc/zby9o0CAo6yJHy+5+LnhWfrgmImSBcL1HOq+
nffStPlRtZlmjtcgS8uWREFRpLxXiMsqT/x+KtjFWuoOfjjsqlR7gIdrStY4stYsiX8/i6R+lpd5
X7OmZtQfGqtDHPd9kmhoe6zVF5bd7781zY6SOpl2VYjPZuk7TQ9dKX/Xyvk/nVd0qZkxF+8t7XI5
KXKjSpYThXwnyF3ZTEPgsL2mBi5UmLX9D9GVKhwdLLqbjJ/NPFHXCguuBz5TkMjpBsfbeclPGJTH
TayWK7auycm5js6NzbxPlcK+zTth7EF/0X5CYOSmaIEjB6pGTEeLLtMffW8ek5f+s4aAye72qVs8
2Gdrne2saUghUDN21tL+jM1jGPxLdDr7+8L+mSM6fuoMUsbfR3EOfEVX/Cnz1HfbUF15BawtRPjp
mSG1jmiLiynzqY+2pZ9t7ex0e6sWrygYaSBxYFj4CsnhF5Xd+wkWMrQUmyj7zR1ib1ov2StN9tOv
6m+37S2erP/szWdM0xQCtVbHHtOYmxKJPHCicOGsWFnet/+7KmPm7E4RMI8k9k3LAMSpmqt7xcrG
XY+xvvn4fzZmPu4Myhhw6xONIOiaHqZT8d5Q3GDP/OhGcZWdd890IoNda13vtbXNnBvUdUo1HLsE
ZIpO9WbM1pxi0YR498HxS9d73jktZS22y0AEWrl654WMJhb6/rYfLJvgucLfp9w0n3+TJk81vFiY
kEJXKX91/hqH3uJtAd04gDqK31fDOepg1JlR8yYahs99eBdHyaarnqL8++2FiHRnfsNz85Hkwet8
zeGv9UFQowCMQ/fGuI9SiYELJ5ik734hjc+1qpcfoyIMKqBSnhesXCGLgRaMHvcH3J7w3M7yJCno
4tTIgbr0rv/UPZSfzLvoq/1JOXpfHcbVQsHqZXYb+YN+v15kum73cgSo/IsuG+xiVyCYXgsyx4tY
u2DX9Q7hMb9j9I8xf81F7GyV8H8pdiB6S81VE+wO8ysM4CmXcDkyiWF20bQZyzJqXCmtHRqlWalY
Kw+3hdAIapjqLrxgTLnIwoXPgq+VSfpktj5PRKU9lFX2vnd6f9NN8Lal+sOI6s+KwaVqL0ItQDZg
FKRCPqcJ7yKuEVtrBW5j2MbHdFf+ppniOocSpUh3LZAsbueZtVk6ZQVeY5kF1lTu6OZPFT0W8Y/b
h2PZQ85szBIppkrkOjew0e29g5gQ8rbaa4jkjCBDLn/8NYBOOOSZudnbpEvBr+VDx2GU4lMLMKuW
+pNVPkVmuTW1j768BhZc28PZ+TObjPlzHYMVaZtt33cmyIlyJd1YvGqY4AVVI1qTtAEuPTE3ot4w
gje/SD7ok5s3+0TZxC8UUZGwpsEN1KxLduX7dY36ZZ+ECwlYO2IblLEubctpl0fWUPPce2g/ISAE
Xn/c5x+0XeGuW1vaThjsRVedeUpnXsfqy6mX0FviAPT1U+FF+7TtP/hlsL3tlktXw7mZmefXcVxZ
qcrVoDnVBzX2jlmkfjOq4qmFtu62qaUVwXxGQ5kWopggudw+fwJQnbWEyBCcXJ/o22FCMDL98v9n
Zb6gVOnsvsJK1Rhbv//ROvqubdeIpBdbG7aDGqdg871GrpRTFI5KAJjNLCY4I5O8K/tDlZiCWFIa
vS+yAXGxLVcMe8iC2lo3+qba5KaSaYxQt+Z3w9MK/m9p/EVOgyrdlrlf9Ad9Iv5uaEd2+bFsFbhu
q9zxT7VNiWY/pVKxA7ngrGkMLnwZmmvUqxVa19eIey1I8j6UQJJM2qdYpow+/pgaa3f7wyxkB4Lq
W2byTcyTzgeiEidXAmvAiJEVRzmgJ5GOrbRReYUDkkY+TTrJYXi4bXQht2Kaj4eekP5Vrvi+28bI
JNmjaWiVL2360xrWIFzXs4oC+312Nc7y67iKp0RVxNW4r05pt9WYqPM2PmrGB8GDV37ot/0+fGi3
gLRN/vdtmm1QFbi9zKUPeP4jZgk4OP4cr2eZTqTvIuWjIacudAIrVq6nnmdrnQVfUPZDatesVW5i
nDmvn3NIeUor/xxX+o5T37q5DSeg2YTvrFL/iQDjP7gqI4xgcikW0DWf1xHVzOi1qgZQiSDuS+gP
H+Oqf5aVbH97Q68xCFyfZ3bmHNp+H2udV2HHejbvdDfdRftgy3P9QYgphfDjrlGzLHa5zi3OHEkZ
pqZU+jek6mi7Tb6pSkYERfqTv1rH9M5/Ke7Nh/6LE8BKgfKv0IBZ+xGL1+v5j5g5ktW2lp0G/Aih
whE9dFsVmc4MhefwYL63Dv1DCQBorb+2tNk8Hpk4YoRF8MbMUqOh4c1S5xFnyKFBnNab2i1h0vtp
tpCjWX8EkPQfMj7GGBVmjnioMAQ4u4w6a0BkOGY0ArDJ3WjAxWZHd1rkrfiRuG1mTyJD0DtDGwa6
+gpoVoxhkaadeBJVmt/uxiGAdUdTGvmHadV0p8YYBe+VY7oU82AwkDWDh4F2NS4mJ1XahRpvr7iq
Idgtkm9FXqzUi0WqM1sXWCBLgOegF+AdcnmXq4EWN303MglkKoE76fRzTC3OjsbYHIa0Ptl9vDHG
/EmPqjW2poUtpX8gDicFfgo1s3MCHs0wfJ7lLvA3NBR/TYDJ66xGQusfunsXlmaHQYniNhrFqKvX
hi6i1nWILt1gb26HGrFV862ExUNjcozR/StIs1NJepJlrGcK2i9VMR0kjxdCab6fzPwYGumH2+YW
rgqgM/BOUfuE1XaO6ygq6l+TxLBOXHtbEzr4PtA347TWVFxwwgszs+dHnk1VVgfcSJljfe+S8V2u
MHF9eynX5AwmxLNcBEQM5qiuKnZjLpdxLPBvYTr9CNT0OEzFrwiSBj+QDlpb7INOv08l89c4KCsH
e2kbGRumtaQzkHQ1W/t/SLuy7bpxJPkrfeqdPdyXOdP9QPKu2iVLlv3Co7Jl7uAGLuDXT8BV3b4X
5FyUet6qjiwlsSUSmZER6E3U28jBqpXJBJWsNzfvIdrzLBng2iyi7svZG5EYXxAPDnFnggMWVsDJ
YPlc/7lxN8rbdNS3NEBHNqY03sq64VYOGBov4Dy4a+RV5/OzXUKtbqJQpgiY0Y5+PCZ5oGvDFzVN
XrWqk960K/sfWqEG0JOgEQYxsnCeaW0PABfjlCn7GXS+VxTAmCTwfgfJv1X69d56gJ80Xqqn4kZ2
3a1OrwEuTg6sXYowWeiYgOAHgLXUGvfYJ77d2A+Xl3B1nwDcqnLtSXAWCJNJsgEgZRM4Rua1W5Rt
/I5+aUtl93EruMQg7gRgJsAcgjtGYkGJx9ZCCy3eBihEMpf5GWLQ/58V4UzblWIP8QwrTlX5qK77
BcLpOfn2cSvIoOH6Au8KPKIQZNpZQ6OpAZBWjZNAZZ9iSNIlEMi6bGVtk6NOhwsMT2z8h7DrksoB
oIbvOgPCS13c+QVklaq+hoP/uMNF9xzH5gIcvMRvZPkQT92E49TlZcoZbacsTDozejWc2ZQgbFYi
KQ08LqCZ5JQjJkKP87PL1IzpypTyzik10K6Brul21Y7nPyFp8KW/06k0Cb/c4Rz2yXmoACpE05Yw
k7lHo752E9CNJMjUecoBAOTAYH14ecGWbgLvN/SCAAlmgCJN7CgamqppoEGNiAPcQrH3GUUHqEq6
QaMAWdhLwpulY0AGF8JAPIRCOls8T4wYZTQk6A3paRpSAuWFD28KGNABR4cam8u9z/k6NQTFhtzG
Os3eHNLqteu6MAGr6uU5W3mwwQxw2lwiEykrsSs3N6LYJCA5DRrvto2b2PfGFAjMKd5lcb0xtHoL
BW4FqPv8QS2yYKxkof3qRJ58AD+GJ4njGvKsHlHQADMXY4hLAPUAWSS/0mRzPkjB+XVgMs+TdADK
+ZWxTXswQhCZbM1DCtKye/IZDZ9hslf3kxnqj5L51fH557EbTHPUHG5JZCPFlFaL61nrCpimrzVE
XNHUBjWp2NenrbPTQ3WPFOhli0u3BYO8ZQmhG9ZUdI5I3vSZ5vCmpfJ98PCU6N4rs/UHKbc5dxTi
yFBGQYMUKBj5vXK+cLE6dbnd4LiZO1XZtGhmSEI71I6KtQU7aSivoKyNDJ3U6FBEGQVeX1hFRlxm
gswCoY7H/BR611O5r9kts/+Do22CWpz3sAKGKLZ9zfOAciv0aQO13LNYhxaXrMFzzSEiKESKGgEi
d/3nU0f1kWg2HpeASuCVHluhnV9bvSk726srxPHpXLVv+YJF8DtZBa0QYad+CuZt9MDfGY/ZixaA
HfpZzh2rr64QAl4I96AVCYju83EpbebpCcW4aDiEwyd1NwPFsMmP0K/I7gawPk3H9L6Ejp651zbt
DklP5qu+ddTD/El26Nf8Cq8387cneKBE/1kOxqDUCb7FsZEp0MCpPsnAiisFRWREwYgGoCritgU0
1inmJKEEh7vZeE/wLDOCniCNfS7FC9KB0LqZA5IfUHL7a8mYtX10Yl9MQTlKObWei7M+Fei+NyEb
Z+Lmc2QZzHUzmEIUE3EwxO2allkymmmGVy4lfufdKdO+KN8uu61VH81VR0FWiZzEAuATp6rLlAju
hAXGN7v1m0dyZyp+/dl+Yq/eDQt1H93q+V3yTGWv+JWcFuRAoE8OckfslwXcp89S1J/RDcH3bepz
FigtzI/ls7Mh+xmyXvmriUZyWTfuSrWIm8WzDT1MyFeIVGXJNNSNZUcogr22Bxs4f+dxhs4bp/Ui
gVQuem0VuaggcuvgC1xw9aCQGhldhQk2HGSfFfepmqtNAoHXvn4cHPApUQauXm+ftEPYlAMCgQJy
HFnYzlngtbKcxurXIG5CmMbBTyJqwkFsP7uobQS5fighcEeyG3v4JtlTaw4QveU/CcRwKYpNM6i/
mGoFQaJAY1cRGY6MWYGVgXmhra6N+D02sadiiNIkDnBJj3O/76JaEm/rsm/gAcJJfBMZRgloNgY6
BvZOYeB+QNIhpPvuFefpS76Lr53NcNWCLVW7gRDCcw/YFwj095enYnW6T2ZC8Mw1sIA5UTATOnKn
ifOumGiokdbkZVa4Tz4Z61zDF5Zck7VA51/TufBFKWjN8s3/bzD8M07M9HHX2mnEq6xl/jSiJ7vv
7YDa2cNlM2tPJYBEfm0fITQd8oKhIIlJUx/SN9wexRfts3c7Pww/2pf6cdqxfflZYpJH9WJQBXIe
4BmQ7luSKYHAJUdgFWUANXjfTMSKFOShfnWoIDw7fLlsbHVrIi2GYjXXHFiAftS6juykwXLRbd/6
ZROMP8CP7Gz7GyWId+nBvIuu2828sa+MIAP5xC0N6r9QUliW/TTEWr8+Q5hmd1JGt07wBIHS0dap
Kz8mhW+ABqVR7aAzmT96Msjq6s19alOIwNCwXSUOwdCza7cOpj4wfwwHSB5uQTxRB+3VFOT3Wusr
u/Rbduz3sja7FagHxgwkEu/5h1yIKF3glbVrtB6ccbMpXyy0nR2LLQKkA9F2ys7ek12yu7zYa6EZ
cnZ4iXBRW1PMZkBqrkI2gA/YhFof+zI23rYC37WhyfImq09KEF3jGgdhI0BxwvEcyyHK4p6zaCBv
1pIm6Nz7Pt1pNYgU6wmiR5ji50J/hziSJOJd8z+nloWdpM8zm5iGgDfqwBVrDQEYaAJQFAWX53LF
DLJ1CBSA9EBSUoyHilEZqEOQGaot47Vr7NupH7/ObifbpSshLCISQAh43zEQXMImHdzBRgGc976z
8XrSxiemypj1VprSOX03mlUsBEDoMBUWq3BnZTZqZB+Nu9z2zYdxwzZdANpdaMM9Gq2fPULsUxqc
/x9m0SeuoegFSjDhPipmvYgbArMIfa6z7zpouZTADo0deYPC7t6+Ku8+3ujIR/rLpHA5ZaPaxYkN
InIzGY+VaRytant5X6ycMR34CAe0kWDEXKha9AQN4YaL/pjGZaFSPBCv2M3J05zq4WVDy9oa3jXg
e0DMhlAO7/3zC3BsdTtFERaH+RCj7kv34zbZ63vZE2ptnyPxBGgrT9stODusrjPdIoJj1hrtE2Cp
T0lWdD4yb58uD0dmR8gaZ1GadmPZgEG76Q7e1L3GINdz60kW56+dJ7T8AVmClz2CQiGlVhiNSqF1
DODPBModBYx3rSpZmTXnp5sINaGP6jocgXC+NFnapLHCo+zsMFz3u3L3jV8lmV9LQ7q18OTMlODt
Bn3smqrALuD8QbxRmPFO4TTIP6GLMdnwfoL/IIzkAgZQuuB+Cdql56ObIXuhAOWJR/VcvhCnvKo0
7VtmFxIMH3dsQhTE70bkPsEjhDZ0YRJT8L6VNi+J9Mk4P5Z1kR1Ja6RfISVSIVGp2j6dkfP/+C6E
4g5y8GARAIRPOFRJlBVWYWBsqftaJe+UvTFZD9XauT01wTfoSeBqgMOEQMExCxw0UvpOQxu/LxxQ
juf158SpbhoCAQOFTM84jJIztuabkDzjFCRwugvJlAp0MNpMcZZbaj72U/kEOPkmqthrpI0fRvFp
6OFFlQm62ODnEBODmllR6rmIYVkZ+Wr8o8VlrLOXj6+Wg/ZnSIpzMLeItLRGzc3xeM4Cyyq2o6dv
izrdo8K2vWxmzWU43k+tYxQfETudrxig7ABt15wgyQKcuVXKbdSjn/OykTX/d2JEbPMw48E1SDFk
AVQyn0uDPVVAuZUtkZyqFTMGavoAv4Mjg3dZn4/FqOwkGTjVVFuBVK1BswWAJbprS0azlk0xUBhD
qshC0LKIbVv0+8SegaXRd96d/qP95PyhCHmsjCC6swJ9X7z3VzIi/eUG5/QiCG5RCsa2EMuobtxa
kVJgRJBWBlZhwJtiDrp+AEm0PXkHx6mTWPKoXjUJqW5U3xFQL0o0g1p748CVj1VFBTy2iYo9o/kt
IgPlKxoyx1kyszJ7+vkCNpY5mPOMIbIavBSoTPvTkM5bJP4gXl1YMoT9qjl4Gqwg9AkWsJNKn81e
A6dokNfe9DLS2PT1voi2EBZHD0+VyB4O6/ZAkITeX/C3iOEuXmSeWzcGqHyNxP4xqRa9aaxAm1gI
IgCvl7j7VWsge4KT4uUS8TSoUer0hQ4oIijIvJcUlEgAUjskBg97EZU3VWvLKFxWLXKtbL5RYVYI
PxQ6MAT0wF0WpPbN0ttHipEDI+mq4agPMorM5WlHrwnXI0GKEY97sRrKRttJZisjwVWfGS8gOX+R
hDrLZ/uZAZEsUVFadCVB4iSoI8C4esgLhj0wZW9OMdEwMxh4HQGo+AHRjayRrN3K8xlFXojHgUgL
Zw84lPOTEOVeD8ppTOUYJEDzh+qLdZWhoFdArMovZl/dy5K1y9ECYgN0HhwnAtzFo7ZhYzNBMK4M
eqjxmOCqUZLvSv5sOtVxyLqDVcpAbCvZYQwNjQwOANeosomFvEojLtWgXR1o870WPXjOXZdNvkvS
jaq+E8hpzNHeGR8L+IJWl9XSl7sHxpGaQA0R/m1BsFgQy4vMBsNtpq969eRGJrp7ZQx9y8v13Ijg
z7Icb6m0ghHnqb2OfuT78abapTfDUQESG8IS7Q0SFJev2rWdczYw4RJkjUuyXh8ALf9h/jCD9ql8
nm+noB9QohmelVDWZLMMZc/HyOfgJOQrvZ4iBQ17KXBngxF4ihnMZb0lhEBt5U0yumX68NwaX9YT
a7o1FVU+wpoNzFlXksAzQOMKTpDefOpUMNvByTnWhCataFva75etry+nh+of9isQRkK6ohnBQNg6
kBg1qXL0Si0o0ON32cT6oUCC9F82xKdiame9acGGezNunG2zi3fGbgx5eY0EsjMvtSa4mcpMjCmb
YQ0ylW+cZl4JKLACDjo4jnJo9Uo+lq/evwcnUixAobF2CwZz1l3/Mm1BnreLtxmMJ/dwcNviJ8ga
AhtmmB6QnByv2aF46D8c1OAjQKoK/+oAIiS+vcoanYN6i4/oqtT32OsQq77jbUBXLLk/VrfLiSF+
XZ7s1Txya6N2oQDIptJ3i/vUlr3oVs4e8jGoWAKhAHy1iG3pbKRjqIZbIp6zLzOwEGmqB7XWbQbb
O4CmVqJKsHJF8OIhMp/AcuNOEvZ/29lxYk4T4qXUeujKIyohm3him9Eqww5p7aFiu8vHYcVLo1cG
qBIw0Tkocgv7UymVLjVJjQ1TuL4egUF5eiyGw2UjK+xoCJN+UhSALBZRveAyS7sdbVZDrFXZT1t3
p4OHFtRkTogexW280b9oO+tIOl/3IVUeTscJLG1/pfNgZb8AG+fg0Yd8obaQIGu1MQe9OAoUsca2
k9KHs/bxra9DoBGziTrwMgPgWQMx4hhXD22L4wyR945sLCMKpkGqiLc6GKB1cdqBY1yg/kE5kUG0
DaagAfJQveV7gPACYHaAEA7QoBum8sYNvhnOkyp4k52Y5J90ct5wn8+1WcOkt9ePw3VxT66jHeBd
d8Pv1qN6yA/DW3NfH6s7uZjOypPw3LZwL5lwo9HQwnZ2TQ6oQEJ14qp6Vzb9Vn8dr+3t8JULSHmS
B+/aZQ90ErTAECmie0QsevSk0+rZgwa1+QCmKn5deBsLIgy8oza6kvOHr60qAKlcpoZD28WwFPS0
eKFWOI+xgiQMStu5rm2BvrIbyT24fEogvwhIGdfRAFBJzDKihaqf0xSPznrMx8dGT8x906n6VdVk
tt+P9scZsxCqg36A9yCYgGcILgAIaC9KJzBm5Wx29iPV5y20MEdJWL/iQPnrD4VPYG69BTnOOFg1
K/CmCKrauhoMrFKs7uus8415N3eDP8u0G5f+EzhRPDeR3AbEF5Wc8yNh52MMRQS8OONIARd0AbL7
af6CjLesJ225MQC0hU+BvAR4IhbMpF4xdU5vQ3dZ7TR1COZGjV+VyI0fL7vqtfEgxYM3O+ocGJLw
wozKbBznEm9arasBic9HB4QGlWu+0ymmEmDD+pB+2RKC90E34sLMMKTOiuwqhN539R15NE+VOOVV
O7wfGG9YPJxFNF4ZxWPFKMOtCi1mGpZ5BmViXKvN5vLcLY8UlshA9ylEyVc2X22yYaTzzFsT5w1h
ygTBLOJdsWgcD3OcJBJzq8M6MSdEPyCOTVuXYFio9Gj3PVGUxzSyKln/wuqOODEj7HAyIeBsVZgZ
eltBu9eYHEnG8m1DGlm1aHVEiEWQelM52FvYfBpDR7Lj4DVXEVo74TAo6uyDOK6RhFnrdhyQ1qN5
DUk3YUhxPtReWWKh2NjNrzR228QvMzWbwssbgv+d8/sSGwKJoX/Z4d7q5L4sJnUY4w5TV5VHPQZF
fF7vyhlj6siISrbhSh5vq+OCd9VNhN0osQg+trGy1kprzN+IFbtBr8m0zQ0pdfvqqMCyh74oxB4L
SBTy6WkxmriJxwFUdBC3UP0aNfyN1hk724mhhG032YcLAphJ8NKDNsmFZLvoZls6tYPGH21zy5KN
USJYNQsl9mNUdyQX48p+541eiKhcNFQsMMJVb41zxblmbZvtvYze5GNzNSZolL28OVbsIAx10RGP
rb7MpUMYs8wqOoJdJR6dnaY4vZ9QMHRPUf/jsqWV2IlHvL9M8X1zsg/bTIOEgMJZM0LvLi5Abpvu
mx2CVB8wGTDVg2+6vNf9eidD5q9aRmzhgosBiN4FhBZnuc1MB0J1tCI7p5kSvzDKz8bkbuasqP3K
65+aZLob4oeWNbsOhE6KS55zc/hOpuqWs7OETSS5dlb2r4uEGLYkgvQlFtUB8ssrC2C/BnJX1EWY
pt/w5PINcwj6XAIEX6mwWi7v3UPfCtgoFkAPyFsVFbR4QKx447Z+fV8eodgE2VOt+anR8ldIPbRl
EASbGBqoI1D9XARBScFSy25T0EbM2c614tBTOzz5VXpH3Xbvli2ICrrQU9RwiIif6XdJqm07E6r2
07iJLex2xzk0dg3VaaWTxBcrAG8XX2ZykAPI/RdxDAODrY22LjR/m6Y/MxAaFKrv6dNNPFlXDTW2
iovgfpxu2qbdeDR9iNPuiFfQJ8/7phJv78bf6y4DKKJLEaYmW6dpPkUmWOc9lIbyMezLKsQbW/GH
pJY4oZXdzLsUELAgDuPxpXBvEABBLXsAJKlIfeO7FW+QOUbHbhBvlEAxr5RnYLVvgUS/syQXltSy
cJMoqd66XgrL0dfqJQa1X4kq7waiD357q27phoXFMX2SZa8EF4WBAoHCQQgAOoDm+Ofj6MRvGFqq
tEYLOlhmzLc5cvmQaM2mQ5thK192UcLNxS2BdhgRNHYGmvPFHhdQIpYjdOn0oDC9MBmbzWS2klyx
cCpgAq84j59EnHm8mYXLcWL23LblxIJOr66gcfK5j8uNWU5vlU5eohkJltaSkdMLEeFPm4AMoc8K
WXhEGkJ2RS/A1RmTmgW5Nt4W3TT7tYpnJIrMkLY07Uoyi8v14nZ4KYpjohdKJ3QwU8NtzCnIhsZ3
K8xikgQDSHA+tljAeeEEWRBKAE4JWHshTIvGpCTobGuDxBhiH7T+15oxSFZLHIpoQz+/ssAj5w5T
AxsgALjS0WWd9eknbfBkt7C48X7awRJx9hYDqSHhSKeVofQm09qgLZ2rGPrlEHOXrIq48bgJ+GIg
GXX8/UUxewANDeSh5zZo0uKmdbSD5Sg7pWLdpiR0p7UIMyCAIzG6Nq5To8L8zW7C0JcKo6Bbekyt
bG8U0+PlbSAClaAjcT4w4URpEG8smxk23Fw7NIy+OEb8oA5qmBNQGaBzvOi2hndVsflBT/Ony9Zl
A+Q/P/FNQ9RVle7xWc33psuCNpXxxa5a8KAQy/WQgJXjW/TEQpq1CVBYrAX8MyVZkFRRtdOitpN1
PAtZtZ/TyJOiICYB2gUyNOd2QG7aFMVUt0FfFX6V3EQNPdbUPFAbvQUmC/u2C7VR1uS3dsDgZ3lh
Hk0riEzOrZrgU80h2doGQwqKdPKK+3RTurIS5NocnloR7q3I0npGR1ihqnosQGblD+Az+A/2+qkR
wcsy02JES2Ak6/p9XQzfnLyUxHErZ5hzIHo2enURzop1gCbN9LZUrQaEFtW96caHqaftLhkrdVvp
xoM+oXXRQE3+8h4XMeZ8a5jIW6Dgj7w5jz3OF8kBNZvRWwV4R9ANZxdHm/l15Ou27yHqmPbfwLL3
rdTuk9nPv/RPyfGDYD1uH42SQGDjRYkkgugdk9IoaKa5bWDOLprWh7BKbuOy3V8epnhLcisoU4M8
C5ckpCOFrcjGolTaCm1E9WDdpoQeeye+HV0DLOROfXPZ1sphA6SIS6mBTwORhnB31ZVaGTpYQwKo
lphBE7U+LeMtJPo2xuDc5HZ5q9jKc0sHWYSzct5wVxpIfyKxAYZ6wXBOCSBvTQqIpR73PnBnL8PU
pn5VFl8uj3BtNnk/LRD6uKMXAMt2ZjEbUg+O0SyPaVy91JR9QkFu1xLz9eOmPKwbAAZAYy2aUIGb
Q3Yj0tsAibxwwqR2qbJ31SdHOVw2xHfASSIF+5CnhDS+TTi/rJgVN81Jc4q664OY9UHRJXuiv1Hb
OMRKvNFyWQ/AcgZdtOwCY4N8Nd5RIg4ssZCA75yiD+bKxpsw05pjM1YUKoBGElqKUewuj265Nc7s
iT2YIE+amUnzPiDlNctuZ32XpN8vmxAfEHwGT8f08y4/ucwgcKZobQIboXWXPrb3Rlig8uZAxDrx
ggzlojj8YO/BHyYB/UBdEbtjseO12SOtDe3lANxUV0U27mM33kiGxR2gsDEAI8b7GjlruEoxwI7T
MXbiKu1BS4sEVKHt0L6xJf20Nydy1etTmMbQycNzAK4ku1Gd+qHNlZes6iTzu7znML2cGwXOEqGv
SHikZIaiqErWBxlYS7w58dHeHF4e6+ouOTEhXKVtHM0RaD36QLOHL3rp/q7QZu/oREZ4tPSQ50Ph
Pz/ZKZM5j8h8YUrR4pMxE8hEyGYNd509hnn+BWCeIZcx/67NHvIVnOAAsh3InZ+bzEZcf0RTaKDl
X6HVsHe8TnLEJBYMQZbX7isn1WiMvdg6SVhazt0wu0NweYWWQQI6HX4NwxBcfDsVfeN0MGJMdONG
SZiAa9/Ri5te/TqyQ5lmku2/tlTgRTFwa0ITb0Fp17dpH7HSo8HUaXjvzX5DPtP0Mx3dAJVusF5C
CZLakvSZmNL6ea5PrQobsTMUqyuKiCIo0bYQa/Ag9orOsyFwdmj1+V71vlzreW3zI/eLliloLrkL
mEITTS1RbIzU6srKZxnaE4ZiPhLoRkhirjXnf2LJEXZKlORTPiguDfLZ+Dzl1r6IvSPu2quqHw+X
94tkUCIpVRUlFkoRGFRKdL9pn3Pb9q1JhsFdX69fc+fo56dLq/PZhcAGBZgauYf4CtQCwAlYN821
6xsbQKlvZJ7//zDJOWeQasHDWojoElIZbFAwsljbmSA1CCHE/Rk0Zq9uD+m2nQ7KBjn4afWOgwgg
J0G0Vlg3mG1PFoOoUWB+9e6mcPrUPGThtHevoWf7lt/HwfSc3n1Q8PuP03BilO+nE3fJLGZRhy8i
9bwXTU+DxOlvo0aPoP4dHwu93X5808BTcq5ZABIWbG1Z5CYO7Xoa9GP1DNT/hrgDaDyd8vtlO2vn
wNOgowZCMfQoikGQlU9lMiqUglPMUnxq5WE5dsSn2fg6dK7kebXmnrkCKzhGQPmxaBOb1KY30YwB
R9Y/0eRGyST5U9nfF1xWD+L1ngFfHJTRrdvf5fHL5claO8lg5QfSlfeFLRBvvQ1pI+wBGszaN3sE
3g7p2ayQKciuj+KXFWGrjR7oDkgHK0nNNqUFn4FtcHkgK4E2CKl+mRAOrq6M1Mxm/Nmho6Tc9n2S
qXBNCoQNamIkD4lGky+uxQwZsbtsbMIKJepkejrD2LyufU519yFr6Shx7SKY5+dZxfsSyAaLN4uL
UZrrJhklY42zw3xtOx3yr6BYqX2HBaD3gif0Mn/+fnlCRcbdhU1hYJoGLQpNh00amkcVjbEMQMhd
9VAFXpAG0VN8H/njd/pOd9EdZ3OSoYfFatAfHwAXDIox8PgsRA5Ke6ZNUmPvD9vytvhGzSDfRAf6
E4pK9pyzzXprhgA5dy+UxayrTgTtVZxCB21W4j1QobCUoisTtkcoZ6YPrWdsqrb2FUMWe61eOagp
/duUMM+6OlCbIF0RxG9TCDwOuwFBVxjfmL7yQGc//qaEHy2P8DfVqUkhbIXmV1MjeQFNDIsGqK61
6leCsOvyBlpfv18DM4WAZLaHSIkg7hXYN0PYvURuUNa7rN+ojV/eUHAXe24wQ9PF2CluMO30vf14
+Qskiyim++NhRJ9Gjg/QzPL3vs2bQGsz6pe2R4DPJtb2sjmRcJVvWHRt8uYM10Kvi5hrS8diHusO
N2qnVZYPKDp6hkYCj1R/L4c2Dbq5iUODzfW2jhI78c2sllX6Vvy5jnwf8jUcwIwswPmlDg1jpyQx
0MRZ8zDTySfIyuq/Xx7niseDDZC6QuTcQEQruFr0ZWhjiw4l8GLgRUKeI1OWF10bBcoOyNwhb7ms
0zBTAcsvWmkCh/Kqg23fUeKB9XrotfDjY/EgjYW6Mwa0YLGaWDbEORkocjNuvNOLmhybvJaB+9Zm
DLgWABbhymzkQ89Xpa2nWUmA4AIng+ZPmuIrkcRbr2x1/dSCfm5BJYVLCbfgpdmnOEK1Sdf0exQ6
qJ8YMm321eU5GY6Q3E10FremgbuWtE6oMhNgjNjHSd9cXhuxBeHneUIOBjwQKLjDYfHvOIlQofCR
07LE1TpskT92tjN0qJsQBHigPP8LaZ+VspDLcz7/tscn+cRePrPONgfYGwtw+BXAzFdQRgIl+VQP
/qSCNHb+GgEJUhetD8FGSQSzuklOrAvHqtFS4AotWO/tL7Pxyc0/XZ7O1VUD3wrmkeebRNfg1tpc
NzE4Tyf0eW319AXHF2V/p2gl67ZiCCLtiIgt4MfArilsj4pUykw1gph1LBmo2YznUWtuSq19uzyg
lQkDoAEaSMh0Gss+rbKaisku4RcANT6WTX3nzLJi7kqeAmBjdNWiDs4rxsIOzGuVKdUMEx79TIYX
u31RKArH5FsbDyEy/34elZLZWxkVTHI5DoR6ALIKvmJ0WZ4qGUwie3JjMmdnx7KQY2WBTAOoCKiQ
oYa2QBG6Oc3T0oyRF64gSth4gZr0kJuRVXLXzaDFFLwjHEso7APLcAt16BTUe9S+vB5QD9+lTe3e
gZQsDT+8FRAiarzWA+DHAtlH0HFlZaisgsTt91r/NNWSq311KCd/X3CvBcsL2+b7AISwiJraPIFi
WqWC4rl4vTySFUeOLhN0nuNqRZ1bbGvp2tEhY4WqXO3q0QFdQoe6KOiW2PmPovE+HiCZ6MXlSgjY
b0hinjs8k3nxbBNeAhx2JbkmKBM6jhpGmuSkrk3fiR0xiRm7UW0R8DwHMbh09/1oPtnRBBYGLd9f
nr3lQwktJcgwQK4HoBU+tvMRqaAfcedobAD8iUJWOHgXVSoLSNzNvl7qb1VB+g1w7w5e0+q1F2cP
ZlLvR5AdhW7US6Agi6OMD0HBDJE9EgSoAwkePWpahiR/BzkSp+lvjLr/nSatubs85MWGgatAOM+Z
G8HVvoDOaMOYEaBy68BOoeWeTO6egSMk6UExqkrrugt/+NMYcOJo0gGhlrhhSstoKaTu6qAvvF2r
T1e6M4BTL2M/psa692pkEKbUxJMxLnT/8jgXewgc4SY4PMDliqZc1OzOVzYzBrW3jYIEqVL7Ewgp
FOOTI2XR4n/lrCzj8J5/B2Qh6LNC2wz/ipMQYLZnyxs7dI6nJfRk+vkWGNHfIV+4SfK6BuIwYx+9
9blBE85RRwYJHXuCk6zsyFTLJkJ3xACeSQC9gGvVKsmxWJk7GAEIAO8TwEFEEvJMrdBV0sHIPLq5
r5HphlDrtRvaz5fXaLnhkQFDowMSFaAxWMg+kAiwDXdy0Oqk6TuaZb8bmfH0cRMo86DqrqJ4Bv7g
8wUqXavukhgI+LorUWavvSdSK4XkOlmeKa7z5QC4DegeWHgEI11ZzEab4C2ulLO26cv+qA/tc+EV
j0WvSbCZK2sDll7E7qiCAJ4hHinXTsqY1ik2QNldNQr6B/Ms8XVKPmyHLwz62jn3no5E0vnEuQrc
X6VAyq4vzKeEqJvZ+WK66HP96PoYQFxy/4CMImZPuFLG0nFpbBngk9CIr07eBsIjkst4ucuQDQJ/
/89uRY67PB9J1XcF0wmY7pJafXYmsB44g+yJswSwADzKH/FgUUY1YPGWz9Ew2CkuiFzaSf0yjuXB
Srp304Ln08oXNmRXOfhUs1n7bLK53RQkvne0bMuceOtZk28ZzfVcNncZKdIHPSNvAGJJ9uhiFiBi
gE5lvp7gz1lgT3SN5UPJaBaUyAISes1imfjhwhfCAqq9HESD1CNm4nye+9mxqJqAY4sYabkzFDQ6
9TRUM+04aUYKIsXpw4Epbkk+16i88PYM8SwoWWbbY91kKEnE+7SLwE47BlJxGpGAD1AowNVwGnhz
tLXsAylrp8/nOM0C97m+bq8ZBFWKcLiqr0AakB6SfXlXPDvfL5+LxTHn50EDrxcgPKgEioCkIa+7
WfeyNJi8yE8H07f7JlRxTn6a+a9v03/H79X9H1dV98//wf9/q2rWpnFChf/95036DSxG1Q/6P/zX
/v3Pzn/pn3f1O3mi7fs7vXmrxX959ov4+3/aD9/o29n/bAhNKXvo31v2+N71Bf1pBF/K/+Vf/eHf
3n/+lU+sfv/Hb9+qnlD+16C/Sn7780eH7//4DRWdkxnnf//PH96+lfi9mzcGaq33xW+8v3X0H7+Z
1t+RmMNao7uSk01zwcrx/c+fAKGGQrTN5Sq5t//tb6RqafKP3xRN/zvvZwVBNQcmgxMAX9BV/R8/
M/7Oe210wCxRuUOvlPPbv8Z+tkq/Vu1vpC/vK6DAun/8ZpxvD1zLOsiwcWPiYY7kHSK687OmOUrV
VInt+l6lb63ms0VyAK0b5+BW+Z4O+eDXHnscxuIlM6cGckcBzZvZL8oR1dEvY5mWvq/r/qjYx74B
eBXkpjHbMYNudTy7UCk74prRfK0BwoM8g/oECPy8/JGw7AEP0Wuzy65St36onIfU7r+dLMSfgz0b
HM9g/wqq+ODQF4w5RPHvJwEr//lJUEWjAlza0Qi1eI3tB/UebNwhop7rJM0eImJs41kP5hD8iiGJ
IbPRfmXx/JQozacyr49mmz0ro7Of+igsk2KHTudrdFDQ6F6b9NB1R2Avsl1rPXn6laNoAS22aUK2
RqKHhlrcGXV33/XVkVEvBMbBd6ofaWX/cerODt3pCM/D4j8HiP5MkA5BeUK1sLtOB4gyUxxDqsT1
tandZHp6nzDnYDv9DTO8I0nNXV1U99MkRbwI8pp/GAbOEd4Z5OZ4+QguOhpMre6m2vM1SEDF7U6j
5Krtoqtxgp7I8DLzcNnsgqoC9/bcoVyvXqlljAa7ZJe4lq+P7VEvtMDtb0dzCPPm6fLK2zzFL648
UA8gJoM+F3gh+CV2svKT5yBWy6nnV06/sbrptSFsV6rHEbVSi7HryTGuJnu6VacSLDHJFtWEG6fL
d2r7XR+0HRviTTXRY9a/gp1wn7Ji11f2YTT615w2r1acPmBUc6S0fqJG+xq5mcw4qJnpO7XxqWHe
LfqBwdjV+1pNv+g9yUPWT8cmUT5ruMK7LNvp/8vcdTVFjqzZX6S7cpkpvcqWLwoK+6IAGuSllEuZ
X79HzN25IAhqZ582YkzMdDcpKd1njmkkJ8pBMGv0jVDZdlChrbKb2ODJh5Jr10g0gW0OIw+ZybMa
5/d1nh8TYgBQzbw2zyxd6g9oqBzl+PH3j6ezr1f8X7MLGU0Fp9bc9FtewLKRS1OR9iZwWdUBzfoT
i7DvI7aR0m6vKjAD0186WT9JIr5VzeI1iYInc9Qfwl4cldDWSn7O5eiWyB4h03qSmTNFyq5N1Zc2
hGZqG9t1QHAJhV5N9ae0Ufy48YxMXwWQj8uizkpk7oYG8VpImqO1sNWH2M1a4bY0OsuKk0Ngp2sQ
gdShw83pHFHxnKTRrVDyrU6cZmCQ0u2blSqZTpiYaIlk05mWybqATFUmS49GZ3hh+WL2uVMrbF9G
Yt9XpSvDRqVJ+GHIs01D45sUSxU0QJ/s5JCtqMx3pl7Akida5+GjFMbA1qiHNOBXAca4Vkr6h9QU
TimTM3CoaCfEQyzgtIFykPtuXZVibUI0HYz+TiZHQy59GKtsaCLWtDU2CVVeQG7Ef8M/cRxWrJBt
sLJ83uz7vjvGDYVLQOxVD6wW2yYqvTKJ9kJp/L5t9s0k21pCbXBQnZYgwAjKXRmP20Iy/TbUXX0q
PS8xYydUODj31SZSGlSWK2dg0OqLzRV83bdGPB4TFXJXwAmFHdqtrbJ+Q2dpryX1IdYTv49UC7DL
0WpRVpBi41mtgmfT0opi37L4JEXqblDz+04ztgk6sw2wK1FZImqjttQru7IyttkguVqQ+qLo3Tys
N2B6u1nWrKSgPAKaeFvVqWNmu0F0G2jtOnlSrfowdENd897yrrxKZAJ7E7YG5fQuoeF70bFVkF3r
nHiW0htnVZRXAalvkkH3g4nfMAqBcU33mZgySxD5FEBXEpB0S5KSP0zQdYTzh5mpiz7AuaX6fa3c
hlw/5UT2w8nw0yH6Qzvij6PigfKNsnW+m6BnZQHie64qckjqAWnAsONT+kdi1cM0BO4Etd5xPnVZ
A9FWthbNfafTgx50e6IUT43Kr8ox30Gy8aDKdlqG6+SBu4qCNSKhd6dZkglpNbNPrKTVB6vDjmcV
JlSB5U9V3tDeiurJH3N6SEBH1Kd8p0i3MPuyldY463X80gbFTTVB2L0mflqMd1mjNhY+r6d32ioo
c1eSBqeZcgvmVnftqK/KKn+RmGyhL4aNWN2kWuaGXfSi6tUpj6QVgHHnwYxfkkC24MIFmmHyIif0
UKkF/EGC5zAwzpyi1kQkl4zKqa54ZZmkOYQRMBG0XgkD53CKQinPIj83ypva0A59GGwmmt6K577D
epyLSUXF3MFMnS6LLGmsDjI6PJP5TqvqDWnkTVX0d4UER64egr/IQBrLGBLs2zOX0ut+S1PpZYgx
ubV+Qn6267J+30TsQOrqpsn1u/oN4B34m9SqYvXb0DjoqK8bsXlKk9aJoxY1kNwS0Mm2sqJ6KOPo
T1QiuimC9DYhdeexXKwCxrc9Mc6hFqP4pKVOCZGjMGArWS+vsqZ361jZijh7KqNsR0tyyGOrScm6
LsobrUOKHaryXToG59xUfTnjfsn4WtI7w2H6iB7PHEroiLOSSYUtiiq/GzCz9qKmeAlgJeggbImn
qnACOqp2lBlbIM1nWVtDcquiCKHj6EBYsrAEg0VU0lWWPE2wuFBc2chu6qZeJeaYW42qn1SZHUo1
eQeA3JM5PQ+NarWcvEiNWPdwCJFaZqtToVlJKm3kTNqoA04YwzBLO3aUJrlDLcvvjH5VFrIVlj0K
Y9cT+mUJgzwmdITLQNhazW8y/b5hyW6Y6v3ApW1fZg548psAmvgibu90JV+RUKxVJb5HA+coOjO0
dDWyUh0VvsG4H4vgXY8rp2UV4BDKvglCN9kPSnnNw8pV5Xq08mcaZwhXpaMylmfwGFyJ1ltgJhJr
VIjTG/Gh1lJ3mkw3F6ong90V9xWOMXQGovgkx/C1yh5R4FkNLfaYKm/MHpY4cgIimFhNGlgjJDvN
epEKzH6E0tlVo+xIHu15bKxEkK5j1Q9QmqQmVMs+zGKHs5rRq6CDUjjugd9v6A+5hWV4g8RhVugw
0EwxFoFtzhMUXzPYMmeJDN39O6M3nEAcC21EJW9y1IED8SlbHQ0tGfp3Ruv27UmXX3rprDeRzUPk
M//1d8L1Ja/4O61bZn/nMsdfy4TuSyL4v0sQ/bdyTq2a5Y/6f5gbovj9aea+5YY3b+Nr9JZlb83n
9PDjD/2VHhL6L7gNwosHlmRouqC8/Hd6iF8B1RspILhT6CrMZbP/SQ+1f82NBgT9MHnGP0Aq/ZQe
yv9CFxVVSsRuKJ6gUvmP0sOvkSDIIyiJmHNBGkUEEGOWcX4bJ7Gu5Tm3FfkeG/VYBPkEJnV0VnLz
icogAEF95laecmoNSUWdqDOfZMTe1lhUOzbAwLMv1XUn9Vsj004ILPVD0QT7GheBwq/ZyAyrlHJw
0bX8KTbGdVCV3jDIN5MuPSlDd4+S5Ioz+BKo+JmJmt7VI7+QQy277+hJz37jKIICRwml7mXpfUxq
dIckqMcbXeq2cnLVDe0KnCO/QlgehtkagbLVEP0RWaZTqZcwJ9qcYv9nM889cR1OkBDAAakCgg9L
nadkqinP+zi00YOvrSEobwqSrkupPKRmuEZDY9P2iScIsuXYtEsNhug6d42e+rwkj1Wmbs0OHzxU
7ChvzmHIt2q2jorOh1PPc1JET7N8g8W7Zh+w8b1pMnccgew1qwfoInoAih/CKsotQHtcGo0QUTat
Onr/tO7/fT58TlQ/XuLrS6KkjQIbGlqoHn4rz8ZtCa2fAa5tao2IrifPQ6WEVkN54FQ9Cx+iCN64
DTypwmFypjzyp6F0O3EuqexMPXEyGEjpkg11lZUKYjpUwTlWjSGsfOJuE+mwyyLAXRbcThPI47Ly
EGvjQ89qv+LMC4wTrx6y+I/a/kPyB2YPlRNsjdmzAcihJVYkrZUkVmY7uqxP9nw0b6kZ+0gcnFJD
hSSTHSiB7rRMXKiqfy1tzIsGwCHsS5RuZpnaZcWSQp4f6pBtatNkI8idGkbYgBN8qG87s3Zy8xKD
/UMPfTGBnwdctlLLIgxlWmPAuiOOStvXQu18zXgBVPJtzHF9p0hbII1tKSFZ6d1e5PCbrYrwpAxS
5bYBd0SuOIT0TkBiK5dNB9BZqApEq4yVf9Io51aDYlLbtV7Vtw4DLBC4YSusWkcxuJuP6a1shpCD
17qraXxISr4xzN7jVX9VScwmeehOg+zBZze2pEz3iSDPWdK9RMI8cqX05RgCOBDxIBl1Amm4cIh8
38NfpmNJZGEw0EDxF18HQacKslGXremo+233j7Wlvs67tqj4FGEQpDoEz9G1eUFpzzEneCPTSxX4
5bE/ry74b2OvgmH93UadZUbZJjrchAKUMOZEpjRPvx8Iy4b5xwJGV26W8UGZ/xsqfwzLsoefCuQX
XcXjYmNyEA+m6wHOfwhXSuN/ofW6RLz+e0xUykAEmPfsor1WB3I2QafoLxvmoPA//DtSV6wkOBc5
tHVjYCzQbb2wOBb9jI9hcfahAI/CP1BQi2En1H+bMcLXjMVkxbn2GBqoCsg1yjhoZqcXmv9L9BqG
w2WGHiX+BhP/G8cJwvFm3IOBD7bR4BAPyie+CpFu0y89aV1d4jZ9LUF+ILq+jLYIRada8FCUGE0Z
7g3EnTXjbi9OlB7iOthTdishPan0P3WmI5vpvISwfa6TLTPHVZV3MEmFaONUS9siKla/r7Gvte3v
j7ZoCZpGJI1ah0eT+B6hDTpo3DXL698H+b7zP39tNIe/VhpD0UpVP8xfu8HlDXCtgoyVqE+FekkV
48LEgt27GCoNG4QSGIqMiELaJkDKVbBbjU7u0P9hA8rXWxZUDly/LdLXN22ceb+/7MVHWBw/eiAD
h6HOb5ulWxQPbvW5JD5hWUtrKd1qJsjT0UmmKHtDSZlf+NY/hGpz24OhbQA0hv7NTChtOhJpE4bP
1vFqVp8PnNYaPc0Vb5eI/IsS979Xz6exFq8aGmXWMDbGUL1WXtNDfq26QQWX2cjR9hqzcNSDCqyi
qmmxNx1G1mT9+7f+fmp8fVft62xXMRSAU4LxEyNMMNswBYSIa2Gotwz+GnGmWL+Pt+xO/nVuQMUS
6oQzXmPZQRdBq1dswoCNq8OnC9JbMx+gWGm+DKerbk1XsXeJEPD9SMaOgWAS5BoAREAeNO/hT4V6
XsD+QdVjcCL71C/y4YW2+hW8GqAxqER2ryW3YylZQ2zedMaE1HvENQ6qF/ydpH6f8Ys8vG9nBoI5
5FYQrpABhUOb9uvz9JGiDgGDqFxQZtcJ3CpQDQU7os+8CTKOEF1YUaPyZIWDcc63RZH7TSmvcl64
cUpQ0L8EBP2AR3yJu8DxhXkWbP1wIUP0abEMmrynMZqukc3k1tU7lNWAR3ToYMBRlNsi0FbNpLuB
xiHLkEOZrfBq+VpScdhmZCUkyR4N02Y5HJ9l9OZEvRFZ7YPauw6G/ph18U2spFYqm/7vq+nb6p2p
yXAxw9RCwwcYv6/fcYTAzRgSiClNhW7p4hESuYHkqOGtVvzjQwHGX0iGIX8PWALURBdDVRKhVcNC
WAkM3WGKM78dJbsW1RUxH806uhpY40ZJ6ZNGv5Lzi6Dj7ysGeBDYV6HapUN2ZIlviasoU5Wqlyy5
Jts2zj2mIT/J8vgUzxxHSUc7h3hxIzvMKAXw26WHOBr2bioox7qLHN5uA+m20gzU9p6z7LEZNPi3
NnZv6laaQeQwkVGqKpil1KuGhFfGBO/yTto3RefoqJHl2UMiPwXsVmE5RN3u1eQ1Vga7hMmuUeGe
qH1BDAvql57QXNbeSii8hamfoKVRDce+1M/RsJeYsJpxcLIRvxfgwgsiIj/scwiiAAcEZiRald8w
HeDiy3Epd5IVBKOjF5NjkAeIVAHNojrAUzvGcNWpMFxN6i0bgLmn1E0LsuuKSwSr74EnlsvnJ1mc
62lYqwBW4UmA8ECv0orszk8cmCJCXpDB5Mz/5zfJYsTFFjYHoYZNgxHngKyInQaejwMUQG16Bylw
L1gXK/0onYa7ZNvVm7CwU++STuwSVoQVOgvS4F8UOSpkkRfn2hSqWQEGumQZDJ7isYoKLsRAUyDY
TIIbTb4KkqMS3KLmfEhy/WzKvZ81uatV+k0uv0Us8KA/bTVG7lPJcH4/K76FkBCyA3gL6QYod1A4
XMwIPJwKIQsTnNlQWk9Td0gYVFITNBApc2XeHwnvbLUd3N+H/Ra5YVjwNlFckwFk/YaMiYwERC10
DNCa16BFlFg5zLihemCZ4YVk/YcjAu2jWeEYANbvNlmNyIpC5BgpGm/ivgcGobdS7ZIF3E8rG8Z9
sz0hZDrh5rSY47EsQ+iemyE8CeUGEmPBczCdmEAfA72FEW3FoGmf4f/iKjUgR/101NrsASJNF6jD
370LTNybeAr0w+Yra5nvRMQYcy7NUdpgnoFLcRttU5iRX1I4dKJtO3awKtC5V6fM0aH+Iabrir+N
zW0Xx0CJdNEmj1Nk8mglRxSSl5OGnlh+zjqAMIYJCzC8/X0l/PDlvj7xIolJR2VoBpxQsDaCMfxO
t2NmJ169SgHK6iUYA1yMe77VbxbfaJGbCFJPcdUqf42INdffKRY/ii3svl4l0P1jr/XRlsG/L3m2
XXrZD+zEp5ArJ50e1iOG1v14hTpsa3V+6aNFZ1frzKWBo11YEEtC5nzqIJaaFTBm21mkpl+DgYqx
CM1oBHlAaNoZ4iQBuf4R2o5VhDbaOlFf4rTw0EXdkqa7gnD7oY3FcxBXPiPmQ2HWB3iigs6oXwh5
te8nz/xgAIgg0gOgYknZHzmP2pgFkHwMBixNlHlHbTdQoDWGzilk4YzoP5NovEol4QVA9mQgPIc9
pJsAWKCjcSLakTLoi5l38K2xNbW19OY8ATHQljZlfp9AZpQxtwuD+4TBZBvWBAHpV3Ukr7MocKg2
HmsttPPkGsKTFi1Kp6mv4/799/X9/fyZFSXmLQkqCS7gRY7KJlniPAfldTS6tUQyh0aQ9wkukWF+
Wlnz5TKD0ubGxTKY1wBehe2CFtlJbAGo4vDjtJrzJE7BnKvty4JJysdZ8jU8/lBbAF4UzqWz9trX
pSUVBdWCCUPCxMAa1HoFCXHYOI5gOw47ompb3kCFRxrdADBVKjpLq2RrYJI3aAFC5BL8QR4CigLd
I+iIREXuoI0BHxIwGqRHeIS5ZXkQ5Diwu8FAVElPTE/2UM3zCdqVLTf2PMk2WZsdm56tC0LcAHS9
GNNeTqMloHBbw0c+n/w4SHJrRMe9bhWc/TE6xJKTCThwqLkP5wqrjJtHXW5e+9LwaPzedI+0pSvV
qJxJHZ1qEoALxH9KI7AKaQScIvaaybTiVtsmUV1YVSyfal15axNgAVFDrYPAQuLgg5Vr5ZF8KiWB
a+cVODm7VnSnxv2umuUqmc9WPQaGQDmjv37dpsTWE91h9bQKCG6S5shz9WoypIccBd6oM9wovAPJ
+xogdg/eU2uBpDhQ2GriV7SZnFRN9jHtbYqcNc2g7FQUiMVfM/wuSI04kAnbZehQ5pwfc/LHFMSd
ajQpgS9KWQHjM9WFIyFeOXQK5WVQ/ATWPgF5GETvBnX93JvqcZykFz1MD9xAAJzR0c7NvrMZ+DWV
Kh1aKl3REvU8QKZgd3SWp700pisTVD11blKHabsXDTQiKeDbeeNqdbUddZTMuQaAQvkcdIMj9HAf
UTQjaon4IZAkE2ABspJdOH5+OH1w8KBIhysbcGo6V2E/HcQqS6tU6Dh9MjhKK6vUnx2l64vx50/b
8ss4i7iAoZWk17UZIbHvATnu/BQoYAcp9BkK5nb/csnh46fzHvEUTE+BkZfR7VlkZNRgWRlJLIKC
Q+8CUmXzwopTNwWGzManVuGx1a80NP1smUHW5pLRzw93K4YH/09GroFy0SKe5Kre9Z1EMBbsOQdV
35UB5faIW1ZLqYMibGwlTX0hw/luJAYM7edRFycRI4JXHXCH9vCglFZ6GO86X2wlXK7tPdxHIJgB
cz0YpmnrAHhYe9x1N4V/6dXV73n316dYrKkYt9mUTHgK4BH8sLbUTbeqMO246VG7arfxRtzD9Lt3
xh3ckEen9Qs/8eFN8TLbR0kX6oXf+giLb7JYeSWco0pAYyKbGmjM1ZLDL97h38tWizHmMP/TLpK5
whpQdlAssvWNitUdQ1t8WvEVKg6wjAN9xr9UJfqoAi1uHZA05kIZyg1gnSyit4rW49BL2Lk5JXaP
3lbWNT7NVLtsTJuImyxMnBGI2PYmCnJnTNtVkr9EkCuQSmNthsZeNt0W0rEqu68K02/GF2OCNDq4
OLOxQNhbg4npIvDwhRlrp8q+lNemI6TAiRhkoapGctXmQdMi4NNutBxRR9Rcj9qrPsJusAc9VO69
BDG+eUdQKOLTk47+oJL8IWg68ET3NeWs5ute3vW1Udlyp9xEZWfPaloqNzelnq3UqLSyuNxDDcHq
+netG87GxK5/j0t+nrv/fMelnaneJUIxY2k+KLTXdg1s2iPwX6+gEeIcROEof+H+xdB7Pn1+mTxz
cToZIaSHav1jwch28od7wyreVWtxuhzmq/NRsxwLCa1sgC0DJLK6SCx6Mxh78EURYHrQ6b/vIOwl
3w4ryiEAl3hz0YHUOAxqmLa8xU5m63vzfOk4/umaQXkVVdbZtRUsvK8bpGl7URGCZxjzVVlHD0Yc
Wj3vXDYlm8g4V4bisF5bXZjanw7hWd4Cld05Kf0IvT9tS0kvDEXi+MoDALtw6XO0crpFOGPVhrqK
SPqHqGvAHizQ9C0NOqUDDTwlUKEPMDqG1GEX5KeelVBQzO8vPNpPp9KnR1vqw7T5yJuiBVyycQdn
Ejau3r05l/NLnBghmtYWbJYvNQGXWmtzEgQ2wt8fZMkeg6TcIDcZ1nq0o/60a07DihyMxBEWUlyb
2NMbnGaxTS+u9x/XIDqPEPIH1w8FiK/zX0WKMUByeX7dwJdDO3zS1zragd0ZQt1QGPjHBnDzixow
C8GiokCoLa5fLMNAHbq5eo9kGi1WVJ6tuU/TOZodvgLveKkF+UN6gwFnIgIBVdfUFzdvw2gvhhYD
gnAt2/Id8g+HBdCKqt/nazd9LTahd4na+uPZ9XnUxU2bt4PMk6FEf2YNUpoUWCWgoDZkz3UrPE8u
e+5AE8Wq94YL6fRP9ZW5/2XAqATYJfrRufq0tfJCrzOWoUdBT8VV5QpncpB7bpm+Vl1cfu68ngIn
RswxuXHtNmfon6UWYLetdWEn/bS0QBGAMaQGwADYy1+XlkKGEuQsLC04dKKqLVYZIBxZcZzIJs8D
b0ThB0oFloLKDY0H35Dy9e9P8NPZ9vkBFpMgxZosKgrx/Lx5Qe3BSUnjAszmZ2ppxTUO9tK0utJ0
fh/1pwX3edRFWBOJwGzrScX1r2+C6NAwP64vLGry0yEFjYxZdXvmQi6le1qWgtsTDpFdolWDfMYI
4ZgSvIpmb4o3DmH9pFZXrdo69bz0RrZKNbAuuvd2IA408O00ClxwOxzo3a6F9tqoa60J11IHz9Dq
LLTYjsmO4edCaOQqkyqrme6N1kBk8DopAKBT6TwBvzsAsxOVJzN9IA0ErNQKadAhBPMBzQ7LjMR6
4qo1xpFbJMTtaGEpDAx5VtTbgAu3KStERO0GOuj/p5WHPgL6PVCd/uYyWemsyBPa/XWoNVa3L21h
KSfVKz1cNY+/z/ePc4FSJuq3bO5eLCIGNLgaBeaPaGZN72q1j9F9/32AH1M0FC8gXSOjxWd8MHI+
belKRGUCmAXajk+z2wm6ApED02GI4lrEFti87qVr4Yf7GU0rFFTQ6dQBJF6sYQBO+RBzrC8aXMFq
EuB7YtXNVuH5Gp3VIeQX9sz33j2QpEjIoG3wYY+zbGRKQwt2JBUIhfS3sQgdVbuagnFdwcS9IpUT
9OWRmwVcrWRPxN2Fc+KHGfwy+Pzrn74vFQONuYblQtObqMctj1bZhSn84SwEhfLD+xgZL1BTX4eQ
9TgBbxsZ7gxoAt9vW91K9qu2qTf126V2zg8HEPC9FP0cEHtnXunXsSA0GcQ9qSLbKBuL9o+werFL
UtsXXunHYWZs7Cx7ALuhxbpvjEyqw7zAVxMI3JIiQPF2jthQkoHFlDYWFs3rdU1A2RDthk2Vq8ip
21PwSgzVHZXq/PsDfX8e2KfgI2s60JbotC4imYbHchAQFDLk+i5sj910Y3aX0vi5Fvo1Yv86xiJi
HziwltSMcML58AI8zERGF162Tna4EltmC7f3Blf48ko65xddq75vynlw6NvBNxvB07KXXA5qqXYV
KhcKHSzBU19LWncyQ9cgg2Om/SmSi9vfv+kPcek8JhDoiNQgzrUUAinCKNDHMUe0hO4kFIAP1C5u
jMfZdz1H2w2evQ0gF5KlXNiSP00memJ4UwQQ360XiyY3S5HiXUcgeY3wXQQg24WXtNy+b3yIxaD5
ibgQ0Bb9g0nxaeOnYyu6keDtOMo/ofIGVO6ljT/nT8sV83mIxYrhZterkYFV2du9q0h73YauEUCr
SO8GG5Y+fBva8qqB8/Gl/TkfKd9GRsEd/HGcboDsfD0Gol4kba3OI2/AVFuR+7a11BuKhBJgiDdJ
sy4VPpZKk0hiZujkrE2BMhNFDPR1RB50AVdCZHUt7FWGtbLi29GjXnS6JBL9w0eFWDNuQuAm0Z9l
ixMuAmpbSzmSVhVSYWV+aGIUTzjoXuTChv9eMMMbgSeBUAuFHJgKfX0jOgHLPPUYKM5ax0SzjwWx
qyB9SBTqJJCOurDd5gdfzNmX8RarhZa4ipsay15qE6/gw0piij1I3Avjwi6a6ZbElW0C/pGPVxGv
QWTqPbDk7STV76e+sMiHZQK5TjVxD9VH9/fH+/mz/+drLD47bURachVP148SGg3nCnArVTqO7PT7
OAD5fv8O0DycHVGxlGbqxdfvPnRhHI3lvDFHdSUprdOFYGv36XMOcEhOofURVAh490pW/Gnbdt12
vZW1YDW2XqpL8GZ8R/SyBkHZ0tjkmGBk1mnmdsVkQd7fUoVhsZnxmXVX4RTaTVhC8n8XjIZfpfku
6TWbMZ+TvckDWzGrrVGo9pgAiBFBhMNIjrgVd0Ip7aYTG05yP1bIpiBHLBY/z9FGivP8KRqomxTg
j7MZQXzbAo5dV+D9RqlHiYDWqnRsBFoxaZnZiVntCDjRJi9OWXCuUFZjFfiVapFaasHXlWaeDPEa
d9mNnp9HXDuTyfw0mvwG/cEBXZzUzPwSoNkJJxjXQSZnPciCKBeiJZTEFF31fJWlpzRtLRhnOUW5
RtzqS3rcWXIF31fSWCPSjbVKi+sk5r6kjcCoc0uUvSclgxtMk4v6jAd1iifZzDZ8GJy699voagr5
ZiqHuymkjqGfRYt+UxYcU4YGZi8cQRIAQ4QFn1mLA6VRAF9khvJakzbECO8KhCgK/gQJDqVE1oVy
lQEbSlLmj8oVw5+v9RZsRmUnt53bJP2Go5PXxKVbFInFDYZ4Q1+FiQSGbrjq4soKAawvpHptyvl2
VANbmDeiDU6h8dwZphWpPg2al1iAbdheE/Wq7V8jw7irtV1fABOWQeMSNplm0Fkgf9pZjnAewAyJ
rgr0vLgZ7fG/KPBieEQKdXKQnU35kFIoCPMbBRQnaJDaJLtVqQvgmWVEup11wuqQUQ3mcZQNR8kq
S2qYlSATktMDiDjGswr5Xw1G0yImVhTcxDnZt2Hstz2OatrvuPYcCM2KOLd1ZWu2hh317ceHbLUr
g54EnILyHMzCZwkIYxm0dzkLvLTcgeIMduoLsPpoKhZWmdG1DFGLPH0I6wayobdmeatxSwnALBrj
EZqsbwRbw0j5lQ5XUxhiR06WqA8Q/6CtslGB8WEx1hWPrYCZTt1Kuy5EQQMHTyk99fQ5zlSvCMGd
lQI/gwaIMgbA/wJM1W2loVlX2L/wOSYp1lIaOXKFZWEYdkNBpMVmqkurq+9lvdiUvelNaXgygUTs
qpNZS74QoN1qT3lgeGqQzk63qxwaBD2J7XSM3kEaPoZJeh028nVI81tjENDniCxjugrJPZzAXE0L
roOgUyABJWAqQB141kLeDEoMVedxrfVLI9pMzXOLDjgbybFsJfCN75rsbCg1ltxtHuVuP3MB+rnG
jsxIcyBFhOuH3M4z//GAAwgR6FiWlFlo2zrEAIw/KPayXINvHoKBFO77sDyoI3UFi3yOTjLc0y0+
5FvBwrXR7hnO/EF+HwKg8ml/zat6naAXo7ZiXZuAniDWgoG33Rchuqf7TuTeWLRWPdUHUGQBnRjs
kExWFKaupAC1MPuMT8KLFLiaVpPdaMCwJdQ19JceNniqLOykr9dC1S3eP2Y+KffABA5ogndsQ8Lq
KYHFHEObued3UUutApWCaATQOL3NR3OtmYWbq8WmCKWt0fYrWMO7OcyIs6q3xvQcTju1eMxyvpuU
xA7l7DYkwb4wihMR11p7DCAN2BSoOQCVVFY13PlgQ6Khv2EgQ+p1t9biBpyf3om1wlPZewHAYlTK
TmOiSWiGiIFlK09vIIZqARi847q+SSsNjs8wV0OBKetgymzE+wKs3JGpm4g+Slg6eWpuQvzASN40
UM+LRPw2KSo+WbyuwjO87XFnHHGKgyuG9TUd00GHaEX8KFLjCi40u3iMnEkz/XFSwB1+VVpsy7Td
NnIELnpgVwbMz4PqWilQN2bZDlVXR8avB0icNZK7lTZYjUSvBAtQG1LdqPijGe1L31Ow357hF2Dl
1UmphTtz2FqAA0bMmdpgJ0Pay5R6Z5KaVauB6J086kJZTyT3RKv4RiuDANdg187ohGAjTFTbBol5
SfDeGqDNRei09j2UQVTXEAGUhBt/lDsXuRkkGa4MqdnjhSGPMa5Ngp4zyVwT3oxZqbi59FKqsFyu
ledclCpyPd3pJwhn6Hf5WGMFgK41Dm5ezaCuMwtMOwxHuM+lB9iMb8wRC5uirRBF516aF8a06rm8
12p4egDTYvB+l/LJYZoHGiJUKdHknp121OlC+PJDkQGxCwT00EwHAAEl769RxSSTrASSNrLr8FmT
b/6btPNajlw71vSrKPY9NPBm4kgXMFVFU/S2bxDcJBveezz9fODonE2CFSxpRheK7t3dTGBhmVyZ
v9HzBxmCQpOxE1vniLy4ghk7esHEO2aY8Z0vsKTGVKJMoNrgkM11Iqmr5ZR1CxKl2mRhfGvk2EHH
CZtaX6VuLmi3qiLsKqRvnUHFtoZNXB7zE7UX74VKvCrkCKG/C1VPHCubbbGE5C49/Zx1fadvfDwj
ymNAgTAp+Wjcf7oNRSAdFSAj1A3inb8tKTLBhQITs6VIqzjHoa+H7wu4hf13wFU+GUrADiKffNLc
RzfdVrjpNv2DuhOOWqcdALgy/DiJYZBNyx9hrNWXL3KhgiodOkENETG7UZo7wFmCfIp2DZzEkRxF
eyybOzTk7ax4lScYo511hgZQLUebAFx9ngTAY1P9SKr7wZH+lvF/erLVnQnb2iRWl6tMkz8C4neQ
kWnB82slorfaDUa3YBQkO68RC1IVt+wyuzT2o3Xfsza1Ud9E2msoP/WIUoCpxPFe5DjXaThcTcVN
jDWE1V0YRWhP1k3Df5cAWIC1c3rUI1phhgg0bS20kBsEJpQQkKsANmqYnbC+MXwd1dTR9duXJmY5
hrDSgOwU2q9I/NWEb2VwpgcGT7TVqXha8nVlSDZDbMtkSqlwFXeXU/ZLhth2ZJoeqMHwLbnU6lix
a986SJmVtEVT0tAJ4/68G/ttWFkPc5act9OfVlzdmP5wNy42ebX1fCT0gXrBl9CrDWRSqYeASQ+d
fLrNisIbUFwWuvEJEaRI/S2ogw392OljrJyN3DWrzA16HDGFo2Nw8EFo2iIzzj2bS9LX+YyIhhKb
AzXnthDPpFi4MofyRLeuQmWnRdYGZoc91QOSNkgNm73gauDq0xbqTnzMBOZAE5ul9elRVjtbZc6F
pKV8DglCX041qEnQShqKm8jQ7J42PRzyXac2SKQl4PCq61Zp9nD9oXfjgxpaW03exJPmDZ1s+2F7
bsVAr6b2XJ1vfv56B+/yaJlS7gH4802asptY54HP9tbmz6L1pOJVukgRNyQbYNHcn4N9lI6+retF
FwGkkUR9dHWTnxHpUdOeYWndtnZVfIE3k9fYimlXTrtrkg3bnuSUN4ULIuNYfeRAExDBW4o+uOeB
bvlGnDIncBOY2CHmEd5MKcszUK4agN5VCa9EBW03PUblbAsoCYT3FdA+0+R85hDu4cpjru7koujV
quhO4YU0JHfZjMfB3F5EzT4MjvmDHrjs87D6IlViqACBV6sqmaPQasWlvSGIIMDwodDwvFasYxvH
8nPWn4SfvhhKyTK4itVxQ5/JH8Ry4pN0j+OUb+Ycykw+nRbGgJZqbUdie5IEBcIv7aUitiU6M+gZ
gev9eWocWrtLbwovN7APtKe+rl0F6wYNw3eAfd1JIel2guHrzxEONIwWvePFgAClSFQPViPaNezh
tUo3ZUQa6ASM3bYZkA2zpd+TizU7d4TNMTDX0Zir1+rkMNLymJbRUvyTXKRLJZrsrQd+xe7vuZMe
66kcqkZB1iYvgxWyCNN/HceS9+/iagnYq14K1tYq6T8KTiUebcAdmKGy9amUujqk8Z3RAHpSSq0/
IIvh27CNb8vWrsgb3NGTXYbUQpTp2Hc8EBfsJ26UaJAAWVzP2Faa41QaaGAPToQx0c7cLuXjimoV
QlROnHu4GD0GrvV2ZP4sm9N6pQBHwikDBQnRWLd2AiPKJl/olm9p2AtIQ6ZA4CVedJ1UtnTBNfwE
fPRF7eiSZx5hqOsH9mkWlox7tbY8wrqKXAtmLXEBCJw0xVAxPpOz7i6O2cPQ3DKEsywDkSyW1bke
hNeCQUWozS+sQn+0/Pdmkk6Dkbs3Imhxet8r+omgz/ZUqE7XgC+ZTiOrdISQC9WCglbQxMixinf7
9F3BLS9T0G/PsLwSjY0uW6dxGJxl6rhv0tERE8VOAhM0R7PokKW/jUi4CaUMZje4LXHwqmyRj7qi
Gl22z2Ye3qfF9Cj0emf3XQGEZ+KvdYbdC6JrwReIuaZlxX5Aj7op/ZNsvM8AhsqNf5lPhdtymRvT
h58/60fVdPVZl9sHGyD//936wkzm3J90GUbBKAJDNTZTcmoIFUhY0TbS1NX01jY9vjkSHNO1Vppu
AwQI1AaFJcVeaPxaGNNxQt+urBABHFwRfbVOkTaJ+aJK3QY/vWsk0repaL76ANCLSnIGw3R/fo9D
TSmaGigYiB+onrVSgzHMXSZWdeAAsTnTrChF/Gc61+OrPphPhEyylTrdCGTRYqNd6OLwOMWK63Mn
j2WqpINwO0S5d+SZlm7namyRwyAfo4tk8VyrNEhPUDKVS7ZcFDvHArmeUjsfu8ShIOuGicQ1f/jF
2WSnanpSJsGxIVk2u6/hF7cMwi7gqu880yKq9CBqsUjU2/SusNDA07J7xSAbRgQOMtvlLN/V3QAi
1LoQYvOsUmBhsM6P7VjrPjcfBYzVwo/mDgk2ZbUpp2ltzXNJ0bkP7wEa24WpkvNcm4vqpegV9WJi
xPK8EYLf9FWONNvW2xbBQUiQSnz0vDj7vp4ISZDLtTkTXJDeVHl0qsxA6fNWm1/8Sb1ET+s/zCjX
8ZbB+HRhHuUS/ddmqbBbzQm+fAR8SSNu75RfWfRH3m45QD9/4nW01dCi7wgFtyeaEd/4IUTfY9Z4
3/aHdYTlCT69j1/mZttKRAgSXAZqLb4ZJutJhMJEneYq1K1bLes9UymfSkvcBOMVxt9eTaM7nu1Z
635Nknrhh49SB01OqDdIuW7zAFWE/kUbXwfxeqKd4euZ21SdaynpZqolJ507Ozfuyuw/NB5W1y+z
OrP1Wtcpr/AyinQemzfTcD0X79TMfl736yTkI8pCYEOgS+Y+ulr2FrSYPl6aLAp9Ay6rtm7ewzpx
S/mIpevBuf0p0Oo+EUBAGi06jxQiUjDjd1UZnGAEb5sRUqkVcGz/yGmxZMPfptungKts2WzVYeKl
fbuj09L4paNopdeHgWNRl4xl/MxRcpQwyf55QA+9J4krDFXwK+gDrD6b4Gf9mLY64Pz60hDEcxHG
ViU9WIg25blF28zc/RzwW1Vw+YTsGZQT8Dmhb73eNRCXzYpSBSeHfFilF9uqeFOlFNRiuCush0in
Il78RhjTCbr69UjwQ6P8OfhqC2mKIUesFLaZuo1VRz4dUrt5oWnkxpeYiXjbioL6ieLgaqc/lttj
uda3pP3j3VFZWhACwFXXqh7YiUxyrWGuXJeoWTbUuaaqflLbhxJz9XbssVzXTmuxVuwsnq+nMnyO
ovYs1osjHOhDw2Ay/vgjcyFC3P7rzqPPhe/LVezT4kHHogo2WPlBNZt2Q9I7BYLs9SB5VpJsfh7+
A6uXqNSDlyFYlNK+hk37NkZ1VrUoOMhe3I+uLl7p2BWKcnLkgDaXD/llOVE4Qkgf4RQyWybaaqPI
+7JtNPB2dq9n+z6L90Amn6RYeQ/iHvZFRxWgDsw3ZOwQkQcj2/m3xdgNkD8z1bHohTvtXO7l9GVW
qSwF8YUiNcrWj8Ole6wBwCmyXyOiDgUSzYVAlY89qS+1Xy1e6NmUuYIhX0jK0jGTMlTv5i1Kq/Yw
3RdJf5rN8X00xed4o9L9G8D7GXiZ0OMTvRRPG/onKK7hVR0qTiLP+0GNEnfQ8p2VoeGaik7lC+S1
g9dYxq7tqHjV9S9f7ryupDwWs3vMvpdbMvLSlmuUD0i77bO6ftND6yaRH7QossuAUrM176a6oJuC
wGHdV6etQZPFhJCeWGfAdHYZ1FtLGLcRkkb+FG4s4Oo/z4dvQhTLtRmzNllTP/63BgTVOhReqMDc
IEA5tfTE5+De1CmWFmJ5Ofjv2JIxNe/USgY8ALZF4uzH+MWeYE7+/Cjrq9/6SVb7vZ5bfgtkECZu
+Z4mqBhaCo24I3v8971v9b6rdQecA3VEkAB2jGSS8GfgWY5+qW/afXh6TOjicCxF4RBEDIW73Wqf
Dea+CaWczuhSIBguIP9u1Q95pvr+GALy+762vNenWKttVe2SWjKBXCCqMW9kR3ETL4NvFznGFiXg
+/AITOjgx/oUbrWPmCkw8zgjnJrmuzSjlfwmFsfktb6J/SxTgmsPgHoQ34ur2tfdKhHNckooFNhx
iI52NwSu6hd/ZlMQ7yZd85D0scW48TQ8fftlyera1ShQT/3NhD9DKmjRSZBoOikPaYgTMLG2s6Lv
umwxkmz2ASWwMDedzjqmf7i+0X88uLnIu6iUajhjvz64pphNDPmRB+9oZZivY0oNNJC30dDu1WNH
iXwoGlUDqKXgFRGOWn8MUR3MtudjzFFbe+rYbgeLrs5032fKZpyDU6RkaVAi+AgY3s/zsylkacl3
Q5Nux3rpG9xJAOHLBKIZ0qiVEHqZ9BCPA/XJX5GV2VKr7HK9O52l/j9lxywjBdAbOCIaU99r1GYc
AScAvm43XjI75dsiKKa7yUm3gZPJKb01vZ+3mW8nIAFhEIBb53yCobo6lsgihWlqZsMWuxcLgWiE
6+1OBV5KuvNzJPVYqNWOZoXDiJnNZMBGN86NVNzUlGTU6C2Nf4kwwNDxVRUuDXG2HwR4VjEfCjPQ
VBc2aCrgSn1lhMJVlSk2xVV6yb98VTkZ1NIJQA6IuLvN3YT3D14B2pmEFYDZnKWS4QXIwwZpfjZX
qrP8uspvwuLPahTcWFXtDuBgQfUFKkLZxa+QRR6RAX8RmxqQzvORAfiWAagA3MHtYuvDEv7Ysz7d
rrpp0NW2K1W76M+BdnALOmbofGgb+vwxVxtEjy/1aOC1bY/hSzZemwBxiqefX+IbsWmZoZ9imCu1
iLyx9CrTiIGUObhSJKrOlj4xbssvo8fJD0/4WBn08GstjYxFneibBPOcjWmOrKlhl9JVV9AITZHH
eDvyXt9u1x/v9VeQZfZ++joKsLOmUwiCouymsJzMCzdif4KErg3Ka/Ziyxt22MUcCbtM+q9p4TKc
f4Vdrb9JyEYlTVh/42v7Sr0keESJwItOqbcBZkNvoffUTXAFqOV+2h1b/N9QCR8fU9Vgx0Gu4AKw
OpIpZinKlH28tLltPApp2QtdKodVkdzPF1RQTqI7xSk2igMWZW+c/Pz2h8acGwjK5hQj1W+yU2C1
hrEKYPkP1bk1wWKa1CObzqGp8znC6qvmRtukosrwaoOFTp+8BRa4xZf3P72cM3kMdm7qb4tg1Jq9
6Ut9YCrysihUeZfUyl2EB8MQ+ugEYtMyD3eJcffz0H3cF75OHPIb6g2LdxXQ9XXhIe4K2U/DCQ3k
gPt4D7TEjkwxdZXWokRTv+RC9tDEyn1k0HtUNerJ9ZjTWbXE80R+k/Nx12QzMD/UAXtKNKOPA3eT
7gAGDo7RV5em8RCFoHzNW/x0CjAS2VbSrX1ixE96/RQN8dUkVGeS37hL47bMhHtTDre9oHqmbxxp
CXxTT0DCmqImNzXYJh9n1dfFqVaWleoJak/arb41ZFvZxRuAe7XToKCwQTgEwYJFrUI4UW9AHjiV
dwZU2/15yL81VT+ewiCvkGCRyt94NbhdlHNgcGqUgWpH6nUxIi4aQutX600Yp14I3DKer2Qwts0E
fjS5SekmBlHpDkm+VWvUsXNMM8R3va8vGbgRXo6ljo48Gu5Sjv35cQ/s1AzaX4+71vWZEaqvF0w7
O9oyCZ36Wbyfd4LXbfKX7ry86W7x4Dq2pD+UvlfzkryLfhxqbThsr+eloiZz07QMkgqwzw/jrTQ0
j61auEHuJrrGlhZsx+6q1PqtKlzKeWabUAA7DRPmexHRd0BiOiAcQ0QycXyQc1oR/dMwvcrIkpgY
E87pY0Zal1uJ3S8qMtP7z8N2IMtm10OHTSE/5hq4bi7EujkBzeQFjG7cK3h4ceUTy3coBkBu9xOS
OLF4E423tfGmZxiYmaht61B8o9RLQG6hDLMx8LSLCriRMS3XaUTh8iID6YmJlDsB8f35gQ9+588P
vMqrQK0j+h0pKjnjSOM18oJ7n90aRrXkgJN0prPmUT6yIg8E/ZrMLFv7p+OSJKmOTbNQ0UmUNkvQ
dmdeNRs0Jzfxqe8Uu+BoGvD9tPgactnrP4WslXbwGwQp7UQXnVYDBHUs0fgGSKP29CVFWx0XVjGH
M87bqh2eLAC4cefvAMrbidscIfAee5fVsR8JUaAIEYFkmtbTlLq13h3brj6ABOulyKX0o5qhc3Vc
ne7VNPemFIsgcGgXS+NTUf2WcM7RhPvcoJ9r/qoa6vFIiM4dygJa5P/qJuVZ4b5jBiPYGMv2s/cc
2HJhmvYAUC6JVKxt4FM04Tk/eIu4Fj522k5SrooFWAsObAirU0S1T+RW3CVSsemm6nrofXGj+JM3
5/k5KGJx54f1fZu2nlZy59Sr4QTY7q6tol0H7Lisu/s4KFzDGFwjvlOb+hy/Wm5Carvxh9zTA6hL
HOWJhUvcKJ0PY3QiNIu/wBtiV17vP9aLXHw9wC5nbqKDnSRXQVLAWMEKLdRre+h77nPhhZ/FjtTo
lHKGCwRIbXgNVnQuYjVfiV6XTM44ggKmnjU0+UYLfDDfg9317764ExWszRs4EMm5PrAG/EvDfxfT
u8C6asHRBfpZW5RuVb9KXQe2HnssqCh0XifKZHTqPMG3NoW4T4JfrUaFC0i6XLwX5Z9DBygvLBxh
fozjs7rcRSVKYdqtWe7z/GFI/X2la67SnchS4PYVi17THK0aQfDJTtCD122eQpm6nXY1h1tfzbgF
ey1AMYTllSbb1LRfAIVvJKzmMopuVim6WgFoMPQ3KkBAEb3fwITCSRs8y2/l/ncbv1TDbJd97ChA
8ecYqHZiN+rsGOKZEP3CdkURdMfXecGYQQGV8MGP0C4ETbal+lcP4yYz9hCKN8PscyY8LlK0GXgQ
FbLKMhXHuDit2/pMhVbkD2/FfCmC4dClq2p+DfxiD3KM6zhQe+MuVSGQ88teZff9lamSl0tUjCff
DUSsSZvUbRYocfEsTjcSsEUT1R99ERoDx5pVnujHDkZidtK/R8lz2z0p4e9RFU6UnuOIWT4nl9pw
ViiGbaC41zGH2jQGMACXCKyzKe1MEP4D98+seaRBbQv9Zc/gSMOxzPiDwvZ18apA1QyNtAdvlG+9
zN7sK9DaI2oN0tDtpTy+EKJ+k6OfSBahNVfanOp3kdyF4OpqxHrKU8k0L2qzzDx97G/FqL3yZfOq
j6V9a1VvQqg9CGN41oq6Z2mdaUdKNNqojiR2Vw6Vo7cJ/JNSB9sgorcSkFTfqOL8Ip0kaUT2r0DD
ypqX5aFsU63lDQ7hcO6C4gSSyMbQ0MMUsu1MMTgNfhk9rn73ZoJiSaR4cj2dgqoYIYz25RUkxDaP
rsq8hNA5Siyizouwzotyc0vr2PPjLufCHr0jD5rbgyKQfy4ea5jrIZin8TNz8z4nk0Vlbmzu5+Q+
TP6cKXxHSQByK6M/xlcPLjqs/QSMMJX2qVvAIyFTzkDOjluV6qvMbwsXol9FtI3yU6VWkCgotr54
PUQvkNzt2ejOR4E+VzJth67weq2heq2hiEKaDJ4P6Ig9aujzyKc15QdtTBYxXNtorZ1e1LvaEr0S
A+wuxn4nfqsgDYbF7w65iczELxHMV4EPgnlDJq03UHm0U0MJ3CY4V8wRJezLBv12Q+ncVil3rW+d
tRJiaCNY7F7Z173wJHXBKSKRI+LnYcv0K1nnSkGyUQisyvhE7XLbwu4yCE5jaWdUs5sbz2KqeaN4
ZyQgZEf2croOdX0pm8Y+XThWjHJXxLt4gg0T7hO1cJIMTUaLPa4EG2cqToludCCbjk/hMGvhnA2M
UFYG2yaVbzsFlQUFTfhy2iq49s00bNIqfssHfVv1yllriG4ch64JBSGoZ7sG+s7txhXhaOmN5cVq
cg3BadT0u7mZ2V9jNzCSJyslcTWizYy8e6K3diQ9iUjvqZTvFkPVjCGtAHNwVmAjodh9jTEMn9nI
HxSf64F8ERb8DpO9bE7uchTfCtF05MH0DD1yY/MWwirbVm2by0UmwDwJRcCpka99GVu64kbOcP8N
4cv5nSe3sROxFkCfuLibo+hyIaPf1SJIXeh7LFFcPdc9PTqftN8p/iv0Wprody3eFQnWee28MZHv
UqvJ9ZutlGKGu9WyfS3/DnRxK2fyid+fSOFNafK8oW+PZbjFW1nrIk/NK6dbFBrD2kmb3xSXs9a0
kxxSIyqpEueUWj9JiUQT70FKr9TxcfbfctGb2ktwkKxBgan/7Ac3i1xXZpyHYgPM6UJF9Hz2YZbS
ytXQ+aovGyqfENLi6k0pHjP9IZ9veBeLStoELrxtVRzlroXhXkGcbCZxUfKaPbK0ZR8GzZVUP9Zs
4EOH8Dx+jmU7Oz2tYzmSHZE7qS8YbhoiMCjG7sg/blM6V+VFr3ZOr6E+DPZKXYiAKch0+IJpgHBq
0mzG1NyMVbpJ8ZbMWtgjfCx9EBEqyzB0pF2l3na4sjTDc1RRjsqfczJ0g4JvXb8rPE6YXKJ/AvUw
2miyV3JNbpXsZhAhB95MQQYEdna4XpJNbGvr0TdMAN0YDeEBJGbXdd66mboNMNeKOW5F0xbM55KZ
Gw2XgyoBs+85Lf+sqbxb5kVVX+r+g1yd5PN7pZ6b4ZnSZW6GF3SmAHrIbibjsST7UiV0dUl28jFz
tQjunno7KXwM/U9xvNPrt0AqXMs4Nc1tV3auaaCKFSRu2T/ViUw+AC2uepWwsQrEC3hXev80M8wi
Z2+NQ01vRDspUVxZD87UDgX38h4uqNO0kOt0EwVrNEPy60zAX1iXtn0UPNcappIJRLEC4yRV37bi
swGq0pDCraL+zq1nLei8AnMlGHnoxSPUlPm7aU52UTTfqhMdzR4OBaJcGnXjoMp3WdNuWqVnXWE7
Oz0UMYVCxLM106Lh2b71wmhBMPA3nDsgwiv9z2lUbsQse5G7jtSuQ7ioBR890HarEzbjMU2uotZn
f8JeDifVm0DAMLKASvTzTWopj66OXIjenLYi/CDcoVcXDCnLlSiryJdjFDebbY+3xaI0d6w5dSj3
5yymAEwskCOr3J/uhDJXXU/qVulktsHJbBxrI3wve6l0Kf8KsboSjm1I/7gkhLrvkPVKvGKr3CT3
r6otOaKL7ixeC0cG7+Dd6XPMVfE5riRxUmpihiftSbMN3cxZBLKPj983AdHllvYpkr4qQYeCXMlK
RaTWnX7LXn6ZbMPf2Bq/LhpihdvvSyemmmmR/Py/vCT0AZ3+Pb36b8WBbDJLhKIbClFtuGkb8bT0
x2spqNxAzretEVMKgJce+ZuisI5cGQ9euT/HXn1UQZfquZKInc63ZQ/Hpg7dFgv1AkY0oDzHUOEx
z8G5HgLsz2t2zvFBoPOujqTMiuj9vFi+d3OogS2FMMokADfWyBFDrYYhzGpGgruSGp3UYQ/sriWL
To/UcA/OrAWwTxZMPQtFp68X/1iv58mYCJWfs7ftfNoN2lby6Gnufn6nA21jXupTpNUQS3JqBLNM
pMZ60kVvnGFJt+e1sTfCwQ5RKC6F31X7omFFLOtnJP9H4ssHdqDP8VdrSAyyOC3o/1HKUZ5I2pCM
y/bxb3GTezgpHytoHvyEf73tWulQ62Rug8snxFzLttT7eFCdvv8zDI59wQ8hy/XO+um91pUIM5pn
o6qIJF/Hd/mdsKnPqx1abE60yzwuu7hc26b7Om0gmUXbni599hRfgMjaDFBFncY4so4P7Y+fn2f5
Dp9KSWGZW61qMM56AiWnuatlzQFGfiTKN0LlslF9DrPqRMsVct2RyWur2+6l2wLlghExO9GzvMuP
kwWWn/ZtkFUMk/C6QTB63cqNzQjXiIhoxiVGIpTkgG/vBadFzFHx0l/mzc+T9UDzaKmC08y0wFqK
3/TcwRDQsQOnxdup5cV+BmfkBZ7ualslsytX3HR064DGOuYm9Kxn4cghpx46Rz/HXxXrGsOoIjXg
I2aphb/c+ww3X5fuyWTg1l+GwPbmtHRMpXY1GHvV9GAZL2ny2qS/rWQLDQkn599i57ud2NttRuGg
8p28u5m4NOZkKD1F5zwKH5uK1eGPXFm6Yl/29FGS0ZlwVleQv2iv9Uaxx8LwjFjYToKx66inpVDv
ZqpAKimKbxhH9sNj773aDoMCDZ5Mo3aI+0AcPI/qsYrywdXx6cOudkEuBOKEOiurQzlNumbX6H9q
7XQEMnN4r0UyaMFaoQ+5bof3EvQOMycKN1+DUuPv1K32gkcNeTxDNcI5Lmp3AIG0zNi/Qi4j+2nZ
66boB5VFBXnp8TaIsPVnM6KAqRddHnO1OPyR/gq1jPGnUHGUTOic83ZoKzulVpIYHIFMLp95vdzR
ywOMRs0H8d51hCSJmW8sv9y6jEDZtxlyuNws6OA5pdxvf17th3Ljz+CF1ZwY5lTT42qZdB+5cbtD
d2hzPLc7/FJ/YSRWB6CsBLHYLpOiKh5EijmzsK+5X1dlb2sUO35+p4NT8NNLfexwnz6SMFRxHuA9
zGV7X54obnAq3QREWhpXtvxEUWhLuevnoIcW1+eYq6L8MHWzWanELCV8wIKzAuluS9r8HOTgyfM5
ivx1+tXhCPEYULPdb3o32Bmb7Nq/U6599CIL7thXP4c7lEh8jrY653pdDqfI550U4TqYSldGySU2
UazQ/z/bTh8t2k9fTBzlKcuXSNZtfDefD9txZzR2sde86gSj8EVB3zjR3n5+vYMJ6Of3Wy21cBJ6
U56XxbxN0CkwT8ZTBGn2/4ZjydFQq0NNl9t/gYRS/5cmPjaldqrl1BkRhZYxjZHNF0nfNvJd65NH
YMXhU75AHsfp62dBDjZT0Z8WSOxY1ksU3Ur5vWG+RoJKqxm76Zq6o0grvxoAlbbIlV6ouYSamLkb
oe1jcuRa4eQmQBjFWNmk9G/H6NKYcxRzZupmxW2pPBZUdVr1VpELzwpuNf9ejO6iiZqR8JKMsU1H
1FvYP6nQepl4DUYRaIDiSfSXhOJKKs4N9VmZCntMNkWN/94vQYgey2RAEUWBlQYtZEa0pq2uJK26
AQx80pcpNYRhr5dvFKxPhnx2pqj1lp5LbEEvopOAHNCG7sc+7nS71ANPLdM3BJApF6EhZvsWlY1E
EgrXH5vtIFVXXRK8oyq46QrwjzCxAhMMZKE8J8rjjIaLxmhG831R3U60Xmr6I5MinyJtt8vL4iyb
qvcjs2tZi9838v/Z8+TVeV6KjeGPS9MRurzb3mHAsa095RQjvLN0e6zFeQDE8KXFudac742ukqyZ
FYSEP1gK1CDoBF5Yl7LT2POOIlwbOsnWekHvZeA6nZ20O13C/7hwaQt6P7/6oUNSkyQVKjzuZ6Ae
v+5SpdkqkdTzLMLUOl1Ck6k7kiQePLb+irDGQBgm5g+qRgR1W2MggGTmv1XSOZgLf3oTbbWrK8Ek
IyNInAXbHF8p7mKOWl1Hnu9qnrad3Nwr9+pmaSXnRyXOjwyjttrsZVpuCHgSPMEdKPELV4Mx/POX
OngufxrH1Q5f1kKrystJ2TXnYS3aeiDjVXgbdL8BU/4c6vCpvPAorYN8HNRzsibBlMZuX3vXPFV2
ZbSh+ShthW19qrZYwuSxeyTmwTX4KeZqCHVw0NJYEHOR59Vxd4tnl7TA0clxNDwAj0zLAyATVuGn
eKvxzHxLC/ATWtKp9A6x3OfgT32roa7nfOgCQ/nxIN2dt17lqiedi/34JrvM90c1Qo+99zK1Pp2n
XRYFdbnsPfq1v83dRVhadyUsfRUvuv1X4fN/vY7/O3gvrv7vntb887/4/WtRTnUUhO3qt//cR681
hrS/2/9a/tn//LWv/+ifl+V7ftvW7+/t/qVc/80v/5Cf/6/47kv78uU3gH2jdrru3uvp5h2h+fYj
CE+6/M1/9w//9v7xU+6m8v0ff7wWXd4uPy2IivyPf/3Ryds//oBA9GnCLT//X3948ZLx7/YvHaX3
lzx6+faP3l+a9h9/COrfTUVZtIOB95sSmgZsIMP7xx9Jxt9F8JFANIG+LsaNf/wtL+o2/McfsvF3
cIcIAgMBxNQR6tQff2uw7+KPJPXvBiwqE1wnCrfAyeU//vvtv3ynv77b3/IO7y/8Fpt//IFExpcz
Cus7MIbcMTCJ4JfL03ydJ7kuCINYhRc6AEfNFmrVqr1WmVKcBRrUHX8LcpizzakJztBiO5upXczU
vgEnygq6QTV0HbertCGUEfMNq/iuTzqj2SRGk5sPTTSYz23bpb2dq7Ee0h7CGmgrmpNhbfxK6tq3
oh7MRXiwKKoBRaKiM26sQZSyU0VCgQzBEMmipo1ebHQhVUrRkDNItPnrvIjaa5Hjv/Kqvhmq16ku
M/0qkITeSZWuc0dBK8gjkUYsr/s+HD1Fz83xNIOw3A6uhgO4/yLVphj82em6f5PPtK92ckHNYDtH
ky+FqOZbpl+dVi0mGuKtasahIrp5U3fBjYA5IfKXppKBCQcsgKpXIF/yX2VtUBav1TyVf5WdHNf9
uSbMQq5t1MgstKdgyCxlvppx8VTLp0k38R+7lsaQxvt5HsI7pi0lVlrSX4hBy+EJ3TwRastM7DrU
YoP2mUJrXu1hPRhza94peRVUYesMOCLMAO87lu9wJkhojyqqqyUY3tBrAWhAHU7ra4uKsVYEffhb
bGIrQDaoEvP2tUOWur1TOwBntPnmETWsV7EIJal4sFAv7WPRC9tMBfZiGB3K/9SMZAHZhmZMEIPL
82pf5HNZohmJ+qRMN+16CPMudttBK+lOKWO5k6e8eKsS9bkqLFA1efOs11X8JFQGySWktPRMmluy
RClTaT3i+YgIZNO5mNXVZ5rZB+dhjEhiUcUWAp2lvhMt+q1KI+GIVCbVaxUnyVkfhDryoFC3MAiT
W7vhPoZQg0ADXO1M/VEPOv0EHyRFwf0v7zX0gubEm4PUfwQ9lD23jLVoT20VXJdgMoBH+Wl3QV9u
8AR2pI3W5cVz4ZfFu9kk3b0vxcCmspofS3b7f9g7k+62kWxb/5c3Rz70zZQ9KYnqLInSBMuSbDSB
CDSB/te/j5l577VlL+vV/NagamVlOkGCQMSJc/b+dlxBNPQUNamZjUgg+Id7UuSUrdJdQttl3Mah
MV5yn2J7mQegKaUz+6csEE7B5ltbhHW1U83X9uJhOakJoFBqDpG6yUl93QWqhyZTh0KXeHaDrFk4
bm5uLKJ8gQdmmX1nxmOwSbs2Frsy7AUfNBYEC9uM80Tc9tCBdMZgU4U8xAw1jrppu31s9tmN08qg
Wgxi9I6V1+YkHcBivapk5R4MQl2Q8VQp5n6NRYlcdOHZiFqLchkQ8RUv3dZRyVIZZnshzMZErtGW
A0nHbt3uxOC6APGgJqyDJuxASZoRytioch87OTabuTvrKJVAFkXba7p0RkWBE4rAfRoZfRbMOona
ULKb+8Pku/GqH6vgm2im+CIWRnerHaP+0ghOBORs61ULje01LScXScfcm/tIZSLaa8bw/roljJSZ
pFugP4qwOK4Mux+SrTD8alzZdo0CwojNlFhmZlDfzMq2N3OrxGUTqXw/un4RYLIqJTMgiCXOZZF4
Yf0V7j9WFRFbJmN9V3szBihrhhPQAsJ1Djb0EOtqDtxRfSUec4gyyivgIcyG42I9NjWY66qMNmlZ
z3JN3DdKaOwwnhf15Ob1ZaIvmm6kS7TUw2j43+OsGgySuxslNpYT9/mlnZnOl2nAzbTGxgTR14dM
hVJFmo7xXHVDmTwZwFNRpQkdy/04Yhi6zGK6W08Dl24yMjFFB95D6BGWpCnLXW2I8XvQCIHk1LCF
vZ8brC0XdZTbJLsgDNSPPqC5U5rYslzOjQPE0mjmqt1k0Op75GoEPix1Pvf5rvS1z4LDQv5E/LRZ
I1mTTbjve8F4naMjsocJQN37oA0Auq3ZkbVIgWgn6ywzx1e+EnQJOfoy2AVWGb2wmg/2in9agwM2
uuE9yHjbl2NpTe464hU6zaUT3oXCCLGvp6HXoy9xWXFWgWNY9/6c2u99Pqv73kT4G9VlGi4t5KfF
srOd+PGc5kU8bqfoMNteUZH7mrldwdAcQwNcUkfwjIWEYfO3NRSUVVXk/uNInaF5o72YODE5zgRT
SqtlrISGZGZ0lvgj8IRmgvftDa0LM9Q32EBxuOUW+5DRORicyASGbx2hChBZOTpbNgHFQb42ra+h
KKWiuSPSZtVVuvWvIqWDEcFMT+C8laZeuiOuzlokvWPA7E0ci0z3oPS629Ka6UXNUdgkHX/bsKtL
oGhQdRd26Rv5obLzodhlWqTeJz3MD7U+7zGDQ3JsTPecgfari6ErSjUOvv2l34TbQd+dm3DlNuJB
fgq24cbcpdsf6q5/K5sfK5mfj0ohrHgnIkscVR3QqF+5aPbMWx9P+pRIZsdjvew/SxT4+I3+vgK+
DAyIlkXQ7UcRQZOkfW2o6WQeCFW8cr1VuvFXNC2ItWdpXEb7z070n17xQ8uoTCVLUjWdznGaPlea
185q3gUMmjy5qpKNvftMwfDzqfqfu+h4VG4oJTyC4z+cdgsA9exH88lxq20WNEHxLEtbgzueBWHp
kJTir1MPbvAiNyYdXUd6TLz9n3/IDyKAfz4Dc65zxhYxYtzqnytSdyq9uNXOiQJondZfIhLELWte
G4PVYsJ4De1uq3K6Ga1Y5JbYGV10ecZ8JtFqIqJeVFu7/zbY3fOfP9aH9sqvH+tDn7xuBOt+SO9Y
BBtRxK9B5B7tGmXk0FwPrTj65ZNbd4tgyI5FBnyamf4aScuul+PSmY8BGABYeCvohYC2EgdVtn0s
QSKXjJUMt9zr8bNpz+9eCc/EWeMhRyG64cOPObthmTaWexqNbpmxi9cAs/58Uz67wofDtWcPQTvM
7mlwprXVvnfUXH++wM/9539u+o9f4cNpupwbmLmOC9WcYPTUpPi4991552f9J22Q334T/F3IT3w0
Dx8bVvHcmoVW3mm2QAmv47Fo7uZGxfPqP/0+gQ/XFKM0SIozUOrnZzuJtQiC2Dq1AvJ3fXaTgOcI
F5By4XR5CKb/fLnzM/k/Dcjz7SNmweQje5EFCMP7cPsAaJkt9dppCroLVyRrO84WHXlBc9JfjNkD
Vo9PLvjrbeSCLPwYnBke/zL6Y8cb6SYZp8l2iLZ0Kf7DWXyytXzgkv77rX64yPlD/NDaCJnjWokf
n8BUk29LFQYl7G0ma/DNX2Q3ylgbVzBR1+I+XBaXaLw/XZg/+5Yfpgam3/tDF8SnnFc2tB6nsv7k
Nn6YZ/7zFUlfOiMtccb+4nSfzKHu49k8tRC4EU9GU7boJStwGMAHmusA9JE6+yXiZ7tJ6r3j6P4I
ReDxz4/PB2jGvx/Dts69CDZzzkU/32kJa9SbMuc0+Pk2IwpioYsaMwBve1+h3oiAv298/NxLJxre
GVc3hG8k+aZSIPWgpocHjpif4Sh/d/OjM9vFZq/n0f7wCplDEUDsC06TVbQck7wvyWjf//l7/7rq
sP8hQIhcm9A3eiM/f+0M9UcdKv+U9hb9s2i45di8G1rMkjx6nyEozw/Lh3f0p4t9eJrBFmKzLPxT
ZNDDCIvLqfe+ZJDK//yVfnPXfrrKh0eW7d6pfa6S5ohh5qQ58cN+conPvsiHagVJfljUmX8K0rOi
e1ArS7TPgxXu/vxNPqjl/n4oyeKjWQz81nF/GY87YV4VKg9Pf8cuWTfVJr4xH+J9sx7X40tANIe3
/rww+jB3/fWqH75d2DByQpXMVc+jHLXpdxAVF9WxOvz/DAt/80z8+BU/PONWnSjF7eRi1oZD47CN
9z1+cbA1n7Paz/+uj8/fj9f6UNcoWw6x4lp08hZG/jZOaArn54gkEM+4+/NP97uH8MdLnavPHxbu
FIRSL7hUYkG+CFH8xt//fIHfPYJAmNBvOmQg/SJdVCl9ilTnzzJpbyROjXBS+9luN3++yu++Bo8e
ndmIHfyX5cHJ+4D+gHGyTUj6ab8uWZ3/fIXfPuMUwBSDrHNUIx8eALPTNLBU9dwzq1snO6IC4qWx
xtnCfHgn9uZKrhTRLdPqz9f99f4REwxClPAt4tm4/M8/EOrHOc766HnKkPzXxVxct3kXJnR2I/Up
yvjXswYXoznOkJAQWc4bP1+MmGgR2EPyEnsmneXprpL1sdDlpsXAZo6S5mh6kxTBsrWefESuiQaI
JZ0bWWnaFfCqDEqozDLf6gDgs/HJk/SbrY9PF8EzgsrDfz6qYGc/8zEOZS81np4S6yPF3F0cBViv
zIJcnHST+QOx2qw5Pj9EhweY/Bz+wLL0i89WvJ+5+Oe1BwBo4Pn4PWn1BR85duzCU1Xa+csZ5aSg
x9HHInytufrs9Pebx+58ITzeIEdBmdgfXtCJZK6mKcWLu4XLEpUL8sCugLWw9JCv1Xz1lgw5l5+N
qn7z0NFXoVgkW4t65yMVuCReitZS+6KgFTTdBdqHhWd/JrH+5Z114Sr5oL8cwjooHD68UIOSWtW9
/BrcW5uuYGA8XiCtOJgbyOBnvkC0/+xr/XozueR5EaJXQD8NdfPPzzezA6+pzeqru41O/T16XySi
AWPqfs3wfVVdxet/S6P/HcP9Hzo7P6xkvxnDFV+H7KcR3PkP/DOCc7y/eLZoCvEun9mhJj/EPxM4
x/7LB1FyXmdp6px1//89gTOiv6CmOLSxANdT+lqm/d8jOIPBHe8GTBC6ExyqoP79JzO4j8ogjCLn
bYQMGUZFxBGeP8WP22IV9XMs1Jm9TJABSR9TUtprMTn1i0Gv97keh8DHRTkFl0h1wtewRpy7GQpH
/octLu/8Saj2yUM0SX2FU/Xhk2TZpH3ZAq72Bs+59OuuKEj5igcEO7J4L6RCJJV4BBRbeVndFl2p
72O7BdbkqJks7rLv72Va1/sffsvftPZw6HAH/qdGOffzuM0RjLHwjA8F/fXzHZJxnuezPY+LaGS2
tmS/lPOlS+bPbhpm+eRlg26A0bbjLsXCuhFzrA51ODS3Qx6xU4Y2hkn4W9fAmzrUQWI86KT111MH
oaJyC7C4pq5WhefCyZlKTJGTF5Xr0p6zfZdYMObiPltZVjF0yzQxZhb6sGwJfUu9G9As1tXgK5T8
tuttU3NO7p3CiDdpnY2ctt1EPbSxN94PwsgOkTOJy2nI6PnIMi82Fc7sVWEZ6Sq1GSXx0ywyxdec
SuOYO9pdemXK9lJZam9qnT6biY+HtpXjxezXSJLrwoFbTvtpmZuSAEnfSYNLmZ3/36aFw5vGGZow
MxJBvRrLqXsZsmk8d7tj846hRRgsxWABk6iMQS6GfJpPXdIXB1W6NAwiMV70tqW2wmFSxL4QEoeV
+ZcFGHKo6974YtbxAGkusG6Jcg4uq6mjVkhh1cTE1F/2M9lS8B5TfzNoKCierYInpXsk1A3TAdwu
ZnTwhkbdl5UP+r4YouLdnEm8ctkRbgg2tqobZ9R1S/ZdUmp1xdTXsOibDP0ZzTGKmOQ4+tz4leMq
1c513yAMP59PM+9thr5v1muQBRHefmWgpN1H8WimL2au/EEuGUILdWv62lXXAdbg+pk3r+kIMWxq
S+IspxgKt55QQ7HqWodhGuay2oO0Y9etc+X6UwCrc5bnOSLMAaaFZSvluoVLQNQOOn7vKTET0OqN
ymeHiMO+Hy4AKvOHFz6n9mg5+INOrltp6GbZ8khb1D5GkTMP0kGCMTTzSYmrkjiCreIZRzcdHGfp
JdaA8HhE1BfW2gFoq7LbNhza6jk1vWyFkck8+SorH8wywCYZoOHcyFE03700PlsufCZUC68qpnw3
dAmxonVvVMcEQOChy4gkIPFnJEAPWuYsmd0Ezne7CdxDMfg4BWVaRCtV2+LK1X77HkeJ8BZtr+IA
W6FXnRzaoxrWq1GQQs9ggLOmco+1OQLJN7UDJRBAURIwIk/CXQixExeliFYg64ut5cj+PeGlOwm7
1jgRx4DXjsS98ZAzQG3w9ufVdBg9U3zD6Ro9lGPU0hkf4Z6282jKblG3bQOdxR6GAnMx+DuSnWSv
smut4n6jgUYFcNrxTe36IfAYJRfT/J7FDhIdX+RrnY3JA/b7eONLQ3yH3ttjUqwacx2UOjqYfm48
koJbn5kM9RHPWL2aK+1h0qrBH5aBXhdMR3fFOWZt9NNOL1wZ0bUXUUiTN3HtPZj96FKXbnXr6j44
eqaDUTtIXOSQQXaLp9/Yty6/xKyr6CyIDOqrehbTjszk9qnwMpQUKb7xbUpK29p3BQo+aeXz0eri
fBOlebfPS2bmq7BF5xTZVYWbnLhDux8nc+X4cI1i6eY4yDDpLgJjHtHz+mV4UCywwPMd9ZaBWn8f
yTN8zRPTv6hGlfTrPJkJU6DNbGMyLWbSYZ36zK+o9DSRgVM6LHUA2uN1mPnVzZR46T5XtUxXLu3a
V5EbxVU+Sf2CtxcFsQyNCHliDMC2JxnwWTSIzgpREBaogF7tx3DmRK/tedXZighl1262dMScl4R/
JRGFkdOGTAijor6WpdT5IrXiipVYVm8oTcNTkBd6XiDbIAHWQMB3xzCf6jxAMjIzHFLOHkWfeUKk
6JPsnWOBYO0hQ3UMpHxtbB0wWQi8lABVVsQb7dbBsamLGlTERJjCJp2cBBaKKKpgoexIYU4vhL1x
Zqc6RN4cbuRs9jd20MXfgsRjGoyAYFpyXpg7TMtGna0U4tNtEgtUKnZUtMdYyHZXJbp/bgi6eJeO
op/hNiArXK+6QQXc7+epcHYIU6oBD8AEMhG9ub2Me+08jvi3t6HlNduS25cuePn7Xd9W4kuWNe2F
V9Xxt6KvFG86u3+4Zg/A3Y6AxvPYyOTwaDaeptS3KjTE2Vhz9Ir8ud0R1thtMje1HkXEZbJUyAOQ
J+NtSqZw6ak4Y41W2fcUIgvv3Bgf3LoZryOSlI9ZYljrbo7n6yn0CEAUmTM/tX6OkVqji/daL2DU
S/jZxVDI9jVh+g81ILNaA8GwD02evxbjdtSDf2MOPvEabhUCI0HfIwERTd40bmE5EoI11zmoi7Zq
CmehmNgT6BbJeDupGWxCM+VmcltmFu3oMoB2g/Kkmfe8yGBDWobxCY9/UWUrMcouWwgX4ychk91V
0or2NqzHcNxNNnSVfMpYUoQl5PciirrHWFPJwbIa53Vbl9pdmYmYITNVDgaDzGV/MlqP3EUtrMfZ
m6J1SsXw3WG3u5vOmiNBuQpyJOLdCqSq6lNT6O6+n6bwFeWye9dOqbtPpnJgO7MnHjT47N6t1xVy
H0m/lcsinJutjaMnZgQcjoTegqzKjVI8TYX0L7uM+4/FExYEQih/DWqDm5r1bX0Q/lhf+0iBxNIB
1vHupg4RvcNQb5vGsTiXlOa0tc8OwrVKhHh2hjjkNnfFvJ3nGMCIQ9bqRjQyek2yyVmbparWHMRd
xtWqeWA2z8IQcIFDnDT5OjOIykQD0e86KxTvyA7CdRf14xGldwvkrsjqFZKyfq/g+T1YRl4+a21k
ly1V80T8daWvxtjFPEQn8NIDRo1nq9fW1hkUt9pjwn1tRgRFl42OgFlYzt4YbQbyUyKAZdlsyeYC
FDIlCxoK/QxolxRVYh3KFz9r7NMYO6aGWRODZc+b4Oz6H8XOthn2Ag4tkwNFkgU+pmn6Wy/L5RE1
hfzaN2FeLKe2IWKsm8nDtQtTP9dVBBOsrmWzL6YpAQvR41rIQ/XiDaV8radifnEo9naWbch7nXW2
u3Iq/MZ9JofLYqrmQ6A95phJUDyUuRVtaTTF7Lcl35j0vrY7eJNVvSSA6L4Z1VTsu0mwtNhoWHZF
LYwvfef3NuwSP9/bdmc8Wlba5Ms5C/zn2SZbEPVbcHTaPD90Y5yvBO64ZSIqlFTT6G4LDza4UxR+
DtFMUqMaWZCghgvNCy/J01svqOKHrjXD94hk1nthFe4mTEVyHwUlHBMfTcQ1L2i7MszOZWhb45Lz
60ZuipJkuKHwCVki1s68znJlPBiGkSaHFpXRMZlaukyRmIpHt0EzsiwNHlzDCvtVl5n+DnGdt4+C
NiTx1WdKFsp0Hl9VPUVHr+jt9RhYww7XwBgv5WAFp0H3ziGuhvqbnMPuvuLsxbKnADwu09Ds70YV
1EdDtwHpFlM5f00C37hAtWW1sGgmcirjZLzI+irdlF4xbKJ+Muk91Wy3C16eYBfBhlupHmSVFdRk
6qZp513N5hSs9Wgb2WJiZboQdXZmDpcGIwM7leHT0AzpsRnTfM9BddqW42ivWEHqa043yVVkMm2M
PQNCrteQFRzLAHytW5GXnbfm2lSscoSd2G9eb7qs0Hl4TIImWzm9Yz5Mrk9zsKGYJdS3jf2b1jCb
lUwadU06jtjadQFLssxceUt9alw5JjLJqggRfCmZIUhmubxzvbNlGNRT+g0Bpb4htltuYrOprqsW
i1bC0euicLvgOS9nf+PNabmXXujsPQrSL0UyE/EWddWVUWl99N2p+lI6RFnkRGXfdH5qOAtMswWB
lVZTsp/W3X1YDuUmsad2B8ts9NZuZ9Q0Y4wmg7NdpntLhA2R73UpVo6dRbA14rC9OrflvsiCIm9h
9qOPFnT2x0d2s2rHtDPHvG2zRhii6L7M1exe0E8UTy5G5RsrhqqJzlMfG/R3YM3mCllF6NT22WuS
AhthATUWWSzMcTElRnhlx3B+KuJOzicpyAqsf+M3o9fdW1foFi1sr5wTFJ7mFCYMjZZxrsQ+DLS/
zjxXXs2djRmVRXTNo2A/di0UoaZw58sGHehTPPXdPsst/z0YVXblUnSBZ5p8wIpIZVFDecdUBeW1
QLQG5sgmsBl1E5mK6YTNtWWwOnt1emtQ20JDMcnpDcwJJIsuxK6FePdVgHUjc6+c1Sqesu6tn5uC
uPPQv/DhQZ2qNJ6fkilitDB6LSSkDJoNfuAj+krCuYJJ3gR1Ahrk7+P8/3ap6FLRuPi//yXH/rVL
VTbl21v5c5uKP/GvUtz6yzTpgkdMHen5E5jxk1Kc/RNhAs3ZkFfq3Jj5Vyp+7m7ZIEsRhdMeoUdC
5/Nfqbht/kXux7mr6lOX+xYdyP/6bP92Xf7R8P9eKv6bCVjEaOWsFw/gZPxCuR5IBDMTx3z9x0hh
7XIIyjfWlgJom9jrzxAGv2nAcznYugQ6I6VBwPJzz6fOB1p33vxqb+eNtxFAm/HEPbcLPEVbuYES
9ZlniV7ST20m+ux0bMkv4LLnzr/9cbQ8s/jCfEq+imKKpgvRxHZ6VcROiR1NlEaSPEYcFqqVl5tp
HDv7yodfPZ3coOfYFQqJla9g9TTeOpWE7ZccxBl/UlaRMKJ968mE0RqlfdAxVK51VD+xj/8t067/
UW3npWGOOlyxr4D7uhNO40Ivr/Muc6tFX3GylUwa1Fz3m0aotLnuGpWBOJBV/ViF45g9l5bO2/sy
KnSxxk7Zxy91VHvWwUXWNTEst3p7OwpfMMEoARgsWuE75b6MKsNb1lbNBLDyomHclI6lLzNfs8tN
PbLhc56YITcBUup9BE+OcwP346p202K8Mu1q4Nfwwy5FvHy+WY2p2ERFoyk5azOST6afIqAc0O2+
cEoEYRz6yddcDh0naZoNV65pSLgCTTE81wNpjcuhqh0cQUatVx6N+01RuA1CUlcpAIG5N1hou2cQ
WW1Pp69o63ktijQ7cylVfBB9lQebyJ2EsUuVWSn4SEV9FFMfZlvZtwir2y5KD2r2O8iCfTLNW9uf
VLJupjaGV+hnD5NlqTtHDuYOAwI+IQhICK9jqrUIymJi9enWbKIyuaa0slGjVcZ0ppaqtpQ2zVva
X/59MBUFUBfRj42bM6pqzfQpz4qmWdDKTNcqFWRxESyOCkgEysehp1JJnyRtDKT2jg4jtWzS3FGL
nM7xHUSEOXuM81j16ypJKQfsXku9L/1U3tapHRRQEkUtVqHb6fdZOfLehb33zefcI1ZUdRWuja5j
WDmyTb521ky9aEzpm6RP86ZamcQUUrgKVsiHrQyEF4/xAqWsEa+GwTIoGbkpBAQOnXXI4ry6aoIh
PJOjlFFE7j39VykrWKGZNuDbSRwNcVmmWbuYRsPyYOEVacimW9fxu43AWN50VgBVU2I4IIqbuC0D
4ftohLrfIYeN7a2RSiF39DQnF4aD1cSXbVAKtY8SehhrNGGWeoeGZD275PDV93Kg+ItXfqQNMGtV
KI1mWdUZpm9O1tJeWU4a+2vCrezyWo9O4l2PVhs5G8LLWvU9Thgqr5DKgzJtNMcCqBCIxoHQEZ1O
90630cLJmgSMVimSHPYoqpv60uE8qnmU6im4yWExpqdGz6m3dGdlhjetpJFEE03lHmP8OrOy+6ys
Q++JdHCOuvPUgangoDr4dzzmnr1vrBhOp8Q+ke9TXRvxtWuNrceunQok+y6I/uuRAt77YiJ6BuQZ
NrwzmTkj7HWz6SbyyPHZjqXPEDdoxVdbFsXJyJOk35msCOi4vTkB0ZaY41vX0X4CC1gRQd51cn4e
XCdUyI3sTD6ncw5hruypc3aRUXnmZVAFCbk55hhbe/4d7cYOxPzetGME+ZjjZe9BiRNDiRW5c7OV
dESPKzLUMb15WbcVdWLgr+dqKHgboqptW36kmdDvpxLmKkAPClMw0l03+vDgjKps8boYQwrskcp+
NTQy1hszcGoN5yz384Nq2TVQnYcDjgdYZN3GkFk0XNRG76RQ6SLtbQalDMwFWRN5Cw4zzRUFFjFQ
wsCuslSVEUoO7fAq6KvF89wZeqFLvMWFOmfYxUpOqP77qkNXrkSerdq46Ac6xKN7RnyTdGK8Y7FR
GG6nsSRzpG/P2esGVeA1J8D4iJvFlSsfCbfmOlGg+B9N8EVx4Yz+sKBBlfFfYbdTmUogiqQga89Z
engWDkZXHalsH+JYHbskuAd0hw8ltm4rR6p1wqHmqEc/AwBu3UUW8D+7JBvSNr6ofoy3VILh5ZCE
elUNVr4dbU41c3sZktx07wGAi7V8Zdb8fSZNmBS0snzEaMU+F8Hn9dVE76XyzXKj6ZlCn40uI17W
O6OpHzhq0cn1dqJi7D7JrSi8wzh614HXPVSGgq3q+owjLP9y4BVY1D125Oi8kYbVMXOcfjVLjkVz
1G5Kjtc8GfEylW5BCFa5ZXLBnw+cr+PUPmukqz3JH2mKLzRjU2iFGV1P2J/uXJ9anchnXrM4+RbG
6qaripUxlq+8RVdVxgM52rS05khW+yKLp73r6rtmII8rjSpxYFMolxVtY11Y06Fz0uLVQtt8zN10
vheDsFahPzx2Xn5j1OxRURs1G0Pw4wD75WzstN5auqa8GGbOK1Eu6nVS+o/Y1LdFF61LqztWOI3M
TILSjdi4uqnwsZcEDZ4D/PqNMHBiBvWwPk8SjFXIVOikB7M49IF6jmOd1FvcXtXBCJm5lGUTrpqu
Psio6UHo5sZlS0zVRWYJn6VNaHfPvDvbh1En1cIM2dn8rjIl3eOo+NIPeSwXaE7pQ9qtadwwFGAL
oIOfRIuQEc/+vMvxhpCka+m2WhIMKW2CiKYIiGwB2BI7z/SixpEZhQs6l8NptY69uFy2cYrVTCXz
5URM0oqEpAdEf/lC1RzeKyxweNbATXeUM4tU5vSwEuGujMYBghgiDc0bFZ48Z+wOqaruIi8lJLw2
4Hw2fZw85GXCc1R7hueiMVStsQftpPQ6dxj78CNoRXNBEmJm1tGdI8bX1iqa4qLPJn/wFogJmqMa
gnTldCI/2GkYHHD3pE+dE3EmxT0W8qeHmPabycEy8GF+elVSrG1f9nd0Ox7sISa7wzMgLIQcmvVa
jT7fO7hq4myXml9qf9jUwjn0hYZmgiWLKPb5rgsitjXSYYdKxPQB4BWTEpG8NAg35yZsFtiD9/4Q
qN3sFrRyKwsHcFnyVXxLHgdfbguD9z8daDv4oTevfJYouvlpuDbDfNeL/LkYWZUUyNGl8I34yg77
eN0j5mkWlkf8Uq+IKKiyKSLmE6QzWLvLTrcKZmhlLpUDSiEI+uZotOatP1v1hUtCW7QaWWXCpaTn
sW/sxpwWmcw4nKLek5yVvw+mQnw6FdFIdxmIdBEmE8f90qeknd3gYBFG3uXlXRFlpL+Vc72cS1iz
YQ/sjMboxAjSDU45T/GyrU2o0Ub4WE59Ds06w+yTG3qvB+PNpFJejJQG3wpfgefshoJ5Xj+AozHK
K1XFl75WmE6LK/qNoOKFvuvkwAm7v1SCUU3Wek9Z6I8LoLsO7sOMVnHlevs8z5KbwDLU2+iKYOH1
RbO1jAGutu7c3ayZmiApXU5lJNcyE6RjW2Zy4cUBkZGUo3s/rt77qSte+FA7trrXqQnOm2ArY8Yx
/I5h3UxLZq0XWepAvta8801vf/doZS8UZ/2FC438MEt+GtHX5++69IJ2U0hn69B8XwxnGgaEbvqh
5mwtIqAUS3e0ASeHueZrTctIt08snICw6goE2IRXMnArohwjQr0GrUfyCEyNYaJcDgwiF67gmBGH
1VvFkZ4fTWWX8ly1VJOt9lQlyapkDn+wWQdW7Wzu8DL6dF1MeZNBjH50rDqAdMAbsiCF+avypViV
uKpWnbZK2DlxlC9q0SY7JwZOkmZV9dSnVX/DyBday5gXhg3dUwcPsg77a1aL6qYWoK5LPINHnsfh
0qV01Ksytvyj5alom+dMQc1s6MjeKxG8YZrbEvNlbPEh2jM1a9FvDMNvNm5Ttstg9s+DWqtmaF70
ywzOyQYTo0WtqftVr6bHUA+8bQPcj6QxTqkV3uaT7hGmhtHSNQKxbgKbLks13kdlcaGa4UsaUja4
7P+7NLai4qRDqwCq0hnAiZOsWLqVTjR6gdyyl6Lone442nHzFS8fkU9pStsy8cZ6YZoYPEsX8xqH
PlCO32yGou1NkNXiNurtxF1hsoRANlfy3Ss9CFJ2VzbuKvdnJdB4NiClxxRtn5+VLdnsVZSBv2/z
9oDxrU4uq8rmSICtz4KaHUdcTIXo4ZkzV4bNlNRokyJ9MNIG3AdBL8CykyHXnDySNqMrbqnwyfRs
T156ceoND1qHYcaeX2E+JtOEX9reF6aR2fP/Y++8dmNHsnT9Kgd9zwK9OcDcJJlWKa/tdENoy9B7
z6efj6o6U0qmRuyacztodFcBu7dCQQYjVqz1r+/fRIlKlt1pIcAnh04aNf/Ii86iXRcPUXhs3EbU
LhCnD/LBQ5PdaI5Q0KBG1bP3KUphEl7R8SoUSgCeeKAx00c9xt1JxQrVt0in6aVKEnglFrUV7XxF
MLXdyGDqLqd7NrnITVPBriNUxRzpmVmEJB8Ccmh0WJeRCvebzJjRvrRSW/SQe1MvrHbUz7P0ThY0
4bFwdTdyGq8OjWfPwDgv3spxrqmuXZZi670SV4vCG7cErST/JyZjf0mskFQXiVYNtIkKudL9pr+l
v5ogEnTqBCpY2ySWARiTx8FXx+1hzmZ22Amuel8WHlcEsjuJvycyzvrLkijbuKeWILi/iXGCgFsy
ZmSruE8jwSmEQZAuC7HqtLVgtJEq2iF9lPJDNdRtsctS1Rdu8yRJwmM3hF6yJgququ8+eX1KGkYH
9IZTtVFhWo0JtS6EMxmIHZ0Ify+1kRG/9W0TkVdnQ7W63yKN/MXPwtC8l1aU0iWB+Xl6iOTJ1LWF
dIj/EcVZvqZpPMFAd/PEZrglRJ88NibhYP+9vVvmy5wKgqZMDVJBUcI4CIUmrnCzwWIymaHmq08T
s0wC/vLvMcvOG/CmYVATKfQ/sNbmeliV/mY5DIwn5Tq4ao+VTcyzMx6HzbiOIYgtJaA+G06dpJ5U
tpBfniliA6kRuaUHvydc0OhUdhQ5iBSh9ZBEvk0vjZcP2cdPdFWfvDJemEGjKSpjVdLnT9Ed4qBP
9ZKMHu1bTriJOTacdi2tRRoLF1lbk3jsbxHX+zs7GQ1B3UeZW19H8lCY5e/mgBRknW4ym3bQYiVc
uQ/lWrKp/a/Tx/gbx8F+YZ5zhSmOoQY9jSa8DAX531w+pgxll8eB9CpvpQ1uwJtU3WfdrbwfNtSo
uRJoDsVPGnPLBaH42QOeD4wm8eOURV9M1SaXXkPAyTgUkg/YQZw9qLuhwqdgtdgwOj3Cj4/4fTw6
VEVLEREYzcmBFK5JQ8jSa3Xw9+U+3cAzuwNp6dR2sFlK0H76UD+MNZsbKC+gwIr0qtLx0eQrMars
YrkRaq7bnc9optvVag7vypBepevBcJJxFYPywxDySm5W1q3x1t2nW2mRBf3p1LAoRwGNzP8s9axE
Zm34lvRqAEHH+HWFzEy3/Y33zfgmPEY3BSUnzCpAbH29Tj8ZlrGwp0IMyiYwbzDWrFruiwr4wHg5
Vg9p+dsYbr8e4b1/93SB4NJqoEjmVgOTZq65131/1PrEe6PWW6/hugIHwaDlJoJmZdjBg3Vo7/JV
Tl1rXzyoR3UnLpOYp6159iuwa3M+oDXRabKayaJl14v1UVfe1K6Y6HHXvujtIlIZIQV6yvxh/2Jl
3TaKpiX18+vpf/I9UrowLRT9Col+Du3T77HIIc/wRT5PJQzJKbYy6SMbN611ufVfI8n+erjztWuY
hoqBlyHTw0o94XS0sBu70OuHZ50Wgih89IelfW1pgNkn2CNREsV2eBa3bQlPCxSu7R0mx86mdLIb
ebX80Z+NyKHLcahbeEpKZBVmL08TQCsPufeWS9ZKzx9cDMW/fmbnr2g2wuyh4TBAEFEOr8KOC/lG
2umOfD9saHjZuHaxWxjs7ItDgzjpu2m1pJnsvJPHaszeM4uX3LHu0Qine2MTbgQ7DfaYE/hXik0C
83qxwf2zUZFjAVxiJdKnNHuIUVQMoZV6b9q1I8MSKLaC/ezeN45HW8C/gY9eGm56px+6rsyGLDNe
Lm9t+JjV3xvrEJvZwlub95BJPMePM5q9NI+UCGZHwislbNg7Xf7DLWQHBMTB1COSO9I/7QCejzdb
+FzHB9/PvDcClzfaVAJu/uxj0kWyxTOydGz9Z7fPnybKuLfRHJVWC3Ph2z7fSWdTnh1MfjMA0OCp
iocosJVNuqFP5vY33lnVVli3dra33ooNDzo/lN/Kg+AstpfMw6n5M5j+/MNrLbkzFV3kvU3xNhyQ
8mZ4pHZ1XX2LtqhS36ARFQqOCf4htq2Hr7+bpdc9Recfhq47P8tlz3sbcfzhshFbGM0Fe3F84+qx
sLLOYuLZNNWZJcSQcWucXjWd3A9/fisExBuE1zbSMuf/97XOefZ9WBQDKc03cgce3WhOdZdf69/b
ayTtnJDiRntihVf5Srjtv2MitV5u/pxfbeYTnmK8Dw9XFGGfj0x4ihnRW9IwZB3KrbF0dnz+DmnS
12CScYOafbLqaAbaQCRQrbOnsLXB72QH5SJCMLsu1/IGx1dqr+qFtV92Jv9v3unfY88+XyPGyEmK
p7HrI6pN9MmT0TSlWCSgT/rooJxb+lznpf0/n+rfQ84+V1zW6lTha2k34c2UjlZA2sOjWRt2ciz2
5qb+pnwXd82u2GA77jRLq/gs6HnfLf4efvaxtknNpd4Snzsbw1Z4rNU3Yy0dwl2+1RdAyp/v9n+P
NPs2B2Tw6B69t3q4z4NfAQFeHi4MMWtYQgByOpv3P/+wRFvyIFbG3jccyj1I/t247Y6IQJyl1vj/
ZpP9r8lIs3htgpPVKNHfwqPKUJpLJ/TUea3eeHvvxjrgQPfjSjqIzuRNXl1kS02DC9/Ie6zyYZ7o
7gaEm95b9F1zID1s8ci0Q0e+CW6tNSC0VfOg/8BrbGGtnilf5o93Fh9IZLDzKUh/39nX+Gpd9hdT
VEefzjG9XbZfnT63k4h8ep20/E50Shnly+zb6F36mQ0+RxUzNTzkWgrQCNJtJf399bHxydLE45nI
39QNSWUVne5sSV+VohCqbzKo50q7p8JrB9rT12N8MhdL446DNIgLDjY2p2MgWwVBmKhvubHr++8N
DgpNaDi3Xw9yPhHaAXlmGtkEkca92QuKjKYgSyq/Sardix3wbIqsvb8UnE4b/elrOR1lFreVctzI
g2q8TpcVsMPb8kd0nJIz0Sa2F5Mz5xvUNJjFTUUn82TMA3uLjg3L1+S3iXJsTTbcyLU3OLZ6q2gx
c3DWGYtObooX37Vuoknq6fQlpYnctW0rP7IdP+fH4E61K67XGDZSDEdUv1U30Wapt/mTvcSaUj8G
8jUcrOk4Ph0U5mDVi6ryWP70rpSNug7vS9exrsaLhBRbv66vDFQctmbDEiRYUy/NbP31qvnkanP6
G8wOATUp+rHlN5i4NRRbV6GDj8vm3QJomy2snvPvwBJN2kplWlhQE87vnsi4EiOJwqfUv+v8V1d+
EWL6gUZ3IRJ/34FPFynj0FhrkCZVzhOxkSsUKZWcp3iPK+E3f2NhuUf2QHYEsIgLG+PZZweeFq6D
Cd2Bwcjnnb5B0c3FIEqLpwzLRsCqKxooD0lqbL9+TecLZRrGwH+DbYR/sWZft1qGVDHrhkR2R1Y0
dnLxjkYC4/cUGPVQGqd82nbXrawXaH0KtgtLx86n8/zwC8w+/DCSKeyXzZOUXcZ7bRNv6h/KnfWU
/ZRQL7NCp9Nu8dA5CzuZtapq7PREhIZpzjZOIwvHPBgbutVxyOtX7YX6Yt211DIxkLLjN7p7oU6g
xQEqK2AZsBos5+vnfr4rTL8BX8gEXJjy0rMPtPOqSEdT/6Rexr6D0mg86nZ87TopHUy2fq3YNA/S
t7DwoUhnX8ps2NmqSsI8qUCBPgGBNHVHJYlylR0K28B39Y5e3eISPip3DcHR/icTxm+OXRc7VBEm
2Ol6JhUX+n2rstAsekmIfTfT3ZGOnyK2hctxnW3EHzragpv/wYOmxiArkmYa+llVw4vqPPVjg3Gn
YNS302uP/B/uUpP1GiyE+HKxsjEt2ZNtgl2Ic5IgY9IvE2mcTjUORjR8o/HUbkj24euXfWsvtLtu
I9nlKrsPMzv78fUkzwc0VYBH8nSmkamaq4fLyLDaTEqfmw5W86ESlhzAzr/RCQ4FAcDEPgRXydkt
LYjDOCnk6rkKyxWyWqcuoOdEyfrrWZwfGZDBPw4z24tkQc4ogVfP2vXAkUH0uVH3+jU9mLa4WzI2
en8Jpy/pdLDpmX4Id6F5pegYyufou39Ut+3R2kxeB/kP6U7ZFntq9zeR4zn9r386R0oy0wcgTzwv
WAvTB/phWC74at6pKUlZd1tfhxvXydftm04MYOzFpavL9MBO5mhIGLfBJaVRAqjEfF00UjbkNQ+0
/knzaX9stq4T2NHR0FbFPnNwkt3/49lJisqY5PUJreg5P52dhzhA1bPhNXmb7Hqk3ftNF3izXbOL
L52QZ6t+wgWpRHKqyT+keb3SosTvD2n8Fld72idXIu7qC9NZGmG2RkzYvOj75Fe0s45sD6+h065a
uzjmd1PctOxqMt+dZVHkRemc9hP7AYzt6eNrRDOJCzl8y1LhoCcvffNSNNIxE5bO3GmX/7gu3seR
FbYLyIwTDe10nEJJFCuXqtd31KqNw56wiuyKydG76jva1bAZYC4h6UA8oNkLD3UefL8PTklk4vBT
cBJnu6MYxxlS3/I1qo7mdkpBm0hELqbqJP43//S8mwYDbcepR5cDRhWzmfZSVeJAX7/WP4vv3fdk
F6zbHyI2y5tu493UV+kBrfgWRsPCHOe3mfmws4VTFFlLs0T1mh7bPfuYuUpsLMJ/TlZj1W/rZWG0
+TJ9H43PW6OTztR5sKevc6D5HlF3/ZqVm8q6yslSoFwUbHoMzG/KY7ZP1/7hnxKI38fUFa7QlEc4
cWZvsVHyMoiD5rWPqKYnGBcupXY+ndSHAWaRSl2wdAS5fqXj/beVIrVvZWPxxDkfhG0DmDKbI/+V
5smADsv0EZ+lN8Rpe+FaTtfWJrx2j8JlGu88G7bB5VLoef6JU52X4fKglWG8OXQK3kmjNzy32Hsy
xKOKEtsSd4G0cJTOD2zu64wy7SIILOilmv78wynjJ4UQBFX7apLkCMSHqJDX7RIj+CyEnQ8yO8ok
el2jsW/e6/1acmvqnKCZPfm80GKprfttrP/45wCt+aizhScotQylvn1FNbYxPOy/3XTnSePSLvXp
E6TwJ4qwjxBTzJ4gkBI/D4OeLdKt77z8yiVf7O7xx7yM40MUfXPf0+FLq+MsWfw+uw/Dzp7pYAlm
H/g9aRBE7fTrqvbko6Vss4ehcoaUIufikEsznT1QKRstqPvd6xStehqaA9epSYRsMd1bV3ulx+up
2eH++PWmtTTq7PMOaQlMlLZ9rft7Vb5ozfu6Wwq1pr399JTjI/jwLGfBSJxKQlzq3at+ady722aL
hNhWHvWVuJGd/B/rGWZvTpmVbnC+iJBid69JWa9K8+B5mHW5C1P67KFxaoN0k6hHo5s4/axTkcDS
NxgjBVHgPliIrsHF/PMXQwRCgEpZ4vxqbJp0qaSEcKFFM851013k3sPXI3y2BcI0xeB3Ukac3cj8
wcgM4BevrnGvabuheETOSbP33dejfPasPo4ybf0ftkBEjZ40KOIrbjiOZu1V+UqtlwotZzcWWdM0
Ek/cvnQ8iqS5xML3xSwJB+OFTi4nu1N2CZ8qplP2lLheKqucPbbZWFPM8WFCIopTru7GSy8faba0
uxqfw0Swuzxxvn5yi7OaBU265KqB2k+z6tbFXbqJtvVKI09Z3C/P6nzHm01r9p5EqW6CUDFewn10
JTnKRfBqqdf5Rb1Gzb4O3F/FUvB7FpvNBpwWzofnKHNDaStmN+kOW9i2007XONW+uF4uNpxVN+YL
ZLafV02p5g0LRFuJdsajvJuMrNPVrz99Nxf38rPY+n1uGjILnaNLm0cXheSOBqSuF/Eg24D3+c90
eAhbmWLf14tkei0nmyutwxKSKpqtiZtY+6dPse7NzEtNUgJJYHvyldIubHVLP3+22qXBGkW6lJ6j
trqI+mIz0gv79QymE+arGcxW+QgECWpd/QylJ8OUyDRv+nQDG9wWxNzxlZ9fj7Y0n9kyT9H11yCi
n0u6ncTe2ujRw9cDTMf0fDoK2R/y35qmIlo6fSGeX1ZdVYzPMfq9XhUPotXu4l47eg0kQdLLS5/R
ZxOC+CkqKrku6QxkaiU9LlqZCB6pXJVqeczazPYVjErDAXMad8WVnb5poETkVPFN2LgjGo20dCzM
1r6e+cy1ctItwg/48KvMPrLaCoquKKk3g/nIsOEWu4MXyrRs1I/h8DjS4RKiGclkfzVq91kUOwHN
pGnyUMWbWPD2ef9QNcpqnHq+rO9f/26fbG+nv9s8ulL7QBca8bnB/WjArmal/aASQuPwT1dyaEj8
ln4zl2Qkn7waXQXvMsnwFJDD8x1Oz62Q3v5ny720jNHu3HL99aw++XSgy06kfLLoQBhma81s6Vep
he4ZXpHu0P9PJ0T9q9Tkaz8YDzjRgQsb7r8e8ixzzUv+OKY2i6+kUomKuuhJnA1rUuUbPy3XVR3A
l+R9Iomv9uKOdsl10bk71+o2woLX5Vk8wfgc9tzZ+Adh5WzDC6HNAG+Uno1WWgXcDH9MGs6FOU7P
bfYNn4wx2/RUecxTmsGfvSdzOxVjaPO7N1+tH/gOOL1df8eQbLiHSZXcdxdLNbQzJxoEjsCpyZTA
iOWf8xs9rXqC5zcG+krjutzL6xT3Hf+9HkIdxrPjK+GQbIJNvF1KJZzHG7ORp+X24UTWAl/LaOF4
ntJRqh0hVal3WGNvMwfjZ2fhGU/b+skzngaj2Yv0PDkhakCng5mhgY+OqLOOgCmS+8q1rYEaZzoj
BZrXf/1V4PpfAMy/uIF8ePZnAJjHIPn99Lt7/UiAef8rf4GKFfxA6Wii5ChSVeVW8/9AxbL2B/0L
eITi48LLMie11l/8F8gJf+gihGlLxgyUtTqVRf8CwAiy/AcZPgkUHZEPtTX5HxFgWA4nK2Xi8KL+
hcBrTMB2UlyzZYkphgkuqCPVCwx22LVu2IchwD0S7hKee1hGmjeN29X12uPmVz9lnL8J0KKpQ1rC
EBx0OldriYYmxUzoUhqVrLpVMXrCoE33h3o7DBR4t2JEZRsRupwm4puXaVW+afMkSldy70cN9uN6
XDrFYA6RY8RSL+5J6Ws3bRhJ7jMq+i7hyK09/UaYQBpA+/ygoAlKxnLRtcx+WCt4EMPQqH05QOHQ
xgX9lMkocywMoBACD3+bY81uWjuj4I7C5bTfD1vUlkl5IftFt9eh4luOzNaUrnJTK7GjbJNA3AZm
SGu9KlN9cqKErrBV60YWRsMtbWcXJW6i5V7woUTg9gHPwGkTSGTrfGgbSo69kFJDhwIreKs4HOja
BIsZfGui2jd2fjSmIMjKmsfOJfKgBRFdifSrrrxeiy7A4h4a6KHgVuSqtwvPzF+s2tfuClWhVT4o
e1ncmwXNmTekMTsgjUKmtVs5Gvpw44E0mLBZQ5EkK2Gs0vw20SPRvciLGgCr0ltadw+LNW+BeYUa
tultBLqshqHVblSxEPklgP7hKwKsLvU2hUm6byKlNUJ+04dQpdxeciQYMI0Dj4Ze+rxUa/c3DcPW
SugCRLJqfhH2uBEqKqhh+lbFOMKqKIkNKDd9a8BQ1ZRW1R403lZ+UUSuDO2q0po2f0giI+h/CfWY
RNtGcXttrxRFXK0LGZXqlnyYb/7mhVvpvVjIInjbrKVJfaOq+Vhe9IoqgJbw0jiixlzjkSKuooLB
12EBinMbxmIgr4UiTLx1C5mu3Xe+azV2WRhmvjU9cEA7PTPCcD+EvZIfoY0q0mOidH3QAYugY/JB
KNSmdbDYjPwrKRdF+vAjBS6BucK0E2PFVJQzb2PFRldvxyxuYirNFffa70lnVtlPXRfElx7DsJFG
vqDEZWWlN3IprcRqdBHqiGCid2oxNs2+0N0CLZzkS1AYhiavivuRwmtotyCDuodW9cRmZcZuU2yS
Ri/qlehGNGGBJA0vUlWtoQuZUVf9bHMunwnJCuiYMUqd8qpTk6i6SE23SRi3jczLYWgDsLyhxmcs
52OQ7wsWfXGoiwRWDAhmVas8ZwA81DtVnFTNj6BrE+TCudDmvxS1owvfq5j1BcAhUb9pIz3BtlAa
01L+FefUKH6zYOo32nFr1YFZVI/QKk2l3w9NkMs/Q3Xwo0OldK0B2E8OGnhpilQXKz0qO350X/YQ
lPxy7OykL8zqDgM7KT8OECvKbe/WZbETY0uot2pApRwXW1CaPPjeGJNtiqPjcBEI4F12UlpL1k3e
dk2wxsLUy7ax4Xnli9dJmRzYfeqnCp3EmvdTTd36qcaEkN7crDa/jYFSoKVSQTvu3NK9q8cxGR0M
MbRjF3VBcNAH1YIcVEZ0ie4rWlxza5XXRTsaqyaBVbGKkiLSjmY2JNZWA/sDyFSKx/QYSkkALCgE
edKz9QVV5wC1Cb5DA+wm4m6gtk5Pz1uW4diniCUd/7oGwbvKDfhzelD77ps/ClV+21nwNon7e6P4
LgR5WUG4GGOI33Ga+KjHS6XCyEkdQ5zXkhSSz/vp97+BwL+AsX0VCNx1T+nL00kYMP2Fv8IA8Q8o
nFPD6WTOjSbn7zDA/GOyHKC5FtNw+kY+YOAE6HH0sHDDIQ+KESZduB/CADzIEZlYpoyhokhl5x95
hsvvxdC/A0YSHIYOaw5PBZq46Ad6t0r8EJ1mre+iZjbuwzQbX+rGNxwIkNEhzEBcSJAz5FpdV5Ye
X/kAq++kQs0vO0nrf2M1rcFbdhXHgOzkeI1SXUXs9bZQJuJRDDxy+iSVH1Rj7G6MLlFg0qvsa9ZD
lb4Ikjd+kzrS7r1febc4M48Xai1qa38QemyxwXht4L6XlzjFQmFVgsl+TFY4+iFp+mhq1GpvVFBq
9omfg6sZSxGjAC/5QWP5QJO57+eGE6SG9qiNVWd7xdCJa/rLa7RfoZ/9kMvMvAgLDvuVWpn+dzNV
61sVchQfkEwJCzPKsMdf2Uih5XpCMW5dQdQAGdO1D9FVCHZ5GlvYLOtZLAPtxqUySIxQ2QB6bL4P
nqldNFaY7EdLgKlVhorw0nm1e1mGmbJtSpfa5eiPe73Hkw1EpTLoDhwLQwVS7f90NZlLflturKLl
PNVao69sTxzES9cYoz34s+C2DD21tLMmGNeuiXSlKDNj32DhuDXjUfgNnweWnWxFuP3IxmsJsog2
faMZyJoVJTYK/FBxO7qUVNUIgDnMhVK3E7JSyQ5scjLuukIT66tINlr30CXhGGPCGuvNS6ylUb6u
kgF+5WBW8lpPCv+YZz7ANNcvgbAqTZXRwmJyqK46LzAu+lE3r2Whd3dmUObFse1arAXUypeOVesB
8YIddBj9WP+l+JkhAWIe/F+6XyKtHEv3slDi7M4UsmAndAp376yT7DRumlvZTCVstSOj/h7GvGFQ
HQ39O2FmUJ9IuSuLWSDftdnoB9sKg6G1gac79DMciRM/MPfp0MsPktg3N32c+b8aXYvvEpD1tzHa
hcshT7O7vK6CC+hlCINyAGnryOzLy6DW62aVRcRPdp51o7AzLKmSVpqE1fqqF8snL2Y8Ip6J+AWB
BAuKojcoVyvyrQdZ8AJgKwQWqVG+K1FeXKSpCx1U6oRHr1TSxyGB2CnULoiqKBYzdx25YNGNtulv
xMRX76tEgo8RyDBiDT0JHnI5UNx1Nxlt+/S+34g14Fon0T1+gIo5PQbBtSbs8aUf7wEY5uFdoTcx
gJiQvjabKKknhQXwGluDOs0bUgyel9qx3Evjtu77aNy3Gt7CUMvVsLZ7V5R/YFhYT2CJFFIBCJjE
hkDPIZfFllHaHR/iVtICEH56Gn9z/draqEosQgRpSyFaSQIl91UOSW9XNlpmm3VRrsugwhs+F+I9
1mz5xqy7cJOJkYs3Shld5k0KRhbpu7x2PdfdxI0/fJNMATLgYLZ4FOZYImdBt5mIIZcAaMebuiuk
J03wjIe49dJ1C9b4UGqh9ChwsO71wrX2sLT8XRdm/iGSLeEqHjphA8RHs43cVJ0i7YVvmiuDChf7
nntFUxnFNqXTfwVzMr9Fy5UeTdkbHo2gNX80hTHeaWOD9TUQbqcKXH8DQku6TwJwMgBtk30lDePz
/5669bB/+Y9/ydqXp+7VUxL8Dk6P3elv/HnsTndsDle0DxYXbUCnpEH+tAmSpD+mk5VruSK+O0iR
Tf2v27f+B/VUjUsTjQ1QSuWPt2+TP7O4G05e2JMi658du9ZpDxPSXPQdJBgxuOMiDwJjlm/LYdSD
j+FAK/Fk6JNV6kqlcJl4iVyto67MrGPvdthAZJFmRJf1UNbihV/3SuQQcEK6xN3GFPeum0fJpm/K
MLpQEtAlF02WMCK7RYV5Xn2fVj4Gq2sj8YRYvLd8+ItgoLIkyFyacX3A58phlAeBkXJd84zuoLa+
MD5JXZz1m1rAhG/XDZyba0kZGmMnGWP+2ze8AnmfbIE9kHzVxCc+yTyudS5UockIJY8vLd8g0jUU
mkk3qSCm47NPKP7SurXWr8oEJOJtgCX9PbsJ2XS388T0nuCiLMiu40ABRFPD3kMK+O0PSpLo7BCi
nhxh5wL4aThuFCfmowz2RiiYcIH0sIbls2qKQtnqWuK2DgZIQuuYVs0GqHGjVfaZ2WkvkYfYc6cq
gVRvcmCN7UUOH0pcyQLizVWqKTkP3Rzkn3onG78Ky0yBvMjpUFSboDDKFx/+fL2OC6VWv8M4pSdr
8NKQf/fFSF7LpQrRNYA22ceYQASNCEORFTXkqKUElXNez+DNggeMJuzaqk4szzpkQepvdWBoP10A
nQC2OrFUHpoBCKYtdkaRcOmQRB1rCbdpgfyMVrxLjMHs1mEoFdKm9+LOf4OIZBZrQg7XdzibQnWT
CUGdHESl7w0cMyzJG56L1Ki5fQYjCcSnnqukcF/Ujag+K6GlvLS1sU/b+rcghllv566HrnklxZT4
jHrFVSM1s2itB8qgXU+fXbUz8zpqHWCXPpb1YklpKXMx6RmdopU861awupS7cY7z7be2GMV0S8mw
CQ+JC11ntGRubi10Ph9vpSHVLdxHBkH3dkVpZD7xm+/FDyOYJMXJm96LyFtwgh9ycjecbEGRZttQ
yQ33te7IT3yHqV0odiFoYXflj74kPubpKAJRH1urEj06PfkQH5iSMO6biSs+QK0LcSeIK8wrnsjW
mJFg54EP5MOovKHaak1fqfdmEVv1rS8mnXwnst9La0GJK1D8fpd1ugEUuA5LiLgCDNyNZeFORCLJ
UtKEypERaLEN0iiqXkcphjS/EvkA28DOSyXsfwyijphixBI95vLejuHwYAyjpfJhu2X3M8Xbr1yr
HrUBzdGrIJWwkGxbd7gaRqUiCWIogXg0gU4GF2XjmRlrzIiKPZjMzlzXhV5GWwMDX7wNvd7Du0gM
0fsPXu0d4hDR253qaxVwBkMsTP+25/oJzaX0S2UnErNBFh8JOFZDlDU4eSgGP28VerocPUJN0sRd
7w2q68BspUYveqpAdJ0AsMWT2ve7IDpMh6fmZLJeVqDs9KHrD33U+8ZBi3UvvYC3rgvHAu6detAF
1YTVVLu9QfpHqyMsIgdXuiOhhIeSJBVJuFEENsZ13iumsRuN3uwuTKEORicopCjfCGotjQetp6L3
ysbWBf1q1JPG3NYYxZSOIvjcpEexlsyHMewq6P5YfxirUKwNc0darBhBiCZC9+pGVZtftwPY2GMC
q9cHtIXdAWEYWtPeKVNkOb7dYhxDa10YkoDpUqNHvJQKYxjdyS3lZAgOrqknldPAAPE2htl6P3tc
GSBIR0lV3JAxypJL0S9NJprE4riZ7ojlKogJzJ0mlMSc2pYPhZ+gEqcUl5CP8j1sXmWVK1RH8Ttp
XOSrVeujPU7Iaaz7OvWS1TDWgbyXq6qWH5M0TgHqxXhabEa/GquLWI9GPVoNOTePaxaC1x9d/r8Q
C6Mo+6lJmVYfJClM/W9WhfRN9rBUsgMvz+mhgGbrHYUhzsJ6Rd9h1FxXkdD43zqjNZNdzmMrHixP
txLJxt/GdN8anFvrjdkVHhlbTwmsJf33lKH+cHVFZKgi/p78GHWOa5Sap7WOLDFjBTABO/AhvenW
3UEHm9ELtrvHPBxs4fBM2QMlsxfZi1Lw6Xw+G1tC3kO/1LvU8XTstA9TOpvQH04qkvjX1Ozh7au9
9O3faOchjJmPRRJApclD5sGekS2EQRk5oTBImcZSbfjpMXkpwARTu1l0P1ws9dedFuoIThD9fBxw
+oU+5ASQ2wpJ6jLg1Lc+kYeUrb/7N3yYP3mIEhk5miIIuSxkX6fjaJUJiLH6a5zsMMnpO3hc/eW/
IcSZlTv+nNOHsWbFRzkR4WeLAM0J2g+kwwBxO9a6/q2trS2A9QsPgORmqVfm0zf3YdCpWvfhQRpF
muNLw6CKVRwFk8xGYO0+JJtu/lxy/ydtkhuCgLr6j3/NSvB/vawPY8xeVp25QqgbjDGtDvMAuPCW
C9OOFKvdXA+7pWacSW0wW/i8M5Y9ZcZPesvcqkuqPiCm0vvrKN+SKeZ8/Y1px8K0Pn1ftOSYpLlw
SZgzDTDaAfoDgntVOuKhW2ub1Amd/kLf4x7kJDfJJr/UFpqp3nNd87nBh0MfqLGzkHs7fV1DpPtG
wPVtVaz7DV1r7mN+7GmdqSBfrowrwyYWtfutBArPvK8eQE874Tc070uvdFqLX/wec7FlK/tKppf8
HuZlzfBTxziJqp+eDeZ60bJ3Vp+eFhBiKjpMiBaoA9JjdTrrePRosy0oM9SbP5FqOJRA+2N3CXfi
rjD+TBQ/9//3v/GeOP8oTsebtvUPHwUYxTyQp/GEHTqAI5yjtXc53un3naOsh121k/KlIc8X0+mQ
sxebulau+SVDhhNKbZ9dGZtsq+7zt86Zuq/6LVRD++sFPJPt/PlYVXY2ZB2yihPs7LFaoeznkUr9
r9+Ue/9nSgDjTINPQxt38l665eq1jnd1BOj7ovuxKAX4bNLk+FDhT0v6rD1KSQvAhAZ3jUn6nG7c
vV+vhBSlBUQQOgPNK3i/Pp6SztcT/3Q9fRx3ttNWVlLFoPf54Uds4W+knemoTvpE/Am5blETeHaR
ZvUC86cVAOkwqfrZqy1b9D84sHgrEfwS5qL0ntPeOuzl30uawJlG5683+vdQc41OHA0NulGGio8W
EAvVjmHl8G3Gq/BOuJyoh/1l4Cw+z+mQON0NTmaozU7JOC7DtikZdtJ0SE6zlX5gquBk+/wQ3saX
S0LcTw4UkiBTJzi6N12nPn76fY4trrkWEfrqP9k7s93GeW1bv8rBudfakiiqATYOcNRYttzGTlJJ
bgSnkqhvKEpU8/R7yPWv9aecoIy1rvdFGZGcijpqkpyc4xuaP3rcqfezXz1qSFCxAqKbbT3fGm5c
Cc9/3VisZShIhkDKh8j7+xFhmWINNdwIbbk4JQU0pWLwLIzrJtDrsCxtqI2tER+z0cVwK+Z/7c7w
asBMHF3arxD4+6EttTAMLjA7hD3gQhryBUya/LJbxaS/9V589z5+PtRVR52xWE+sDIeCKYdfHwqP
++liZoH0br/qN2kA27MbQei7ZwmdIso6oUhGocd1rdwEaw8UgooIg4PBZbu5D52ty6PVPHSUnm+N
d65EM5cnieOheAXTFeTfLufzKbbXPTwe+xECi5k9Mdd4Fe+6y1zJNxeZa7nL4UaXfaVz/XVA1Njr
uEKMWr9A7DIsbiLVgfWEZNLnAgE/jLt3gxSrSLAnTHdQVwaEL1Dfwoml7sxB28e8sA6wsHQuMvFW
mNzC+lC3LcbyRkndVXX013O7euB91o450i14kbZjY7edE/r1IvIsR2Wu9WLdpcv07t+r4/vrmLgN
KADDu/SFGto0GbdExGHdrGt2Aa57jFUldehvNayvcy8d0lBgP1BPB8LIdZAokPwesXQ3B6XQh5lZ
WC/08jUOFzAifBiO1SpfMume94tC91WxsG7qBb55m347gatRBOlqeFEXOAHEUi/HqiIg5jVsM//c
mc2P6PfYi0qtmTMJtaqJrvSqd9HVDrUTpfYhj8+p+VTQ7Z///Dddym9/35x7t0/vC1xYNSqYBpSV
6Q8bdiyCais5SGF2IFM0GO0Zq2h/K8J/fXZzChwzPAz9MDS4ljEno7BKFUR7Iz5TGRzrtkeuba+a
L2X4AYelW03l65OaDwcUKngQigJDtN+vcYinqpEs8kGQ/SqbEAYj0sZQmEsY0kalBId1TyuoU6cr
fX5XwIKXROEMFnEUpbrxPL+94YoCMPOc4scMZu5sP91wVDvBfC9UPwb1QyBTyyr5FPJphqvvcinx
APS34YFqt7nuljC0DoW5qtLY5WPiSyOKr7ofN1rA3JtetzAFU2AVhCPgeq5H32NtlaiZUT7KJ+0u
Aj0H1idzdxv/4E+AhAShjWWzV+kNyfB//8Agw18s6nBkiLJ/vxNdHCJ5SpUP5PvtRsboxUhdIj/D
rtyTsLRdpusm3Y7DzuyeBJLYtHiv6tVItmq8hhXCjbP5po38djJXb3OhmkXXxOpHkv8IMwNOIY09
iFsv2zcvMw4CbrSM2gkQJeaT+PTsodYaKrNQPkYH8v219p4FczAeHMXp3lKvebjF5fvuorCaNKMC
DOSprjlMqCQrtChpPuL02NCtVu+Jckum8HX4AiIQykERhFHDhVKS3y9p5F0RD30CvFi5Uh8t7oYo
+sUaUWq39jxZnWBgZHoUhqlL9Vb67ftjz129jorxL69SDbd0Pk7xBW2Wg55VOCFdxMA/ta+Gl21i
vhgesdRyW4v4Tcc6X/XfR77qWGVR8Swa4o9/stUb1UkCiFd9fTEMdrW/DWP47lqBmwJTC9ld5QuC
pIAjuxQ11vsk5XYpS24GC4nJklew8XH//F7OPcpVPAAuGrxqimENUO5XPc5Q1jLH+Putq9ulEsPO
s3+IkHeVAx2juEF95mZ7I0B/M1M1Ph/yel4jpDaP49x6U0GzCn2QQvxmGa4qWJdBzTUu2H25y5cw
OnfU7e07++UlQckREtYmcF1A2HzRdFldmWEd3npVUQxEtSVyuvZ4m0T8pcvDAFidy6pV4JvVL9JS
kkB8UGjZefip+7LHArVClrhe1p5+oh7MlBa517xke1iQR7cC/NcL/P3QV9NhrFoqGHVm57AGokdz
SjfeV2ikUOtC8gyLB3vAXb3VxX+dhF9d8FU/Z2pSofRhdm5d5HQesHqH9TTH8IknBjAxb7FKLii+
31rt1eGu3sg2M0jMjOzMPdgi1cKeKrs4TvcTPKy2M3hGcyss7lX2dE5HN3y9nST/8tpcncBVbG+S
hOUmB7tMbh6niR1knIRQlyXTVwZLnZb2qLNqn/78rn7pUK4OOkeNTx0KHDxQ4q/AmE+968Z7rJbc
6BW/zm6uDnAV3luiD5Ec5UAthf50T5B0BWYR9XBrmN3YrQeIF7UtGFkMdvxyay73NRuKg89dJfAA
eGO+LK/0LQoDWDk3IZSgbso3OOU0Kx6Ml0WI3C1PfAzaJfW7FX1H1a1p2uxNK8EYvJUf+Bqgfj8T
43qUnEetrnfpxSFE91B7gyrZ5Ggtim2+ztgdmpYJCI/lUZ/MSabbKZjv3uFPt8K4SlCgVCuqpmpu
3qGvmevwMcdEWjkqQbMzNadFJd4JhnM34vKtg14FjrjqIsLS7JxmEmwTy22ivvOc3wpPX3q2q3t7
FShys1Vbw0rPM8gwWssP4zvbAvznZiq8FJEDrtxxqXWLm+PP796dz7f0KmIINLpLRDaM2Z9M9Tiq
If78dn779nw+xFVMGGF7Jw95dp7gLxG5cedHkpcCjgC5w311l2kYIxnbXpsQhs3luDbcPx//1vO7
ig6JwoSuwrZT4TWKOJFyZajEC29F+psvx1WMQBVE3mVDemaNbZxm7xd+l7vzUhpfWF7xoK5gbbeq
d+Yyv7MO6vHP1/h1PnXVfK4G7i1BRR8psgtgcXxMS4eWNuoJJxZkd4k/w/6b+hWDsuzEb4195/Z/
3ed8frxXIyWrMlFdlGRnulcWAIlE6NE1t1ilSzgY3+5gbjzN65k6nLFS+I9l5zqabYRLB06rATf5
jTZ76yhXgQalmxBhoM20sQaf5t0gADu6pT2fG8Qf7ps539fPvVbVcVrikZlQDmsktfUINR5K72Rw
8OyBf/9zC7nxnptX8aUoJF2FIudMwwkVsCNsFG9Zc9y6Z1eRRE5bHTqH9JxUb0q/EMmPIb/V1OaT
/NMtm0/h8y2Db2NC0NEzDxcCIwtYPdvmybR/0ar/o8CP1UfoA7RZxXl1y1iH8uq+Ts9TnW7lgtty
tSlb9eHPz+W7EfE8v0DqAUWSEBb+fklSX08RHGvP8jg4ZpLZpEoCNUmfdSJtUNa/RTGX9+cjftsS
gFkEtgnZSegcfz8iJgHRAK3hWWWw3OtNxyCnPx8ACshvHtNcJQGKI6SN10lJU6k6M8E4ASW6XQa5
9AHl8UazIvBrji2/Vu15HUzyYKngJEVlN+2mlTyS/TDqNwK/jtuTm28v+dMJXUXHGkUHU26kZ2Sk
nJ5wO679P1/yt+N88ukIVzfVGLGs22XZuXFDP0ycctEuoct05A2qzm9bxnwbOv4+2nUQNBsB92Mp
PcPZxdag7bN0uDf2pstiTIur841r+/ZxopoJVbwoA/iyLMSrjMmoSUPfQjDwPMOTypl5kknnD4/6
zJpb/vmA3z6tT8e7CowJZfmIwtBzNeiuYcG9GUO9Px/h21D16QhXb7YcRxJqMpNzDoIFgRM0Cl1p
Nv4nEXf2RsM5qqhxvmoSIwTGWRrG54bd58ZLkrz+J9fwrz9/nS3QITYreis+MwwPYaptVyjmp1S5
cRHf36m/j3IVnkowoGRUmZx5Wi5q9Qj1jTc0txrYt8357ztFrx+4xCw64VLi1QSAItNtZZOheMbA
+hjMDnWbw0jcVu3Y027kzr4bdEObj6wZ6HUGAtbvobAloU66IsEKFNU9rhsL0sIBszC6HG4Wjbr4
d5/YnH9XsRyEhQxUyl3fy1pr9FHvXhIDqGf+wAbLTs1bC3FfLwnrp7Diwt9HjgUJpd8vKZoUiIdU
8cK97uJACGU2CAuQ4zyK2YIESLJo8Rda4X81h9Acokn81//7719VNV/gA6eqa+P/8/8/muQn2vx7
iRrWX6KJ+b/9pTw0/zEzVoG+QfwECFxF4/5LAqH/A8MKFI4imUnBs0Wn9E8FBBgDCiQJIALAzg2P
ci6p/Cd/QIM6ApRRLDHKqBSaM2n/95/nd/g1VuJX25/L1rC8Ll8NQZDbnP340DLhnoWjXQ8ItIQj
IShUlGgq8A0PUxiC5GF4aoskWoxWc6pAt95XUUs31EJ59bDXzLi8H6COWE9p3rkVU8eXDvv1ng1L
yLRkW5Y65TDJQxNEmf5y2YIePlyCRAnfxDKXlqzO3rtYD/2eF2rAiwhjX9GjCGmKQQHRehQ8QsB4
ak09CsDdJXZ/+ZpFvRNq1OGRYjwLBHGnKMJpN4DF4mglfk1uSvIg5Sp8jTtzbZL6PkHt8CnnJHYH
UVW+grWAUykr0p5ZmGo34VMrYWl+l1VYHI6sOFyZgE7dZ9AJ+pBgohJ9NKVTp2qZp2q9vIGED0Xm
XcbO5mA4tMlgll7Y+hTrRxna9X1nUfiXQBPt6PlYHqasLA9mDsPZPC+WaTnB4EX8KGCuvtabsV8L
aAKgi1ZZEKoFFqdptqmiPtuUdGQLq0fx2SSROnNVVPzCmhgLvVyi903c/mCQhewmOtL7NGmgC4TC
cNVIjX5vtsOHCEWxRVFU8VBO8NeV5PBogpH00EvTJmSU7prmiUOOvyexyvfyCB+YFvdoIawud5WO
6gtIoPujMdYepZXhNyWWFiCwspZmRXM7H+EjbOcKLw/FpD/pLC2DjlV0KRL1bA0jW6MUm617HTXL
NuC8bB3HETK8ijjFsrYtuiE8XT4AKt6rdT3sGiMigaZx+E6L/ACSg3YMuzbZ9zx9q6e3GK7PNppc
EowTA04dl+w1kZYsw1bEPsSz5nOXnwoLEzWIyWVPRBmM3s0R/AM1TnqfSMTYor5lL6Ux8ssJ6Bhh
Df2oOpTDYw1vbHOojlx4XT+KY4PFz1PWKbA5i7eVzMUOvtK1DQeB9InLgNPUDEn5SGWPQDxZCwMe
GF42b4I1WeAidc3BgbdKU7bga+D2Bdr8wY3CWEqllkrLWumTu7KZOO6CPsvfxx9dxIu1GpHWUQmM
EvJE9eOKlevLx1hP5XqEXGctN2roRhO8Oufg4FkUxU9CkUTsGT0JnQ6u596nbT5vkz5rAtp3p6kd
msPlY2DUSYw+25msaA65QJ1/rm8bSTeXrdIfR0gG1vDc/usjpi0IjVjrWV9+unzx976uTrtAMt87
8DpWUMAsk3AK19n8UbOS2aNhTgsacqK6uc59YN4HJy1psoDdtHZoJNhA96GUbUWZnDuihNs0h6jS
1Kq7KmHSoZg/aD4UByxaX/YILQwPKVekwwh4AS/A+EAgL20KJsqGc/IANdTgM9SXbC67Lh/QR7Jf
m2iFuQ+t8vNkwr7cBn4FjNcMCx5dNAz81ztIa1IhayLFL8kYZYhbPUyKelW4BteKXZh2xQ6In79+
onkUe8OgyA7jJZUhR8DX5vzR6fjbZQ0mx2Vf3oYgG8wq3lQjmAelNJQdCzXsXipJWOoGqpRsNXaq
htSmWtnfUdLFeGoTg9Sy1lx5VAqkmSPIUP/17fCvb0fIvoKqqN70ehx3WSlZWzVZ9Yl1l0vmE2BM
IDTDMXxXQFCkwJFUxY8GYGYddGGebDTYHLBWkJjGuk2rDVPyeMd0g3lqViKuG70Pf2jzVYvGtYCu
5xnLY8wmYx/d424pixRoq6CTx2jXQfLtMOWlRzUkJueTCY4WVPaOlA/M1yvBl20LoHNICbK3CrRd
MBQyiwOrUjtmqb4zE6gsJiNMgd3FEM0xwiZd5+HUVrbZT4pfo77IslJvQMnYfdJQcY9FylUk1dnh
sqtWS8mOiBYHkZElS6vA/Z8mK9l2XZluJdG0jmxxuCnOm39/YWZMWVah2IVAXYOdkkJzXBhVZX/6
sagmxaERoDsaiBp7iNjVVWcaP8wwt9wkV8hO6dqdXrXlIZOL7oHQzGnGzKohqVKMNUS+Dm4rzMmn
ij+XAjroYgpfZVkqHIXwdg/pWLJhqPt2W163Z7N2KuQSzaROnURRxk1sjIci1bHZt6qybFCJabNY
Ru5U0gz0OJCJt1CPlbZItTDQWA4Z7eVHRSJHo9c51HClusVCoLKNhygJKkUN4qotRveyT08GdVuF
QPkgaibOr33zL2flKKBdQ6eUQmE12HWsaQsJAmTUrqr1NqNxteEgwWjotvckrYBDGdqjkPP2mGDM
sWj1pnTbOId0SkhYrO7LfH35lluycEYl7F3o1l8MJdfv5VRMxyFLHfSn9P6yCzAtNNEk83NWGfal
56Jzz6Uxo1wQ0lbOZZ/ZdeAkNZ2xoAYHx7ib5FNv0dHXraxYNSQp7jTAgmzUmmyzrJe3qLjO77Si
Znact9Xqsnn5KIY0czqVjf5lM5mKIG5BVBBF81gPOX0qlBIKw7ru/MvmFJWoXVOyUwTcDRhn+a7Q
tDdYGORPkYZOoixrZSHFIn9KM4i5uBq3+6Tj/T382H7tVwoWBVjoqd3L/7JE0zswAmrXjE+ZnZWJ
tONNZg9pzR7HkKRoZRJHdlIkT7Ajj6HQ7gbfAqbwqVXE86Qa3YGU+XBSMmkp02YMorowXcCyGOx3
CnXXZkoOwVdc+ZXZmkezlxQbq1DirVMBedC7IDKnwS0lwN47kI6ysUbsUfppdKpIlfzLsGpsISfq
8e1AqvhEma64UUSpC5116OZaRdZFVBUH2cS6xUCEaUOan68jC50oTrlbjdEQ3oOecgi1VD7rslw7
RjVWu2bQzF2SjbFjzl9kdQdNUy/bcSlPO4JhkMdFEvugB1n3TTUdUHv9QkuZPOS4KR64GHyhIOv/
gNJCuL+UDSyh5nHh35vqvHn55cu3bGrpEXFiUTKpckZUPRw0E+NVhiWZJTSA0VGWcQl5x8WbhpZa
NPlSjIrpwwq3diPah+u0JdGxIxjIGolSn0c4jdlZSyeU7TZkpZbpJhMRIILmRJ+kUD90Spt9DKTx
UI6av3IyJk5iRtmxiWGcnlcKD0q+bAod3AeQZlZ6SPpABYIgIJ0yrKKpaNc6yJjLoYn6jdrXmq8z
Cy7XZhkusjqnO9DP8kVVTD9CQ5oHQGqyh5YoxvB7oue6T4/TEFWuwlJzxaWxcNOu53cJ7fLFIKfq
doAWeDmi1jpIIjqsKS9Vv8KIN5VNuFrGVKwB4BoXFCnZI0bw2agSN2KcB23RwvdRlTGMZMVTrukO
4QTekJo2PqHCSnHlHHgxEjXjUzFhjg/08UOFJEZStLWHUESfzfoRbJ7iLLdh6bV81ZSM3LWyPtlK
M5KfWLCCkrqPXlgFMvtYDM3GKNJsl4xK5CJqgXWlVtOy0qd+3YUlSmIG1m4xWMzcmtRez7LoB/g8
fFV002tdx2iaYVc91GOW2YYUSe8ScTKhshfUW70o5A2oHnHCHxKn2oxaBwywcXnZHJVGXccFND/D
/CtJDlcnUy3c3tCnRWyt9A4HyNQOBV00N7aZ2QA9lOcf2cwwUUou7tAihJeRythnGhopiDP1Dhwr
7ndGbmzKLBfLsi/EulRR05OEQ+WAf7FX0qbbXT6m+Sc5w+uEhgiUuj6+EFnU70JmSHQqWOmK+sRL
pqR5Qxh8H6VU+hG1AiCELuVHKpuhh5nUuIVOPVuZArGnTCmAVm0krfD6gyTVxZMvws7YqWMKSVg1
FceqLkNHToj1YEUFOCGGiF5UgogoW90bqgt91FKianxwB5pySIrJuNBDWXkD/ekH2CX1ihNEB/TW
WB2zRnmHivN0TfoKNjV5Wj9aivwI26rhDYq0rUiT6gn4qcID10VshKlk21iEFHBTuXgu+34Fpffw
xtT0lQ4dfxByOCziiYtAzYlAlAAvKp9AoEs1Ub30PSJKWhJrW0GwcMcT+lYNcfUCW0CKSWdVbUKh
9ydQQO8yyapeBNLnrgzkaIDILT/wqF9e9rPMnLzY6t/6GMEubcMQ8kvUjEI6fqZWXbvCTCyEPoUd
cyV6+7Wfq6GdwERhp6VavIeFDVSvY56fVVl6H3sDpnJGuYw5wdwvTF80CFwfWxAC1mONMsyy0JXH
Zmplv60gzr98CziW5WoSQtHlW140GDXrkrq+bMYyvQ8VLu0vWzrkLa1sxHe50mxEV7bLOfe1buq2
QDMtjCCn6H1iHYCSKQXlB60iX0FPrq2NWONLOOiqmy5MFJ8B1LytaBcuhIVOhD/ySXR2DgjcGjwE
DJYEa5hDgcX3GpFWR2Qy5FXMImEzHrabLtYw01cNzEfCTl4Mo1I+NGP0E0rg/o2E2YqqA3uuLIJK
lbIstuFgtZsxhCdHJuTySVJQC2m11G0MM98MViEAu+WYI0Stuo4iYM0MkuZ4qfe9xcMXLWPECwEG
CNBureNQE9Sk43vNyjHa18fkqMcKBq2j6mhWInlxKndrMBHUtVQpxkIGhfWOCW10Mp2GTxSz6dCs
UNTdbIq4QqRvpuQHpLzTU4wFUicWtLmL1Sr2eci6dSK4uq7wQB21jn40Em12Q2+mvg5KwBbsN+K3
kEFvIE3iS0MwY12lcrySBpKsrYaTVWhoLEgqBOBYI9NK0spyDd2/tcxEHW20saiWUL8LuyATd6qs
zU+kiTV/qCTt1+ZlHx9VN540fkgLmp9MIwbD1pLRTZ8h7AtPiVFOu87qDw1py3tiycW9MqZQX2Sg
TjKkeQhABvZoOuB8hHuUDTO/j3RlPUhCDdo+z5bSJOiu44jdjayOJyR9ckevo+xZoeI5w514hx7f
AfZFxKhIYq7ShPpbWRSvUcmUp4RbGOLyojhBzCA8NiEyZhr4SWUlJCCsMSemdUWDxBxBlwMgbzdh
VcyzeKHfhX0TuSC87aA8xwzQiGvugiCV9nY1dLlnWEXsGFlB/KlGTCtb00LYj1/zgUj7dIr7e8Vq
vcvuLotoEA5kEQ3otfU2Fy+1JT9TrjVHKSUm8L8YuEORmL3AvDqpikDjlq+oAAL5caKKJeZ5d9Zg
WtxGgvce64mTr05gKbkct3Vz+Yi0/NCDBBDg4cZLpQFXTxaZ2LeEdnt1/klXQ+AnIIq0L/v+/gLx
NF+YQGA7V1+AIcU81hoIxwREgVCLDqSXi2M5NqgXwYktLpuXj7Ee93qOkFoBqX4ENGQCSkz1Oa0Q
0eddmYIRVV+v8cTRP3A2HHNAuI7w0IBY1wql4LKvlNpuV0hkddnqQPc4EhWdmJCm2rv8h8tHlRZr
qdey3WVLgnIoVCy6lg0z3HCbSI21AUcx/PVRshQO83VOJK8FwnPNOV1mMHBykkk2XKrCvUYnAB2V
6bvS6YoHRwozmFdO7aHVGhSID21Q5O2irfEmaB1IZcJsch/siI2RJkuhoFaLwtOetIltTQ/gBzlp
6uTxPgHMRaR2WL0YJbCCgSgDY3pIwm5ppflCpJNPlMTRdC+KMhsAEPT9bx2N3bI+SWe9h7G3Rtd1
gxG7zDA1jRxK75IUmF/1Jc9bpxmO5obrpVPzj7pAR8hcag5OEj/KqDekkrB1gAEy4zEykQHoJyfu
HoekdCrzozfheRQtqZGuSpBFceKm7mkY7yeggNajcmhRmP0T5y9COIA0e135oQ5IUTSVbdSDJ7WP
xpg7uXyeT4eET5MKYYieezw/k+m5Lt4uo5YBMsQYM37mAKCGCBMQ4msdCgXDym8yCAA6y5GrLRfr
lmZeZ0AXbmA9q8Ovv1gwcx007sj8OTJQC8fPwI45SQIVnrqs+sZW9GfF0NyofY7azs1xn0WbubjX
PU40VOZH0TgTLldCJuSgx7JN83CJY8U5iCDyucPVKnJlR8qmxt/pRpRRgyLCsRo0V6fK5rZujjo5
yL1fowtSlR/AihnTXLDBHLBkncj8wFDHVuX3ghxZHjlWj2EXCmNo+XNMXnWm2FryWhSos61CN5Uf
wPhxw+FA8GCo2jkx5s75cISu20bbyPuXnqdOB3RHUo9OW6Nc1cjcInyRE2F3cwNA1qojB6kExCVz
LIb5rZPhno0o7mDWG7CPleSX+KPTpH5ErHw3QRy08QBEO9khlm5biXnwxvaj+LERPyNpvoUpSxy1
vNcU1ctqrPSCZtLWwMiHT7oFAFuJmXixziicEk2AcVF1hOYmGvytbDaNBfASJNN0I9jPqVl0uIOj
Y40robuFZJtvagv4d8o8ecTjduAZj5UprV7U/SKXXeC/INtCsXNJcT8m1LJDVPKhn5Iw0ImXSeCk
Og2IcZWrpm7boq4KLabhmhJY7eBNavTY1c0WOZ2kdbW3MYWEcLWIMRKz6kcC3S2uGYAWeIM2K6Xw
wfHvLJuGwsm4p/GgKfxYW0yVl0DkfU9QEiOW1FyMwoPFcK56NRLzyHKwQPqhZgADgz23R+3RpC35
u0Q1dBFOlayRXyQ1ZvCom3vUuyWoaF1vT6MLcpuarDEvY+pJ0zcadBboOYGNaYCh9adyxbNdpS7m
2jSgkzGtTh1ZWg4Ec8FlNsBNVHPBM9S7rdlte2BAVEmCz3efpjbX38KqL5ceaEXgXaC+uFtbJixG
FmRYomIdeWTYQEymw2JPHRdSFsjsjjerrHNE6Alq40ZQtjCLfUoxwUN20JutDqwflnLPGneqDkQJ
xIeaO10DGYhTIPHbLFQMMjSvq/ZMClQpCKt9yZxBnGsUCKAyM4pdWTtGbMumw8QaZISWE7pd9qQi
tMWPhN61MOCF6kfn+w4iYfOZSZiwuWQnjBG153RE7j+5l0JgZu4B0LFb5cGAwjf1h9SxaFAnQJe8
YV2kJashdErupPmWYuBAzAXGzPoQtHQ7RoGJpPMMV3StZM+lD5mcNOnYypkdmczVO3CCfTATZLuW
1kl9bmvcQCQKFMeyFm3mYEXHNhFBjEMDylGK1IDNoDvD/dL31qseLxGIsUozt+TGR8jXJdS/+WZv
IwGSY85qrWHBbot+g9cKAyUOrZOB283sBMmOAVETGSskZrd6+QDjQndg6EcwmGhMO+X+MGElAZJY
ySnlY4eupx0iu4K7dq37HLjubK9VmFDZehxY3FFQjov1IlCttZM+q3bko8ZfOvmpH30ksVpxiMWO
q4sQoMRaA+brQ+/2Zb3EZDnMwEBedWRt6fskd1vVIYk78cqVMmcq7zDLQ8QX9TIeDg1tkTnN18jh
uGwoUU+JfKmDYSQYUGO8RgW4vki5zbMNtx4KKaAxMFZYUNjp2WLUl/RFpAGU6BwyyNybVxRqJ8K8
LXbQOAqCNMiSpXba/8S7CwQOI7aVBqz1JfA1ixXigY6CyggD8GVauQ1WpsKlWm5kZIIhoysdVi36
apHH4Bohnd0qQELhl5nN8EJjsW4IrNCJImduH+nP9IQe5RVaB6ahwQIh6UxggOKzBb96SbnTDTZw
a/DfcEE51erzNG7CVeEPra1Gy6RfRvCEe27ZaSjsYXRx3oq1BjEsVTzQPix3HHycbcqxYLceB2WG
HSLcaqqD1NS+D20ZssUcHHBeN0tDiY7ArEUOpkuFgZGKGGXohjpGtwBKo03DmXYKSBRVHsuEH1oF
nAssOcjHDDDmqXe1YtEyYCvgpQinEENxkaWEpa2uIjn2qMk7KEvmNmWtGoZ5rWQoKy3FQkYBjXVV
lPoa9EJgU7FmB00CmSayLg281ENy4ozFQRpDAYL82jrn9asVtenCkACKHzpjOfAh9kmu71FbkK61
VCAXAZKNTQ2a+0gvYgICW+B0+BmZcWBgqoxBRGlD1bsehvtWUKC0gAgfeVsFHJZFETfcuT9KpmFN
KNyUSYPXEIRmqixB+6ToTvMCTnxSuhBKe8DaqZ1wLH9gIB/qGCydqyhJAxN804BmpoeuAN1uW1Sv
tcT2k9W8VFO0nTtUvSLILWCEBtZa5vVAI0HteZAYb4LLB/Jrr0NhPlY5nndf2/kaBO4E4HIbjKoW
TbTewexUs+tuCgr0dUMG+jTm2EQ+T1XcOSmGUnm/GdtRcht0spNQ12Z7H2vzS6fbaPShgbCjCFSn
4e2SuAZIV+wANhtgjcymHtU65C8nGA4OPu6MEj7NREysvGFfCAgL+uqiEj5Ky9ooXhG1WIUYUIkE
RLys04Fvt8gTlbsxAAnidagCabpT4vsWbk0SkmqLBFLHeehmYqgxyB4xbPiEL+EgHaOccoJkGgTt
yNgAL4bK1FeE4s5VNBnXEyLhJLBK0J4JUoColnLVUNexpJWXjhLStwmZVWk1IvHW4LIMED6kt7pu
MFgCptVcEBNeFPgHt5yV/D9MnceO60yQrJ+IAL3ZUjSivNRSuw1x2tF7z6e/n/6LwcymvZGoYlVm
RGTEKm7DaaBkepU/mifCUmXbIZfJkhmSk3rhb2OWuy3xyWt1yRe0nShV3KDYU8XSfp2KPXOM+6nt
titRiTpWIsPvooevhkk0gSxTy/Ej4f2/D5slPwDDH0ZiDojpRvUokoylr5dReih1ckvb+iPR24+c
9+OgnwdcdCvpYf60WnPHlfhfo3MXz6ItJHeGqvPrKBRRgEUxzhoQaqP23TYxZqgw+lLMFlvylLsK
PqNpQ5EbJM+vGo5a6RS6CxfGKvtNjvW/JIM+meLPJCeGa8Jx75RUc9im66yDM9Bakw7ukhXQK5lm
FZup4OJqscpYgNmTL6DvOsp8hkvteOqoKFPqh3yYBOzSU9QJauylfacH7HtTPL+O+jC/9sO82lM7
uCZ2vLs2vFddyCbYDDVa+VraaQM/rcrll1QKsk2D7RbzBj7AzSo/E05KxhLCDKITTuCOQnaIJnbp
bluJZ7NNbXgbC/rhHunoZGW/tgJ+DSbfVkq6IcCarvldo+mDxCSuinS35ubpa7nVEpwwy08c511R
TgPUIXsjKZ0SMF3DLWE+afprMhRweS+d6EqhJ6Ke09O/VnqL28aOWAvrxCHkpxTrveLo7V8T36dk
3RAw4XbD/LFMyy6sn+7Sus8tXx3jl2pDP2dHtsVydxT68YQdzNapzpb3uNr21XZUtpwrRhmI02as
d2pCXS2+J5ojKVuBiztc5MkeubsM22CW4Mc0cLH0DcmNcGQy3GraGpUzdhsBe2Ti3wTTS8mvbezc
63Cpqx1tm+sGNSQZGOa61Js2/500xHWeKe1N5FP6xtS4CTghKa+f5ScHV44WeaJ6cyIKKl78lVvz
JLSnWDnDvAsbamOhgml0QnnfUAdmbl85EV6RFUPNQcleNL9Szs6hk2lOCVnIcBHgVJS2Hk/E9JIo
kOqdtC52uYKZuhg/siL4veiX05/vtuKCwbyD8WOyS648U0PZch+YkpebV6t5k6X9ojp57YQMp1bb
ZnASvH4NVyr5VWvTpa+F6YbqqZu2y7RVhW0n3DrVSRVkhaSSMos32U1/1rLrJGwt42pR1nXVQRyP
hulh1lFVXm96a/4ehw7gkiQ43Oul7uL0PSg+IhBz9S0tKDtgGEfT/LHxk2incgW6Dc93JVsi8cwU
HHobjYF6H7eEyZ0YaHL1n3U/742beoGSeL5IvpjDEE98PKfzYeoHW0HbkrvS0oj+qGa7Goi1JR0s
L2MXTOiqarxUo2rrIKZY0qz2Mu9hr5Xy74Sz3/yspe9l9dPrYiAYDiB+yssBAlVWzcwTC7EyAGTa
9DpOAEgz7KkfJQfB+BH7Qg/mM9tSUGstt/VXaP7LsFGSdmg88A2Xi3O7nKMUTvRM/V4NG7bwRfDo
dELqsyw9iII31F6Rv/bph5WeKVl1Zoabw9q9pVnughM3TyT9VBTGRimOgn4Us9deRfBL0dmuB3PZ
VeWXwNB08hsbR0yV1Cnos3OafoziyObjUYoqQBOYtT/ble7xvHopGTBpVPrt8JKs90EOClna6XLu
LM0tQcBQ1MOmYOCBC9m3OxknhP5hWYZNnJkhOGvE3W99jqFhi83N6t+i7sKR7K7aVv0dEupAlRX+
2w7ZRgJETPxZ9yOFsb9qAiL+FYS70Kbb2DyuAuP11y7/IYnDXdZ7AZSQ2UMcDPhWx0EoFlSf0WaU
v8kVCeJVt4eVWlDeStyuteIq4TXkmobyu7x8zC9Lt4Ia5j6VsuVZIxTZXhFto1WcVL7V1mfMs87K
naD7a8Gp/4W1rT0KjsoF6fgQxmwUnUrErvzbeF43fEmdqLiULLVwvcs8A1VMnEI+J8BBSe3//7+F
LACPSDQW14xigVXPQa82e4nWpP1oKteUtmKxnSw61u9iCbDpdtL8xsMTigcPhY8XGpCRCJOn3AV/
JsTUCvcly29yIOTL0qMhqWtxY/6TdHfJ3chy2pF7RqfVc+f41GEIOq/7NPOUzlem95aIRELnpojU
C8Nv9A8EULgjBbHhk5vTyGycmT0yMIPQzeGxrSLhjfW7OQeMrCtwjzL8PUMIgwSgMkrlCS5W8xYw
NCNWDPwz2fiMZXEjLoOAi4o5nDBdJZcnZT9sh5EJhin3Cm35IGhE8FtT47QeFK/8QMWEEVWnrcyn
Y6a7iq0rJULDAjEVx2wHK+jkDnjJXeKBMJeu2hgmITvDaoaeXv2as3JYEqo63IXnY92IrtU3Pfd+
UrtrXl4rtLVn/I0/5HryFwK2jdVrFD3QRuFcmFl3LYPVi7BT6MVLCWI8jeqLDKdmCz3El2Ck79PY
qm/I6oOpHH6SHAqwVJcZ3Bn2rpMpz0Js9Mmo5DgYvlLtrw3MJQ2SNXsd9OqHkAEQDsbzkmmHn6e7
ZPF1QftST+2rLsfUs4oEigS1U063rgWUijJzky2Kl88LHu+tLUR+zA49KTN40fzf+//5vFJ2DKBn
6v35hc6CpCOSwVOndXhC7vEmqug4ZWxSBb1gQYtn7N0lN432IXdTpZhALvUTOMNqAtZ9OMWTdVJb
4TRRK8yF4Qmh4Uvi8l5Pmh2tivf83vNnmlLeD/jHnCjMLXTRtUrWy6Zn2KpgAW3JGVJiAIouGCka
ttAh2S00adQeUv4EFy4yRouq8qFkh2H+F46ET423mIYRhac/IibJDsTj8Eo5YeeNwkI2C9h7dIXB
hSV/n6hZVOlIoofd8KGSPZrmooQPDTYqt1n2lh304cMgwqq9p9Gpay4TF3ah8lndZjgoPa3waZUu
Yb6L8wezJ2lBcBXPWZX9UTzFfEaZFFvbpDnxM5FwEvQbcmmvEV56gbROf27OYSnbjd1FnhLtRyIv
upJDeLTz6BIT8Dw7mbrrrPdJOhvvauEMObZy3Y0fYuuB2qFbTNpLrB36PhDrvdXdS+5W3R3zgxl5
orIbIuxRrU3fXasKUuNK2gAJVQxxhMFItya+LclR1L1q+pKFkzor9nAbm7MoBWXiFnkgmpzQ39n0
JfXB3F3F7sdMjvr4JTcnZWb45lQqBDF5VmLrkPcQlBJVaRjoRN+ZHCLyZR3tpdiZ0mc87ob2t7S2
C3+bB8jjlYKOLM3VrgDWhYdUeHzQ3LrKzfZi/J6aMXv8YIvJ5hUnv1y6xnr5Z5iDLxf1RYzX7y6Z
3XIatnFhBsZMHd1V3zW+Lp0Jmvffm7w0A9Ua3yc59OS6/p0UduGBG6WvocyF+aVaiQfppm8LKnFT
TtIb4pftiMxFjZ7EsoDUxhQXXJIlikOpoNcwRp90C+KWOqcT+h9VjnbIf/qNSeiIXy1UX6p5a9uk
8HLq7CQ0EFItmh5IsfbIrZHfEJIz4pPMrvBNj5VsCTR9myzWfKrraPX1cqz5ljvz787R0phBGne7
WJkdq1N2GUguuGHLNZjHj5S4D0iESxanpj+UnRfK0Xhv1MkXImtbiqG2USvHHOITFraZs+i9AAlC
l5JL1a0fw41klT4JqJgtp/IQVDOtisT8I2pn3TyIsKODpn13CB9NNANOVxY3HC1qtzEM2Vu7PPKE
ibO3nfQPNUxcNZu718Qq9F1Smw9xxH48strmvUvyXyqA7Yjj3HEpSfvuE3H2DCpZFDFkUqR7Ta+H
F2AOdnD+akUxinJORyLGoq2n/EPNCMEoZTCzLpTcEpnLOL80mCJT+QkvU6TQgezFJ8osU5vndMy7
rgMslRPRAAVWqaoReb4kOoqYlNKte+Z61L0j4jLtiXUt3Nowqa4oROxQMPYWWrSTmi/V0Xxq9OzS
+MnIEDvnwqOc1OrcoaUhdUqzTY5QMtgQ4gz5XzxFml+tlBVGaXjYrNM+SmT+LmsiQMWlSDNgDfuE
sVUs4RebcLjFzdBSbUhroq8o6KHySHQSJbYOytKjXywST4rEV2UwRncFWEBtYcguQRNoo9NVau1Y
FTDcNwKzNybHEjsO6skro+9sP5RDZpMaYFsLVEiY46nfju+1kY/kfuYXUeVwEZGsqYR26Dp1NME9
EhulNJRkbcnbjD4ky6cNNbb5umLAr2YvaIvZ/reTVjqQ6wciQZ4qk7eJw0gdvmQTjlYnhmXL7pdW
0y1OdfBF8kWRUYBqNUGvmMdk/ZcNo7ULjcjp8R3YJdDehy4i2heNoqak/EuN0zHuj8JihM6SY/cv
5datywgEUdF67iXswAMmapxF5A/990bpxwO5QqKvZhOeFKPiYjR4lttR8lfkhAfECsJ2qCMaaHmT
hwV4bKydumSpt0u4TA4Jh8Wm6bMepaBROEUsP+rWHfJe9WQB4Zxt1f28/+/NOLypGZliUVcdMQGX
9kI5/N83xoSjrCbgVtY+QbL/fSMnPUjtf5//nw/jdUKwwhP+QsjmMp05BwYLioCIlrOpU91xfAJs
OGC7ps4pXX/Javmz4ufVxr20HSxjN0tTfezlWgmivr9LWcOAdqQgQZ26j77Mos1QkppTLELhRYVV
f6zZeiasUb3EOW4hSrRRzJ3ZlwsxNG3rGGa10cVqDDKQ7SVflMDEgF9I84J2SA4rW8hXrNp7azyI
UTkd2pRTVhyNyg6V5APdEmqlEGoC//pL2HNLVqtFHBRIScjWYH4IRaXuB7ErNlhdYuBVfsxkYgZ8
Aj3tJlEzgkeI83tJLC6Ww6cifkmaobTzJxMvpqFkxwDXgzIEkaUVLzkZk/uhA+MxK92gO2m8SNb0
W4+AgRCkjEwB8zmXnhD+OAtq5IRQ50Ym75K8AUYoCL5QdYzpC0Vz+nk4EA5AeFIsndSpHfdy8/Sm
1x9NCkomwtOXsuasQ4OpYiq/9/1cc9Gs3kuE+r2SzHVnhka3nTIhOfV9T4Diqm70qFr8eQEmwhLX
cszJwmlDJca51p/4kWoEGGMu+7zMXbNP4xNk46ERaQANBNVZUdd7oZE+pLEavDRF7j48gzDVvhrc
PmS6VR6A/ZrTqNVu3VAEdQbdqHZoVxQzzJhrgDCL6U2zvm69vC2f6vfGKVAu0ykVKSTF+IKbm+jk
0QT9I+vlBb6LsZxiFw7KN1GmotdV0IBGp++FkM6rwxMezaMSDA12C2aqruwg5vcsfMnWNLhlPd6S
JKKH1SZOzvIHHFUibsQcrvPC8d0N4udaSAemb5L9aMmfgzU2214EAavGAd5jSQWHcIYbU3LKdZpT
6RSqC6jDDL+itEfs5EjcKc3aKZLlu551hANzo+6mlNSLPp6vLZ7214STPKjCDHKpV+drVRRubVFm
iRlAxjRXdHl67yy11Ln1ucVxFBGseUWWZl7TrmtpFbOEBotjfOg8NakTP6/bdlNYVujgYz24SVI1
e0VZX4WvdB16x8pUL1SUH4tHQaLqomq2osEVhIwv0ZtaG738ZzzPRFnAZB/2rLTuqcY8UfSnrQQq
5JBUEVRPajqCiMBGO5X5XVGrjcbuExfXJQqyZt7M66GZjqifbFGHty23rU7Fp0JVtIs/jGCNs5I7
GoVBErYwDvK+Ts5o722DsUfilbwGznUpbhwfXmGpLq86o4jbrnmPF/bLbdfh0tcES30U0NBNnN7d
TpSfCKPqJVTabU3GArLm9taW24Wl8UwUQR/GGNEkOyoL2nyJtfcFyko1101jRrZAHxifuaBAJxLX
DQAR8DQH9hnkvV5qXpPup1gM2EXL5WCt60ZuF6c6pjKP5JHAxvU6JgZFsa0aUmaS6T6S4+QpVWuv
HFpG/bZgRiSKeyt9r+WtRY9Szp9lutPEB5vaKO5G8yQDk2QEiwDOVd+FgRAzkm3+z0YwTzGQgbab
y9fWYDYp+0umt4S2h3czxcqQiO4Uucnimckjz97Mzh3TQEiCSP9KpeuQHpLel+WDlDJDah1nAcrJ
fKTDsEGWpBZoJhD3VndxKjc6ofYGHJ4h38f0ragRCL0lpg+KTTADGytEdi1dq+Y4Zy+tdTKg0bNO
g4sfnCzoiKOZpdLRkqCgFQhnXtPY9MaWZFMZgRdp8QJk5b8YzH5eAGv4d3gWc6m7il71BI9uOgV1
7qCYT/p0kBAsPLNxZWci6RLo0wJEhbCsvEXyetq7AbLKySGvWDyzU++LctMNlc3uowkzAs3X8FDx
C810DYFN5fAWjaj+9i3BKWHWbiWdA2OpnorC1Te0/hxNz4SL0leWxKKuz22XwgZ6d3LqJFjyD1ME
3tgieKaru3SCH6U+PCBg3gD5HUfLRhyOIjhaT/JIKNwGTEGXbA8KlS5/HeMfeXnMk6pyCiMY8Qpq
1fc53UEybRRkJlPDqi5mXzGQDD0pBGv4DTvTb8rONeSHwt/McZV4jhP1TKGbTAPIp2eqTxfjzKhA
8vpEG1OAITWp33AYpL1K7Qr5RV41uya+5FCJ3GvPtdgk1JEN4cEw2UZ8XoAcOU6lvoQefYnMbcr8
b7uec/FYhOeOXiCUfzGMUWsTd8bZScRLF98kmvjFk+JpIyGtMImI71wWSyh/U+BPw5EpD7vNhUM8
nKLBqbUWOewxpxlnDBmHXIpWGSC/uxGAdWxq0Ut4qcRwW87TTmWtIMTMDPdJw0PVMJimJtUetmEE
otFVi3BgADlQGBl0CJU/u1CynZftTLzs2PKaS3+6+NeMyg4UNGbGZwJKbzX0KKVM3QPelbwtEeoG
hfmcquayIcMp9hFJ7KI2bcQYcqM+GqQVLqb//CHECJH8K1VoB5qvCcouqhvnOYv5lMLMM4ohl6Ok
LkjfsDoeFvoqYwLCButU6xit7Ags4/UQvDJbI/hWprI0hmtpILcjyfIwdLtxDbhVM+UHOnCTSosf
a/qhL3+s8jtpAKGlX4GMasm6oLkhRGKj6w+hSTyRlBQCY01KTVJZOrB8fVPxnAirtIUw2pTLpzTI
G0u6zto7w6ZBD1+7EgaYUxI9m/SnxHXbdgcydTgTanvlIooWk6vqzkqe2/Bs4+KKeDFDE/OZ5XBm
4b5TTopyzvqPFCJcq1xDqr+UOWObxbtuOHbDttMPciI7kkYLXec+toEGaiS1LQBYmWVUV/bbT1E6
CBbTQJkXy/ExKVOH675GITEyih2LraenBwvDNtQijVjCjDy3aYAlmYwZqSbc+WmOqrzOJZtbe+fR
SoYGAmoAbN3S/E0iSXiOnSdvU52aIA5PpQTfQkZk+55GR9N4jLBw9PkpAGbrPh9KekQPriTXBFPO
2q/Ga0FAc3hLtWNI81reYvMqz7vFekXDsbYvmnZs1De0MmKPhl3hbguqKbAyYrPTjMmpBPmBn+gX
s/La7N7yeZLty36v1LuYUVTVqddb2b4kv7ASa2qexp4jBK88cd9xlVDiCRNXaF+FP1F4ywaGBLdm
fImnBfT9SCpk1julfm05H+BcY8Rgu7b2ZVpqHB3+1mI/oHMgnlDxK0Rqa/oijzC/G93adaQ3Wceu
3TbNsSx9ndjiZz3J6tjnjJ1Yu6bbGQLBwLtM+u3LkzwDGf3G4VtibBHagPTL4XHqXJTuQ/qY65+T
ubwp4SmeH1r7rSkfKWZPg9/rREIptlTF9hAeo+yQdO/jCMv5WmrMSG5Z8eAToNMH5EdRcWvGqzx0
my65JOM9rt1ShnYYjqV2TKS9xIs+/mQEPZrzuyJvIWZHFFSlcU3DPReAZxoK39JIzHfziaKJoCo0
ZGQyon5g6JIiF5u61raYqNmQdroxhtf4SSjsucJw/qNyNof7XO5m/T5YN2H8FuXTpFyS+kiKWSlS
f9ZIoY6y6GnqcUT00xDW3lLAPPms55DfBiItMt1FoSYavUmM0NOclegjz99lZpdNJvhQZwhFkE07
0bopJZQnY4E+naFRbFvDK6aMPe0aFz7TMUrLBFrNaxQMRjA1QVeM3NnnQj4sqgvkThNFjBzM2l8z
8Li2lfwaqjetYt7oUVIDdIduRSQzAhYGYnUemuNBK/d6t5PGx9xgPal2oJDA8XDc4ZsEp9wG4TPv
VP4by99ufkOLEfdQB0FPQqckPldLWp0EVaTqeMzZri/hRdVNhp+SsmzRty7GY5reZJX6LZD1r6Y+
qjo1mztSuZRMTHY7c/bU5/MD7cPaeKEiuIfmuZSuY3co2u1avRYCQsOdmHmF6ZuGryHmY+APY/XL
Wl6WbqedFHb4liHoEpp1m4voMy4SF1B3BuOBXkxK4a13unRI26+aRSZ4tcvczvzZlOfCOprSIQ4v
hgr46HbyYU7eGk6CJD0sRjCjDdzQuVs1g2bMsnHAafvWesvST8irQf8i4ZSwJcl84Vqny1ldTvW6
Ta1TPP4rmFcAf5X/2HTmjpfolhtOifWkXN9FXofwUjRBU3zk2r6rOR6JzQ2a5DSg+FHS91b1M1lj
IuJmtHtx2A6RUyEvi88c0HlyTpWz1JKW7i3TLjyg5rL6zs6zYwJVqO2U+SuePtHpol/lryK2wDDZ
Qs0TucrsasZJ1B8WEiMj4IKJ8k+XfHIVEB5Ggsez1otzInwO9bHoffHcin6huov+QA28otYU9I/B
+pG4K9Sn7gkkrktOWYROPTmFurt2p0J+aeNnufzWx14k7afkFabAboobX5L0K/5vaQ6Efm71a2K8
Ck/Qi4YuvKz4F2YvGQcrxwuFqbYew8QkjF4CIA1C+ZDRPBGmZzZX0nIn69zKdxpHrtKnUu41zS7h
G+UDzzQZNtWKnKc7hNZOSd7y7obOq4sfo7FZqmub/cXzeYzP0vI1CxXz1kg1x1dGKzd6FjlIsjKm
H9v2BZWjXh309FVNfbOkYqyCObvP+bXoPuXpDn+rqODHEaKxR6482Nu7+d5Nxwz2txVvVfso598m
emGTh7RsmAzQXkr5a2oftVpAQjWaW4YD2p2nnIS5xKd+3tdC545ssMLpofnUh6PaEpRmlnYzFIjf
ziYkdMxBeDJBKcIU0qIKRLLG1EdmmZs29cjuMwcYcKpIJLc5zHWvLIWLnvEp7g0r7mgJBdu95HiZ
z5V55nWu12OeboXZpfaY05cshxqwLTiUxlOt3Upc9Bq/UdXUCAmMfyLW+hyOSHVq4cAynvpjTS0z
lV7Sf1TaZiCSb6GBZi0Yr0n5eKpjsz+2rJT/9y4g2A1JZ4ZuKvYi873LZS5PNAp1us0oP9S9hVdf
UV9XxJ7mqSs+IvMfBw8bo2G+VZRuHEdobhHEyuPLnP8q1oWtpFE442xAlT6mv1V3svg68Di7JlhF
fwEDGN/W6fO5nRh+BE9tXfj3HPmDeqvYWqTXvvWMEZVndaF8uZbsdLVwmdJPPd/E2ADLKoe18pch
ro9dVh67qipB+EjXsHtX+WaseQTvgmJuU4li7UmLHFc2wfqeoZ5PAmBA5IIGZDYrMHQj+rBAx0co
vS71JwBFCnGQfI8oIYpb3+2ndF9bHxYxqUDU81WYf1AzrNNvlO3z1hexx6N3thX67bnaWqXkeFOK
ZFEJmc2vR8pkkV1QLWa8xDmaZM5LKzcfhuqrTXSrZfj3EM/fNvkq+cdM1wB6YiBCuKlnLKE9iaM3
LimbzbpdCkaTanNPVNqeZyD2ys7CR7tA3DSFnZ90n0YRv2FFPW1NKfJDCB9GD96lfsSsyPj3HGqT
rPzYFzCa3F4Z8lwzNjaraTJfZ3HXKshHb+2zGi7MTYKcVc+JCUNeDmoJ5ICYSIRq+jdqpHq1SLw7
hgms9alvUzd1E14NE6enQah2kpqIsLR1xy2d+Nn4ofbETfdEO/7qWUfQ4oeUBBMrvttVnUtC66Yx
gkPa3dr1iHyOhlg1Hi0JmQQnttLHKN3Z5MXIkarXkSVdhT4auHFn6tu68JPpBYK/bWlAbZTKpHEz
dwPWIgaoZsv+F/V0LKH6eIpfJvrbZG8Mv8h9fQoDAMsSaeDwkVfboT/rF2u5IYBh+LlFLWxekfdM
9NipWZ8Eq+n3ef7UQaszxU8AcT72ha0l10b5XhinYCJEkkWMV7Z66BnQuI01eHF56t4r/MAJd32Z
xpeK1kRhnrj8buOzguy/E/fVtNHwjSFv3iwP9XJbmxeFyWmK6g6JT3nAn8UZqPdz4wpYzltq/ASZ
XnLMYFLfpObFko1n+c8nbX4U+otmwIEZh6I/D+mp7vY1o65qcjGWm7bc6nq3IHpluYZ0cPUD6bAg
7A3MHeVFJ3KGV/DQE37LRyarouVMJPaVBvlJrCk0NBUS6E5JXplWYx5YunN2IRQ30h2Na715qtoa
x0DaqX2p8V4dAqXdG0UAcNekJ43cILbT8Y78WZZflnx9ytazebcqQc4YFyzah6UiNv4ZVTSSmAiA
rrTTYWTgt9hQHhvsmOtxZCsUFJprj4kGNYGp8Wd5mzPwnHjUDdDilumFzvimDPVHmq8P0UB8OJYC
Zsglg8wLBSECP5R11YURVxX35KpnRCvEZuAM/s/OYy4naqSZdTW9lSKU1x4FfJr/LdbOms9UVlPv
s+uV5ssTwErL37KGI3wCNdVlzDCTOEzt1Sr/lhz88LN9cqQwFXep/R7XM9aCo+blOcWavyrXfAb7
ORj1SWo2CrFqA+znRTe+G/Vg/THvzteYmRxXl62mng0mn5D/eOHgm11AxnNcoMU6i5HP1LMmcIC/
TNT48l2e3lCshg0qDw+kLpteYmlnxPcGGFx+G6kBsqNJNyu5NZou4Yd7wQo1N0Qai88OtkoTdfCU
/YhjzxJtjA0CV8Ilx0cu+SU1y3OoWftWu/ewQ/DwIi2fRfoQJgRn2ARXP2kMhB675CaPtK7/UHm3
0nWlXtH2tCtcQX0+jaJPTTh8POW1TOZuao02Y/a+Z0nx64l2gbnvXV6eypBonvbQjW/DhGo53c7M
JSwMJp476U80/byEvm0Dga/KH4V4scZ/0fo2z49auz8lztlNqvywD1bLzb51LejjING2Zuph2YOQ
oky2FUdZsm0bdPSB1hzSmk3JzxcHm5OeTho5I7b3fZCFfnLpxW2yvhXhA9Q9VT/k7GANN9Xy5foD
/6lY9nVjmwsXslPa+mJQ8oTHenKMYs+xQxknGS+MEjEYpGuM4cEqemJxiNhg0YvItc1QqKQ7wnxb
5DeKyrn2C8mr5hpSEoJ40zPdILpRcgGGV4fjrPqcHIZ6FDr6LiZTAoSpS/IKK9q7mTb/lGGyzdCj
bJY4ZfMxjEcR6uQxjLgTNHgmtu18LDMayoizpnTE7mjUN5wl6JVLSDQ0stTdpRh5tVo/VZ6bdh3s
+tWIZVq/EImiyZwbE15s1mHN3gSKes+Gq7xITCsYr4ZWbFzkJhuZ1NVG+xkUhP+22TpDW7+EJrAw
GFhkjU5hVVtDn1yKICV9ky3ITiQddr6S0ETbdNKqXdibNtnWG1SJkeJZuo+GnIisAYFHzPWV8PIJ
YQ8xpJCWwdanPYiryFhWLD7En6LVNnDK7ZVkYBrsh9mJf6Gg+uAhz3+F4K9vk1PVjwrOz7hQ8ACy
YmNodhIAkMXSvQGfNmXaWEZ9o+STqg46fOzt+zogKkCBqLbgUhyjhNwBJ3UONYgZ/ZMKxONfdfkz
QXww986my1bEHEc4gl64UebXr4KBMETB7IC4ZWPdqjKjGnjtIMDxOLw7iF66Mm5kzh4nr74FThdY
IltAqiX8RlbmYADmNiWpOIBhnXUemKuoT2J7bKfcLhhtrS9ryCjaKVX91rpQD02m34rHGR1tVNoT
E7syoPGCYVmk35pnVjBsHGldG4kDUzY7T1d0RKIUJtxoeYbtFu/DefaSIt2MImUrkpT/x9F5LLeO
JUH0ixABb7YkSNB7SZQ2CEpPgvfmAvj6PujFTExPvJb4SPDeqsrMUxXHLu+7MKVlw/FBjmRXsRMj
7HxXJhfU4JilPivfqw4f+IVM9ZIQMYask2PN7tQJk3nBm7NW+X7FEiuHg/WkAH7r37v+Wo3PiXht
qa9i42mVP0m0KMRHxRxvTNibMH7nybGyXl31lNNbgsGV8R8PoFdo7bEO6NHuZvY2QqZaKoM4+Im0
JUO2zzknuAkwXjqM4msmc1b17bOHbZCtFX6oRaLse/2YjmqGBZekFYaAUSldEX1V6KwqjwMzqcJa
pfbDOaUtXrWQu5bSUfdKbGYLJu6R/s+uN2Ymr7KsWQYUKbn+wDFQooiHXk5AIS29siJTvG+rSxW9
DA4F0jBU/VTTrUXc684Z7WPyDLHYZ3xcqwoHpTd/xWmksOlZbkzUjhDn6OL6CDUvYqKUSG6rPRO8
d00crtOo2kRxfCoYzlrGZ0AubQljabG0uLcw7G/wuCHs1hv+90zvWZdUJ6HFOKVetQ6hsKBdRZ99
9tFjBvE73xuHeIUgswzz1mVg0Zt7VZh3swkPFYPOjvkHc3BGp4G9EDVPcOov+vZgJexdOA3pZjB5
QN7M6kGjvSUFxnlZVhekB+I4DEf8nrqfGFBGiWT/SNldzMk1y9koTD1Kw1qNcrxOW4AfzVqYZKqx
FFni284kt2gf1sQyiz7b6lWDR81H9d3gkVA+anvEN9+vOudrSmxXMcEqISvRCo0kE43iux/8o1X4
6y5DUaiwOlc10Vf2Rucpf1yOR+oEHtvR+adb5r1vxLy+utkOEfHMoifGBwul66O3MBxI1cmrtAm/
DF11M3y0Kj6qwv9R0cpL4+rr6apUolWAZyxF/lAwmvXKkZ1zdOvVNisxw9t7OX9Ytb8ucE2wDas1
nC0/WOtZBy7katvjTRoMsrF6+BLkUibHWJsq2Uf8a/NLmxKYLPfGnFyTmtHOGbn7iUufxOQ6oThC
oR2ih5KztJbKlrItnUVG3JPFspZimHwC9zQ9kqS5cyqjcSRX6f2FpPtHyi1N8Nl0+pp9AEO+1Tj/
MynYIzdINq0+dnEWR6WWsm9aeTfqEuc1S1yL95RJd0ejVmetG9Y/slwSKYFJWJyUgIimHbNS3dh0
NsxB4PgtRoYI/7ZezAEBLDRZRFVIkaC9lc3ohqiXcvG0G/gm8aXvfjoLByatwGhhB9S4dajfncp2
F7qh/ppyu+eE5DH/aUvex9KjsmsS41FL46ptNagl6lZXOaV8GtYBO/k8aWt6Z1E1T0ZJtWqsm1ZZ
MGJT5nn8cGpkdZFRODbzV5J4kaBjYt6c/0KpWFjDt91AJpb9i9OVTNkaHOxfBvQvoytpjud4h9Md
cGThv7bgyaKZ9gQse311CDiSsdxrnEi1fZ/TYSKN3VlVjUJ52Rr2HUTatCy2rdPx/rkh3rN8WPnJ
54hvo4Hzn6Ybh4SthtofkqHT0k8IZscRGbNyMfJLwXkSBwPsGzLpwkoZk6K7GsSl7f4j7lsv/zPM
eJmZg9tbHBkRCICOlea9dJVmTdz4tQwNltwtLgYdAbDHGXYv+/RWo0DKXXgQCCYqGiYaFaKXz6Wv
1mdbuZd7brCosPmYap74naoRYsQPUGjmZWgKr8FJ7PtfcQCwkCxpYoWICRepIccldjFsS9eJY2XZ
YrzNY75alsANb2QmnRsvzW+Wlslf12+P5nhKMS6nAqaJMD3m44AmcHLLXoU0oDEzLZL3ssX0rIRH
C8NJPN9pzjFx0kWvZrsGgyQ4cXSjr5S6PkycJS7ajLOMYgGssVg51MQZF4mvbKjKhzzZ9tkxnq3p
gYVFpsycdMMCt3zhONo3KE13lrXmOQ8uoZfP1DUW3KjEfoP41cUc+XA5AuYw1/mjqOY4GZPR+imz
hsIw9pL80No3pnucixZxHztvDvq/sAHRSddLjQ43WsW4mdgYOAsNtcj2WbSZlr9NyWmvsYoEK6S/
JnPHGCt0JZukSfyySe0W51qwOV5a1dKHRvUSczHoyFHQ0hDBrfpgyLuSO0Q715q1+CX+5MoGwD9D
GS942yQIZ8ucUQDEAhzHCwrmvGXj2AgwkfWszaPjbu2/hfVjTecOt63AtJ2Fezv4lrkO0/Qjq4+x
UdAzSjEurvqeWkgIgSSWoKJk1WU2h1ShDpwwR9XfLXVuRxa0F+FyBFpgcc9qRz0ngzcV38mUl0sJ
ezSUIuNc5eTgyVnkFS5hAzCF9T335MyonAxBvPMMEOUKDRX+AO7lbCc6XhBVZQTGxx7uSffEnSgR
/mTcg3e8Xg5wjIXkVrwi+mPqP52iHDcSptZToX/LBrBMHYIWb7cjpoVqS+sBxA0rnsA/TPHku7iF
3E6uwX5GrkGsFZq+DOuMEz+yPH5ERpQhFrBxCpOOkpkh3YmMrpaQ7lzUqKUL0yEL3MpC3ECzbR0b
+2ecKlz8ceKBRGOXyBhj6R40rLiIXDIF8GCqustl2RJGXYAlWvAl8pycgBbuYKX0prZ0p2Snd+rL
1mFwsZsBMTC3H2NG87LqeZ6VKTkamDodJpwxpecUsPmcyHzk6ERXsp9MnCh/vzO6KuV76j/t7Jqb
TMDkg9QdTBnTQSp3H21AErGKuno1MKbpC4chipHMytv4mDLT2o51Fy3rxNj1Qe9c83F8QIHdZ4py
8IWkLg2B46H4cJIJrs4X3ztbtpdjpa60SHtEmfqdq9Y8buar70u1NxDCw7a0KOP+Fc+UKauzFr1M
nxWPwye8oYXSAu2CS2C2qGUFMcFzQHGiD7/sH8Nc+ttS+VgGSpVquzMbc6r1DX3pSDiCziMJLYYg
prWUR75Cfu87Cw1iATYg9qSXDOYYAwXrWg1JlJrVD0+nzvr4lrWRdv0IYlM/MaPVHYxaqmxsmgGw
ifM5pjhs4l/f2MjmwLP3HleXQToRBzfMk2qep+4QBek/yZafRX20eNT0+Zm0ZNJcQDh//GDYQJww
SGzIm3IeKKbTT8zWxKwa7xQIaUeADyQwzTrT0taddBdflC3eE+mTNIM7RNPJiUZPsLq1YT1NwrTc
eA3pJSd8/HLSUz4wEhzUhVU36DU3MU7vhhYdahm3iqpnbzYmh/WgyU8lUotj0OR4ELCRvEBXaZpY
DdGfAYa2rnCRP2uueKKgb/a4h4O7lBscGw3Yssp0gPYl7VOeQcAq8XYxdir2g7Kkjhk2UHJBJKQJ
5l6Z8YAxjR8xd6UY5M9hUkwOMWG5ZhBt1eQrCXS+Wv7QchHS3fR1xJHR4RNPEvKvpT6iGA7P0aBv
RbGJ6vpfM0TvDWVXVzzjKt90FfEhlccu+Au6ezluFdEu+lPY/DCx7HUMHhUlT1MWO32KjyXuKq+z
zICguLOFE4v7QG4+ikChto5LtDQzXnUGVKLEkj9HPdhkqYmrXNkVvrqcCJHa3UegnCLpXFb/fKas
TV9dW2Ur6mA65pr9MQiO3Ko1sHQJfNENMLLSqHDu0iy3HS21bXM5NZL8EWpwnMeoY+uOT12no7B1
oBB5ZSzl8gESZ+lNKlmuCqRywgnvp8umZgjmuxq5P6u6SManif/db4OlST4BfirNp0Sm0XOUjdp9
5BxV2exermbHTL9gLWGKr/OPzYGLIeXRi+9d60URUAVPMCkIjMSr9Ohlm+TdB1si9xjSOfbSRzZU
G61lFkmWtaO9Tc8aWxDCqds0NBqZ3r6FA4xkUFid7fYp/bEyrE0HlE32GCXpx45p2pW5pI+zmL3D
/MgcaBiJQGbhcXUz5OQViHAlFb3lRbFzTBX13MvNHX+hW0AYCgJ/Ma7kCJN0zyy7gmASePGIf7K6
9P3OoqXBNoq4YCzV9ruJt8WfUJJL1xMGG8cqcrVqLetAPpus+S07txneoRz7vWdoV8O/J/ykWCPZ
CrskMhcFb0Yn9ul8bC3b7tbVn1J4hQMwfhTh8D2NDhgIaWkHBy34MBtPyCe++Et6aWZCVAe6dNZg
d8XjNU9+JOsQhTk+921Ve023D8xNWl1k5xjxG2QvTHZVt7GjHyVmbJ/fBm0vN15o73XmnqeaJJtQ
kTKKf1lofY/mv5o+w6IQhq7AbKkjRTrHztIfZSKcH1B5IiPBtlzrgfYrKHTA/CnRLtXtuzOqb4ke
/Gg9FxW34b0BO8n5EyHKhL7lKk3w0uNWh24WvuTQr5eKrf/4DKvC8DCq7QJgc5Q8B1R+9TxCYB6o
13bLKfkpUxgt67q49QRszyM9ju27Olk97Bc2HS1D3ORZJVcs9VLIIiau7ja7d1ZGpJv93jnPAt0s
gpTR8cEaFr/K7J501F6Uqg9Y16+pJg0M9x2sR/sZRsoh1b12OpjTSiQXCxZN9DTCDYdmmO5s7TYO
T7g7h0naZz7j3t/IcaUWhPYOxigpSZmg5IgWuXOSqzPd4oHh14edAvv6F/YX338PVXASmByMp+3L
jynxsn4vnE0dHlG4UbwhA64jFXOy4ICpegv7KivMl52yjILpXDfSHoLe9CLBNixUwYwtHI3zqA4b
hDaAUCwGgPaJFcVeky6BYfMkWopknvorNOFk2ILzLg36cPmYlCc0pht1EXNUkds8m2soXM+yl3/l
Stz4Wxd8UU2AI4AnlmG618U60VYFjvvyUtJnBu9WcDbNV22uy/JPki5q/JZHvKR0J2v/UAK0+Ige
OLyCS+nzwt9EyWH3SDUvk87USGp0MId14u+SAdsEr3HdiTkzrKfxCS7deYhqczmlJay1CtqxBSWh
ChknWcHFzlSvUVqA5gt3zN/DAAjc0TTQYbx6wPVsI9jhARbeBK5AfavD38b0pMSD8NcSOpk0ZoUN
tGJTeaUh0a0yHHEIPWTlkncHel2AEMiRmHFKDTzGuxp6QXrIkLjmNjzcN91qKvdhfYmUUysz59pI
5TLCKRrc+DsH+imsPjTp2XWL2sFq1BrlklHo6L9h/3AQzh0mIxNMv2QmCzEkjopz7H/Y4m5g1Es2
dbLBoSMbt8j6RnrX87OTfKDIScq1IbQEjEsdTy0KrfrbYhpBZId1hSemE55RejFynLFDGZHyXc+X
aQava6dxnO5sjipwQ07Rp09tlwACKnFx4znjiicU2l01+cMkmZbjFxechHq6S9QjYWBNPtgSPOyj
/i6pt94+hsF7M77I4qN1rszScTWsdM5xqm987CrjNxQvEZFsAfma6YBUFLxufIjmcF3X1k1IF7Y7
qwGDFS3OPmzdrZjfWU50ACIoL0CTP+xA27AzgIuHryFfuKMfr+PpTYc4U60Z61vm3rKYP52saCOk
I29Zm3llBFRJjBhA6KcyJnkLIIJaumU8prHObJzL0WKRjOY9roi6mPEb28+5E6XMzQ3Ro38XRDMx
qXmWCncYgWIZMGmjijvG7JNYt5F2HBnyLrT2q2C/UqNdGLoOrFW2+ZhibgEjOen62zDCvLz1kxfW
h8TeOOaTr5fl7KO4+Koz458RKcwHmGGJNsJvmJ6Y0OU2NrmHKJ4TPQCDqyo8+XwrAzAJVvXPqf7Z
U7JPovxWWua7XhEpULrmGktc/PiFclW3qB3UTW8/qzjbMDNEXsPnlCP8RYhIk3YvIZ1Y1xCVsXL2
usxnuwmGw1jdS/HQx+geRCyMVvDBkZQdj324LbX9GJIQEacy2nX+NZYxM2BE/E5nvYOcQcnYsh5B
RSVTiA/GQS5WD6tOpJiqwy8p6ulDQeoRntwZVfkt0jZaYxEtcO7k5BLy4MNQfZZ0GvG3ZIpDVDnh
UjKizzjHRKQ4HGBt8izKDNVZHDQW4iwJ7UUrodYNmE267HzWrlO8zE3JMNvXKsbhfxBRpIWlM08M
eNAPzClG8zbI2z73ymKfkPqc/+gK06WS/eHUSuxtgqOf4RF6POavXNJJBAv5Htod9xnZ34XQyxP2
Kp1NtgQaCsocqwE1pCh0cHFQK8s4xNeDds/X2uaIaunmy7w4dWAmWKv3ZUUuKkEvHhJKD9aREuuv
o19mtb1aTuqNLBALG01s26RFbZdoBcyioFwDFuiU7ThBD13xFzS6Y5HSH+2KYmvS/uj0+8zoNhkx
YyjNyYaRkIEdVmgHu9n0EA7fbO1Ni3Ylfyu2jFRYIFxeJAUfYrshr+L+3QG+sE5KxV1qoNEnJcIY
26DygNQhAbgJssOgemO0YuymtvuM5H14HSyiFbxpXKdiP7ZPdDjcIWEiH7LGf7CkgmENSqOcWK80
DvCBL2SxXnzKtnm2GoZFHeWJnFNM4UnEtmRerP4rMQDvYhxDEi0KsGSupu+5Zv2WCHh69ROQNCNG
6LWiYX0fPEPdLkr2uqQnUlzSt5Wd+NtButRb/IUgDzdT0rvcHk8ABTnSQ3wBck3mz9XS+2LaN4AB
5mYh16lzC4PDlXUwmHf0gZM5zO9T8cocIArmIlR3wj8P/ocaruSwmK29/Yhrvd1wo5oNxyMZWSrP
6qj31xTLOma2FqtsQF+EcW0BTcKzrLX8DHJM782CcAjz1OHNQjeZ28aF0f51xXKtUTL26y2Gu+Io
4m4C562gsRdYj45L+xyFK2J7XfSuHdMS9qS2LRlG0XpBUHXI6V2G/h3heUyWgfoCyraqWJpRfZG6
UIc7Evhv6jPKZ+XJp2A8Xxg/wfRsgntf3836V1U/ifeO86c8clxI8n6M/xXNOcyPqCacs/O7ZJdn
JhjydrJrmC8/vvSlXzgQH3ktvobWNcBcqdMl6dBn1wMZ91D7kLBAt5vSv1TiEf6FQMboi7tz0m3T
8a3As5O2e8onxZA80x7/rNWgwj5dKwws+A352mDHSzxtE/PPmQcpn2wWUdPUFV28BlSqK/CXgNMH
G9V51vXRTPYO+Wv1H1dd0oMO9J3hHiEiZsxJFA/OjBL/WuZJgVzBKEqC2IH+Ub6l3Z+cfeO9x/Gx
0J1fKoeFhWtLlOs0YHHMMC2zH6v/LJ2nr/wF9ZH7TjIy+NdcKFKGgjVw04s+OeRqgsGuze9xjelQ
Lz9Z3LPBnsPdrw77ke+LFOgbU8ceYsMfaH2s4jGPhKI8iJPNLnwMkHim179dDWvuLS1WwXifcWIN
w1IAK+9SsVIFG3VWDAb6kGOou2E/rQfMEaNrpLOcumAE/xAmuflvk3AS0WD90YnLxB1Y79dhua0s
5okniThREd5q3BbTZpJW6mfZoyFi0veZTsVkmjVSySm/sGrdBniIjkmdHWVYwGvxWvZqiaQ5uTiG
rQLFmOrHEgeG6bH2r3PY8HHQdEwA+j2t15UZHjogr8oQhWsywm++kWyZyL2b6SvDUqAdGe1oC7US
6FS33PbcWhxF+6xgBveQLmzJ1ToR8jXCwojahQ+MKY5rsOrJMJdKwoFHcw+xKmcw77R/VqxsJaZU
OWn9dkqxue6TWKwkpsSN85dR0bEWSe4BLuNpmj1XBEs0NssNYUQf0JgIUpOjbYLqYRlAm6PJWTPF
9Y3CXSYonnYwTICnIs4mp8L2S5tkW7knJ0Z9k8e23GSZnC3qjjpf9aJCb95HJ/1hOrWqu+9ssH/n
tM4iSyZaQWBdcXtFbsHyzzaRIMaS8aK9Tcxl3XzLurLEMKhoL2WQ8pVPKW7C8vJlAIFygSlQWy/T
OcxHh9uV9pHOzhWKiztKUYc5wLqkCShkbjQHJ49p9WDuUmIWGdusNEFiJifcQ3x0V+nhCsd/p+bc
UjmoFwP+ohbb65ZE9MJkpa87huMz0pgiKhPj56oN0nkmm1WgPNVGgtpnBV8taglvIni7rnSWUrwj
bVExf7NsZanCcu9IgjAAI/Co2jzv3Zvn2FxadfFMLWaVHdMh2dY5c2UmDpCGv006hdLpv3LsGjWN
+YH6hOyYIh2VhHR1mCCKWmJcZ7r1VJrmRCats8YKmomJkZaIOmMhBG2C0E3MOrAWz6dVzBNdIsdw
fHGOZWB6GrBRtsmlXht72wz/pBTWdte2iJJh7RWG817prUQ52X+2Iz2B3YJuKRej1nTLykE2nFLp
RUzzzS9wz8q9RqQaAh6CeNirhDOgAlnwUyuFx0EO36VSfqbYElll1QvnPvpfRjQfIFK2iAw1Xko0
TTAZZLNzc/BeoVmGyNXUJ+EBm7fJdupYSjFXS0SdmoD5eyk5Xlb2NIFwhjQ0gqpt+d2d+qjjovcc
fQ5G1vg6wqoY9glYDN8f2TRSdCRnWQMV0TQvKqu8M/K+Ts1gLdsR7afK2LoGg5c90aSzFVkV5dJo
xjcpL69KqiubVPl/HNBSNpSxfOVhNmQL5EYwYSG17V3gYLtiu8ivaOOKWRcs56GkuUsZj2oVgYWw
St9q+4m4S5mulh+FUirrZEIUbUFtJUn+y6OaEwNJiqMx/xcrrlBdofIjK3LgMHQq4qsKJiw2PtM+
AtFJfzs1jXuSEpnTdtRTSnPzXg3aVetvrXq0KgcbhL1TA9Y4zAM8Ox9p5rhxOoNaKKP27gYNy011
K286ckSedKBk2LTFqggKUpO/ElKmEvF2+nUMgxhTPbGzjAVcAFOMsO4AoPn2m6+qqjeME3fF/I9p
YkZeYygz6js+VOwa8CRlJyv1N/jzKYU9eNSrL/yS3URu4LtijeYIfU6+gKEZSNRe2r+BhSREchy9
OPq8hEr/Naxn+0r7l6mpCzuUVglew77540eU9U9Cx6oejBG7Ddbqinx3RZIDFZY5LcvSDJrSFp+W
apv7qlZXZnLo+28N9dOIKasK9PFH5iBJUMv0FYMLEhn7yIefyiXFFJJcSQHNB/VgNTbbwukBxKru
1DPbz/UNzROg7NYl5DYfQsMiGke+K98hK+IS+WKXD35ZhqDCMe9M2yZkEMMdOy0mgkCmq9OBNuaG
IVOFZV3Wbx3VlEhBdXUtMVe0peJkaNtK2cMTFTTwUo11jnRpiUH3L21hV11zYcFfTrhdbZqpSyIQ
4qStKv0NcED18B+EXX4zGnvBiBM5TsXbohkguOwUvfGe401TSwwVCjb5NfMuddWOX22HnpBnjeNJ
E5YcSUYXs6xin7NYJdb4h3F2zUjBXLbVUE3UfxoiyA9vKbpnSJjKUnYYBijLupJ9WPwEILt4Ksly
6AEfyLQ1eMDmZEWSfHV1sLR51lM+lAIbXQqPqCLQGxk/UupS7sf1DwbG+W2L1N/KIpvJWGPlBHCq
IDobxhpbYlAg6cp8fmCKy3It+tA14k2vE61TELSLR4herFM3RlpLlJlTRiZ4Ye6H6UhSKFaOunbQ
h4+GJ87h66JGb2AaF6Fzp4rCl2MoDyvHMLPu1U3Vb7V0NU3b0NjjVggWbcwVc/CHndT9GQ1vEpgw
bZEW71VBrHGTl3ucl0V/F9VWS+7Cgkl4qfSbEHucXFgYLbIT4YU4cqt9KVRkEv9pmK5IFstU/qUq
3shmn1rwvjumBuY1U+42aQ6SqywsWwjC+FNW4Xl5OT7u92+lPozlUbXPZv7wZWyenoK5Xr5m8TcJ
jHI4c6pG5sFSN2IKliPBrw4QMT/Q3EA1HdVDYWIqhLfreEU0W7kXAEeUL3m4z/ZE+YFh2W4+/Qlu
AWwazLz03kVwr0g5pOndL498GaufxZi/ZdEpc/4omCz5Gpm3VZ//+cHLyv5yHwIudek1FPpS6/8N
yTEOz7H+7Ns3EmWkkypOSOK1qjTLo9ANBy6Xh+jnDMuPam794RTotwr9HUDAAh47/q9O5R0maiKI
LQBN1s6J5Gl8USvnNY4nTX5wd696Qhg1u54y5zeTPCQRR3/icVUIIYd0codY9RL/qNZfwvjwo4um
vnjIQ/HO/2P5+zm3PfNtTf7cxq42TLEmZUcqvOzW8JlJz6naSSWb9xsX5pnnw7R9DEW9tR/y35kT
jtEfu1jb3DICRt1bUz6YQ2f9lXNSD09BeTXlXxo01vHUGB9xQ2qoWi/H/CrKV1YGdIuko46qcckA
FHfYI5IRqci6qigJn8DjMSnbyMWE63iNhvWAE/5BqhBtXfPZ27Op2l0dPBFhtlF+1vCoZocsf43i
6gi+JYTkrQyZC3+0wjpSZsaJ40U1F+4+qhlNHSarpBE/I6KR2p6PxzwF39BYi5BmNtAIeBUfof0Y
zB28HESJRQz8kax/UEyLQP9gA6NcHjQCJZ2rZesxuKuGWMQFfp+tpW5LLLRMizvEpehsjIDod5nY
GmJtFeepoevftdqqkT6ik43tL4RAcsYtaRTbrDjo8d5UT6hUzqqq3AjEd7NbA7jatfh5g11hcf17
Vc1YzavjR1l+kJmJ7H0VbBvYDi201+1UX1W+qmzw7b3B3gIXatODIvZ+fnlY0FZT3JjYuYKjHL9p
wTGs962FIfkIcaK1rzL6ZhgcTe2nktaStSP7VEYbhowrfUHYUDCUHIh2bIyJh3c3Wt4EyRvHxujN
nhWHQc+qrNA3zgqbUDnze5ysxWGdOZBO5nJ/H/tXIFQZe0rNY55dQ1gc2Ul2CJ64gkWMyclYtdjq
fi5hBCrS2sf0UMMHDdT/lnDdOWPf5aiLxn3ADqp6m+VPasY9+Ldnr3yCl08/Bgz6xa4QjxrNNNoT
cFQ1GI2r0HhSBBOCSjqvUw48WonP9XPiNROztuOTbx8g1vW9C7hnS27MzG9W/wcJnjYh4bPAbwSL
Mlpp5jHb5dZRsx8iXRH4Uf0NrjtUMqPYZOZHMG4FgyAYstrBtF0xbEnTSOpK7jfYZdm6hYmyizzG
czyYzJY0jzMoi1HNvDgmVrbGgwIGAjYcTiY/P5B1VbU7KTahU/VtohXGOnVpjtVWwdzW9cTn8XfO
kUQeE7JptU6QnczFnlGyohGwEJdkF4KX0SZuh+uMLemC3bzmr3PUS8qm2HFAXYOUTAXJCFxj0ALK
KD/rob8bWAgRdOCwzKn6LIMMJ0maPcXgAA8FUiTBtYF+QZBhQhRPAZxE/wYoVQbG33pHbjJFkOvT
aRWlD5dY37mJ3vrg2LKjomY2A14zsMuNNa8TgqSSu0WdrmaVI2zkl59b2P+xL0UZraNUz9v9Wj6h
RHe+arX/HYIJJHEiMdLM6n43NPbDpEVmlXXLUQ7NouLfGpzvjswmVmQqDkPxogdzRYX7kqhEf+11
sP2XklW+U6csYik314NqzCdABA5NeHD3ApdedEsfIrV/MqNAvT2vK9S89kwbeBz8z9TGURq/HEFc
aBAjoKsknKc/4UbFXutY7EkTZXvHvt/XB617Z8+oH+z6cheJlSFr+aJA7s/sut6UE2VWfpXC0dwr
+Qb/IeEDckm26J11bDuMKWIeNnJk27ra4ArR+43irBVc0uZSvI36Cf+3KIzBCx0QusSAq8lWthYs
f033pqKfrqqcFTe9UZOdocLo8/8VkngHmMhhelS71CNUZijiWE78Oy0pmz4BbWx/sz3VwwqIm0OR
7g5xORfLm+NTfAag91OvpbFi+9MAsVEGHeRshfHrwKkJsNTqzD1HgrFIqm1xStQD+fFy3PTKK6gZ
C0NKfS8I+mpKexOEV01/XLS1dvRrr033arllaMcaZFykUOxxgPEUlMU/gG0MTLQZYdsSHHqM6c00
Qxha2RanOmDOhkuV7x4CtT9+OBOJ4oGPzrP7fUDgLWXFqnY2SGCS5SmktSzF2bID37yMyFXK9nsS
7NhzyCPOjBDhqhKfDqZvxBEHop/jKxdJl8yvSflu2gjL0tPMhisuB1GhCAJCDt7z9pq0LCK46BAG
NSKje431P3AN013H2FTHzSIx1jVgbo1bJ/M6TO+zTpis+65eOw6lGUhAxQBp7nO0EdmvCEMIcrMx
cexs/MCRK6I3LGhENPN8mxqeEX5q6DbCXuVJiJn6Eo2Bl2KiShm1AKHKUYY4cyT6w+lDDYgebip5
o3Obw15iEwg2cRs9h0xxuzDIB0TdK7Z48UDF2WFXRMnHoGY3aehuKW1nJVTaWfxd5UqlwQYeyMqb
V4JrkMaeYZ0FUJZo65E3M8oPlDXreE5ZZmwMZko8/HXDMcnYtkF1cQm7VdO8W13JKQbAdBuqaF1b
a+K5lbKbA82lcEhIkg3v7U90MgTUfLzFDbSe7dBeKulfjYRUmtsy3Pc9cxxvDJ6mxewUfJ9q0+sU
AbO7zichq2N/KNpua0IGI7qlNXuFkztLNKbK3338OYy/efAGl5UNimwOpQVTWCz7r8QqN044v4Z1
j1tRglJtcjXM5RdaU703iPn2qNS7kAxiyWR0YdjXslrl4EdEuMvqN19sa2ak8HVLM4ILPTb5voKc
qibJuv7AoaStzHrF3BVxoTH9vTOVV0fZgf8VNRrRJxeDH7yH+UbMewaydO0r+EEI/bfnef8FX6W4
R9BFkDDdKvXs4u4wRceymSn/cXReu60j2xb9IgLM4VWicrKsbUn2C+HIWMyp+PU92MBtXOCc3vvY
Elm1wpxj7qLmqiGsybMP3TShOCJ5RNMenuqmO1bKwM8WOVANjY8WjUFHLGl+TdwXK/nNzEPgMbPd
lmSPof5kiToI1nCu4LzUeoQGgTMcmpTkJacJ0em1x0zMzk8PSzT2b+0Gd2fBXtwf8lclzPH5Iwt0
WnS/+GctcRiUq6T7gJygBi2jqr0Au6laPywZ6VvV1TicAOIT8O6N7znnU8G4jKw52khy/ViDMHIM
hB9S00gLLDyNoB267X5kRWNZ9lPJclgz+raOaSmtQvBksj0WjLODUX7gOFtOSzP5cOov295yo4pg
S0mTGOBdTipYIvVVn2UC17DiRL+hfXUC9DAbhiRofiByHWJjg07J9Fb2p6OCNkcA/MjdU+FAJXrm
aF0sdpa9P9X7lFQZgZjv5E4f7ZQvu/IHNmyIHSZAEoipU2s3nrS545ic7bvmi43gUP6iScpTDx1Y
dmk9rLDI+NmsJZBgauehj2CjxkpZFl54GG2PybhcUjNZ4TOvflBVIPFX6mOWXF2Kfi044MhAg05T
DueNgKuVOx0q9aYAbEWEtwhtG8LIexwsIGstW/SRGT9aqxy78Ju/IwXdID00YOJTCZ5EwIA1XMQx
sXWPhgxUbVL93OBbiD8s/GFbN0UrmS/jpPTlgNmKZJsgQ+VYQhZKaHLfXEINZ1hRK79UjvjGsThQ
2mXK74db1I6ZY9ZLg7GQmt0rFEND/Oz44J3wzFRpiemM5T785Hw1tLClDCwIaQOLiuwvptNx+DPD
egwKIJ0VVOGe6fD0HocZHYhLVEhqPyB4lr2NZOel6L4zIiqzgI9F4AAzYybVGPgZWC6SyDJ3VaZs
Ror6EE+s0rE6ocChhQedXfJSd9M/DUDPWswYyRpdPLQJxXpNyn5pPB2n2jdGtgnDP1Iyg4WheDPP
a1qq3GUePYdKs4P0mkYzxZ5SepAXQnPdhfZxsuOlRG+mzcZzAOgxpaHFrpVAOTKzPEaCT7f7koq1
Fvy8AjV3zcaq4EgfGTPVWApEU1OxNXTIFi+47UMoX/bTWZ8QPMY8lyT0qdjLgAE0WsGHaiE9DcPD
QHQkkZtMd3Nf570z4MK7N+SsGzCTPlnAPgyGWM64SKgKuQV6y7FO2C1TVIG8dLt1GOZkOmo/WeaG
KM1D5K9g+gwSXkaCpxA7q35pgtK854zdwv9XB/G7VeO/cvOrHUo6N6C9ra4wp6eoC40zSXmqXOmw
QFkhi63mRry7UFsT094lDrFFMn8v6l2dklQJHccwnG3e81306qooEUaUMDcaGX0nKs9xyM01dsVP
ngyH3m7ZarbntOb5pgGbKgl+yD3GWvqmygIon/kH8u5Vh5Fa69fcYOJAlsF6oV/0mZOW5N0ahB8P
5jKY7k6vYXRVz7jOFs2xXtVuCVez5xwVDyJfgQJCQ0SmeuyBa7egimEsZxD5J/6JalgmAvK7/DXj
X7VrVpG4mCu1ZOio93yTKg/5hOmDqKqh59vaV+phbN9i3m63HnzZXAaGe80hYaaSZl/18IsCShl5
HYw1K9gg29n7grlcWv4SZr2U3AbdSAQmm52WfyL8YgrWlNbh6RmRZNR3FK4FAFTZek8dETmtdRdT
B8pgz15zslkmUIjpiTxHBUi8HOthigWUQtBRViqZEczDBm2ktz4MFBMq+hi5gy8SxjjGo38WEiq4
kVPyr04x9c9DEvRy6rznpZ0ons107aZPFZlFnX1a7o/0TGqwebz1T+meHXRXQyHdPc6pGcI/SX4l
aB33OmH3FjgcQjfaWTARAlA2Pat/nT9g8jWl8TNF16qk0bYplXPSAg8mOshSsCjyOd0CR3u3HFJ7
jIsNaMv2RkZfQFA/o54QtEp+uEmxgK2N+pEsGTz7Y3IBYLUwEkYLJ6k22G/cFf77vQN7QKUOqxh1
OEk+v4OrWfgvq1NUaCuDqW5aJH41WPh0HIglEBFGAuyQKbjgfPu3siRutRZblcqKXL8+3cOeaIn3
7u39EP103Udtr4rqdYywMS9wLrcdpAfD8OuoPhfZT5RdKsTOsrvIiDPacRYVfhyBv8p0uwMkXyIe
NNY58VHDH2fH31Hg+mP27AHRxYDW+60Ko0mlPuIYC61+aVcBO2NnnhJzQN/ER4uEqwtSvDtYvWtW
UME+4upIDVScbL8cxpfCfJWEICL3XVqTtzSMzwTdRM1hG0QgpuxFVf8Iqm8TBXLCz+7NSWA5t1GJ
Xr+w5PZUmNcxeQ8UaGfz/pQcmDQEj04WoEaqiNAfVPbgszJde9FsUijC7xrTTN+8FPJFxRo60ByE
/YiQ7a1l4S1D0sv09G6giu3V0i+ceBHqVF6kFoTtNvKsZ4TZwZQdbAH3FpXtC3HLR0JINxp9zcRk
EdcJJfK+STJ/Ns8K7Ew5WrGcuMYKtocTAdLGhWoQ9hKBNjBx8zcIFeV6sDTMY//KjlVsx7by49vQ
VBJVAxzrk58BoyAyrseUEbh/tR4vHUyomsAMgoqg+SV7VT8buoXexvIJlxxIKTQgG439T1yRg+e4
S0v97lPiMfRiF4XjRhamf2mLZ9G0/yjtlRQxJxfsQPMDbLECPKIrOxMzTyxB7IOIwu1tge10Gp2Q
Ki63geWonC1rkFMezHkVA9cGRD44V/l7SrvctziVoSOV9oG5uxf2fgnyhxkbaWFq//Cks3WYoVEc
O/EyREpn1ZtKK/m0U8bZPB5gMPX0ReV8Gajz4fVwt1ntZyI4UaxgzfmbRe1Sw/9BHFMyvo3hM5sV
uh+trTJrQOc19yxsSUpl4EOdMPvuC54JsFfCuw8eXpmvIPopQvz6d0G8pQUpdDZzJ791RLQkNI4m
lwRw177gVm96bHKpvELZXxq4U+f8DVxwbEt+R6QgIPzJ5nlnjd51ll/BAYLAQ0r7ZuAdBQukUX5k
6bQePEHpzHiT19R+IN9IJp7sPcRQSJt2dCjwnXotDgymoAgSit//Zzj8tVn1rVJoBpKQtuE2aL9K
TJjNd5bxL3qgDAh0xP5BugGTKlCtzA8agrlS/n8/v12WuZ0nqvx3pMCdvRzTcfAxL7IVefFCeoKk
82vkYEr2yzVUabexPk7qXuRvGVRJWEMQilBb8Atn0bSyyIrVaX09+aFa9n6SgJIpcYhsLlk3WbjP
DL56xe63FlucwpuVyVRa7JpM5TOZiSinVFfYdT+i6iCyt9D9dlmWNFUCaPejnN8kNshOOGzcaqZ9
DiN5OhZrl6vKMF7PuWFQyI2wD93xqfV+Tq0xVAqm4kvF2jbkjikZJBl94HewuYNBMqSE8F2d3fSN
HTz8T9SeLJzELiJ0pfg34dbGqIgTeku2aUjJZRiXHsEaOgKdGqhC/8NrGjUPp0SP4rAXIfYFbRjj
8xaV2Uw+tlxWNBDSU4b0FTsC7TeaK18k82rAYCkCTEC1C3p+dEm9KSki04eXPFgnZYNgSUbqF0Ni
92HIE+6fusHU9dnZzCzq7xkIR5No4PtnWTJxj9ufWWOtmgAjYPPTR88u7DdKR+TBlK9CJHOufkd9
qtQGVeQf05W4ehokk6DoERoyQWXTzsmTAmuy+SKVK+SVkApGhER60nTYC0398mAN6iGZ1kQUgT7E
RI4CAtWJWxL1RcdUclybeDxU58Wzf4foGjN20wmrEyEZoXs3vGoENU+jh4CWD8qgKq4OLEeA19X0
W2IbWGuu70bdq8aB6OK1i3/enT6T7hGVFd8y6yHiDUMM77ceAQTVlF2+MW7onHtpXzvabcGHy9w6
jj5jZa8zClL4WOe1ZOqBT2WGtKmCL2nea/EoSYDoPcwQs22zhusv+jXlPXQCSIvk3LsM5pR5i8HU
J8Fw5IAfI68zozYOy3epI01MdurT5SAMeuorgjqdNZlS/yCQyznuyfvHqCS3MeL3g5+hzysKtk0g
FWB+piVK1OjXidEAVhDuALiEKKxq7HG0wS4+m7RYOzBhenFAdoguoVStzwzvcYtgMWzJYJzTLfe6
gg+Q3qLtPlyHxann5wg3lfSgNB2rVncZGQTHPAhzHC2kMBMtI7WhceiJXtFR3rNprydnaa6bkJUP
GEAEbGgsAAH8a/jpLZbi4D+h0pV/ev3UKgoZBq+EB/jY+BcdD4MGHzHedAYMUc8n+ZlPBUgEN/wM
5KV6VeRWN/yUfKP+JmbVjf6TsXw39V/XhNKj8PKXadsiceTfIqtuGretPKH1WI5KwNKVByW4BPFn
5siNLm/ipyBkIQ4+MbBVKHXmNzsVyFTz94nTxbGkL6qrqTJaYfTkxvJco6yVmEqG+WIfb2SI0+9U
C4b17N+T6q6wyoB/guZUtnsFa3qNM0VS584dWBRghyeHbdWwAqppiVN3N0znDNmp8RfwCZVMLJXy
3kJQnxe9tvHD+Rl2jp8ZVMsusID/UwuSTdda/zQ7+UW36nZAIlL9YoedtpfuN9Xlw8lqD9X6tRh0
FlYfXfDW8PSOnFcV1U1cjj3VubWdJN4P7GgQO0F4JFF/C8vhtVAyJgIlDzk2HqzObF6K8WY0RxuT
ZLrEBbHIAAcxz2TZDghG1dXVpJi0aPY9pM+xNFotSHm6SmntNBvdfDFH8jWLYquX7oWwgQlVRn8w
UfeziLZyZkaK4Gp06V0L+KG9bt+NgWe0xlGbIczz4uArV6mbnIBB1JjVzwE4S7I3TcJZAtpeaHQw
ClmRzFbV9BHwYQhm9BVlVlnWmz7KUcT2+UG1C2A5Vfs+IrPWrTDemA6cWduI+lVW9h8dsmYYN6Z7
zdkHS9p67orPojmNE/cBpi2Va2TlxMEqydnEQmPzWLP+qQiltAGNTvBRCE6SvF3njY2FNkLHuo50
vIxExpRRyLZTWrAQCDVACjzjFeYBY/blBjgFMUq44XueTLzElGtFxfwC/SxTRGaHRv5ZQPRG8aWM
/cKdHU3lsJyUkrJ/NapoM50oeyukdyYDSAHagb0tQpo3WeCM2kFZDAUz+in56TRMaKag2J0JNK5Y
m+qvJk82yVAIn2M4rAKJ1yJMZ5mLmse+rndwE3LrrWsnhGU1i0sd13F9HQIGU6OYldLgsVGopO6f
HRLamvBc9xc1aogRGTdJiUo6qE2Wq6D7W8XdltF3NG4cGLuFGpFlSXASIJtBeXcb8eeQ3miWF2m+
aSqZpw0hDdXwDbeB0Ta8GRcaijZZK5X8AV4VSB0hQ+oeUFnUqlyUccZhQnaO1po39BNqML0l87Gj
20cWOKwZSeNjjpg72SubF03vMHZ29noA60CRpa2FBmx7YMK40IfwKGaTkj3d9cfQ3hwyIQL9BYF0
XX5lJnNbpgByRN2r52wH7Qmho+HRJXRDus/bbmVO5sbQNfACEXEdwtZIUkG50jkQw0uFHSYS/yD6
IjRja/Mqor+C/aMN1iHquDiNzF2nY/p0XWhqUh7ylJ6YVdFBb7CWNiQVmOskyI7ml0xCBq/GNpFA
s4FDdAG52YJPTu/GhRNjbcrFvqJ/svGPArdnfWIucyqpMSMZVHe+R+Ki+LFoJUoNRVw9L9bsgLWk
iLoP0j71ghDsOhzWTVO/YAXd97gLcSwSAIhpFvYvRHU0id3aVnHqVt7AUolTWc54yL69FUTKc+in
xo0Umzd98J50gjVUfIPbLg3qlU28DLsfQgXV7NYnKTOwr7BTXvImfZjG9FqESNk7fR2zjneeYRue
y8GLTqal0Yes2pLDTq+64SShR0FToNg1SA+UEUJncuUMfCryWTPCCLpTULwF9Cd56A/JC/K9nJmv
572LX40/wq91yATU+z59bRJ6B61d5Iq2VeQXuooc7vxgfOYSB5ClgPAog3eQC5hH229WYJQ+A780
HvVDU0YEETXYUusaS1KnKidTKibJyPri3PxzygOHnXlEyEaGSAa41cx9W2Uv+hPUW5jvNm5AfVEC
R0ZeMdIsiS6BctPe9wLxYGFvqvDohH8QDyD0/UvBGJC3GP/Ucj+02brKLDg3gpEzRwsxFZcRL4I6
vsjYr8TatllTrjRgaU5wjgP+OvUFAkYkfBtlusZfNPRMFTzrt0tyAiFEhznXuuKgmOuMbFf2Iaf9
PZvSLQRBntmjSYWsDDuzQh6OVqj0K2OVBEeveaMSzp2z0UOTcx4O8XcTSgpsJPpc9SEQJqw3ae+a
zeDxS44E00CqSHiLChzJXb2butcSAgFlrZt8TNx+GncQjL/8XA3OpS8ApNR5S5lUDsAWHIRAtqCs
6qlkMff9gXfUNqo8o3gE5t7uHZrqOl53oOcJdvB2yhw5EFv+YAsGshgg8qwQTNUYz2Z2sknfFfIo
J7J9tAgau5LvsOVSQNIG8Qe6vYELv8EtawvtFDhsyQub0GXJXEgttjaemthGk5zVSLfY61Qsc+x1
09XUlt4W21L28kjHbjuahHAFFi1ejoU43qaMWTuRbAPbeWUOF9Is5SwCBKGHgXGIgvI1FGgomi8k
Vrp57MqoWvZUxNBvtgn3exrxGhmau1f6nLD25qMe4D6z8umx5BnzrOCZjjXLRiLeUzrvZBSuT401
cChmNlVd3KNWqpvpFk7Z3sgfXRR/klSzb+E9tEt0YtxvMdHDTjEbao0jv9hxiqt9l4WbHOOcgppv
UORHWpU3wKV5VuJ/xNjg6uHJthlKoDCQGQroOBh+ohwFZW7DO9LWpZJ+xiI7IsLeqZzgibFHdJhK
z3d0F/02BTZjFMalDnJUz+lHulGEOJ64xhOpVb2DOC2oCCECWjWfnqEPjCRFrJCsBodmpH1PJxvg
ncqqaviecBUdnYASkuiq2G96xkyQs4EvESnujCERxQhEkpJPpAc9pziC7WBVj34dMsC0Pccks5Ix
YqZ5OO9yDIqa1ZK4gsGitLiHniKPH0GmXGrUGh3hYqEXN5xYY+r3UXhMipsklArnBRapXNxKZSTF
oj2NoSTY0D4FMiJbxt6rs8Sh/YljGspWw1iZEINKLnfoBn8dfER2BtA6dIEDArauOWwdUDg9eVNF
oW6N/EbeOuOWN7SWLxobVOAK5PjpBHhRO5WrCD2u2lrHVCTPuLGONg+rZV7DtljbiDIk3DMeTI81
NjkLY+JsVUMjIQnFrfWpOtpPj14UbYNBiV+qGCy0U+dOlzGflhYEd0yPDhx3W0NrUFeMRUCzJATM
1LEcb6NNxZ8oLz1WeILw4Ofpf1N6qwgxSfz4ZLwyv1JKQpTM+kX5yAmSwnzGeMRJsQ163kkrMn3X
BAy8dPdD1voZTzRCMdX6slltVIjVWZ/zEfbbwEOTJL/pj4cGtjrkIu99FpKiKQpxaDPlzi7hKssa
/D0FcGf6HF422J3hKU0xAR7deqszRsvWNlISRI1ss47ymcAuwvDm0Lv+hP2KuXhNK4ebCTSO2Lks
6xIfAdI03HWQWMrBVOh9vsk+RZinmJnvWq+24/TreBK/hT3t8GUz3/1LHoQcMJNmVIaWIGQsVgcX
EX/bUGXkqxj3WrFn7QP+SzNPQ0D3hDVEZ+gUyOf/yVlv4Ndrdz3/x4Rxc+PpJKI1xXHh5OLiBOUB
xfXXNLl/weRky4JTc2WtDBdGczMCW3BHgh8QslksMb6dTu32ozU9vJaHIBzknyUv5V9V/osJGabM
Q7O0DFis1nhBeK+TCY/nwVVojv2IkBT5hVCE3iv0XrPOWml4/8F3TpI4uuVkHiRtSER+sL4DnwXj
A0/cViP5QHlC5FLzI3NKN74TOeIhQOxcsD/tu+i8fxH3Nm0BkbfclR0Z6OANy23QzX2YArh1HMHz
TfHJlU8nU5wXiJBglRjO2PgmzMDVl8agEEJW81S3uV7Br4pvhDDkl7HlfwjpBrDedVOob4Y2jUtz
ZAebzU4oiyFWFP+rAvThvjPFF6LmgWxz4w105+XOnrf9yb2MAc+YISHwgVdf6yTt9mZCRWEN5c5J
mFZ3Ds9//8ka72DIC4r4TS6771EHN9Rm4uygeiGsYVZL8gagucOWCtAE2Y714oxHUlbQyfAEDP22
5pnWrM1Y7nni+L+JMbW5EwIHwivxmqbZ+IwPW7Tw3sI0H0lUXcVgvdIP+eF+ijGNDHwh7nX2NobQ
ALAXxWsMLYN11gTmYF912T/76rCNEvqR8XewFdjY2kqSJV19etqXiCguhpMZ7SdzyznQKHixcXCu
dfPsZDim5h1ocsY4akTxiyo4vIciOSNP1uhwBz3ZGmLFtBb1qEokKQcybg5iMcSybJlTREuA1Nzs
9YHcXz34yRjMoSQVjNBGVpnmySof7XhkON2FJqwhhBMLG+9WNsAf2fX6J4nNgtp+UH7i4WpwIO2K
DncH1LKq+oDnrVHjWfpnr7/JHs8pNyFhjNMXPh+GoU/+Dic9NWDGi7dZT9u5iE0seJtLgXXcWvKU
Y4WRbHvjC+QY/lcIzo7piZVdoSCOP82olemVwAemXeo7DM8q2FKOFcGWoJrsgeLO5BiFb/s9xyL0
y1HFbiMGdAwB/j6zaP967zaGmNNla7EOOoXRagpeFBh9CIsFfu+uAMPhTtuFROLvUACja2dWmlyN
alyV6ltY4rHxMJapgv5NL1W5FMXVDNaRg6eV32bV2njfaJVzF7DW0hMrkLipQidc7yzk7EyyCa/J
1XUIadSktByW0IT8gA5Ke8PHRAvG+nieEKccXfyVSfsyNOVNd7Ufr/yJxcS2DSEBXqSaAe4/BbOs
txnTB1UclBkgVSw8WUUSLMbggchVDVjPDlcw1+WXR/nbCREiVPHuXGPWkkDeb6XWtrnNejksuLz0
8cUYXaazpCB2utksp46egb1iGBLnfa8x5WhWj1+cygNplFqdO8D+lrQWRuktGCX71gx0GIqD0Kub
lvevk9LcNFx1QUT/UGtrazoAsnxRnPxD4DKMapW7o1w7OQcCXbM2YhbkH1LCoMLl11wf220uEdrX
evltmQMOHZCQeb+uRhgAQDwtXCG9ekvFA5/PIlX5zHXgdtFoQU65J+b4l6nMANV4TvJCPwHTjx62
ZmwcXaWmQLraWs0tG84EHLvFxmh2o63wKe+79NGlcPgCp7+ZaICyU2l26UrVn1OG6CXs23XoTERr
venUXVGKC9+YHnFuvRj8ID0OoVYGA9KGGolLNXTLttX+9Rbsz9L02UHdcqKQcxLqCR5feeTYYU5i
7YJ1zsX+Y9XbgVKk5y9m6J+59IAUMyK7NSwdVbw/S2C/Nn49QQcMmALmkq59ToDqpWszg37JQT7o
mfDbGR6Qc1XrHG/3nJFFSjZggf9GwRxc988BtExKzzJv1ubHY1R/LN0h3IhRzrJTe5PxpIebydbQ
ALcr1XQema3TD3QsfXVd2Re1DsWkPzXLTHDBgnlqUp6D37aO3gcLJX9qfpjU1uHBMI+EXpMrGQH1
RgSpN/+yMT/NG+LcOpKqW9D+2gN4RGNf6jgrcm8V8iVghVb9hj+kEayWgM9o5MHqHjWCcyQlaf9q
dJvIJMWl6PA9x28IM30a3tr4lVgmWiTOxZUJaGMShANfSJcF8D1jrVCkGQBULPLuZmK7etQDe6sO
wU8cDltZdD/CUH4B2XyKAIjnS9SwNK7gAzbqVkmQFpua3yC9Ec5B/jGNdtO9H7JtKK6p8kw45sbX
lmotI7uDFgA+OphO4zVg3+Z5Zbb0FBrphEhYyzSXQaxtTY/gpQDF3wePYsAhLdk2MGx1x3SV6qgu
3RSMf4MdSDmotfOWIdbDZLe2cE914DdrnEi2+tG7QM1BJQRBdsBa19Ommr9BzPDOrLdFL46RqSxt
zX2U+OTCFGuZBnuLDSqPkqMIG1bRSlVZH3buft0Q8JmzIZ3036Y5Wsn46QHKDZsK6waYafYhNrJ2
M4ogiQWHyETLDO1oWHV8gm6Jj6UhVSNhgpMhfOy5Uu+TkaxhnXhAtYI6+NEw3JlRDFyiVc/uPU9c
8lzR1Dfo8a1zIpHpaN3ZnDKHX8j8SluPO7vwB9z4nYVYLkUFPBeTzyheaR20blS2aY19ZthWmUP3
B0mbhjqSP10w2Tx5XB8Sd1eLkH7SvZVa4XjKdPpeRVHWg2PsIt7DkRFTjtx8DEmSGxlGKJbNjEbu
IofOzEmZ7QENYCRpjAyAmO9Ih9EyoSzA2bl4Ozu46c7s1KCkbBCmorpoe512EplIGu2mTPcgTFNg
Bo2CD14BPJWvZQXMpwSOxMmif0j51pV/dUGAyrQO6ALsOUMJ8oOpKZtSYOBW+r3H2JS3d4N/0S/G
mef+CqFqLUWygUvzTzXAwjvtov4yFesYlbwmgXPMs5ElifYa1p+yvTcgSZR+WKztMUZhn3BWUgxm
UOQzJ0BbdQzCeddRLOzq11E1HJftymzCq5rGhzxBQ24QT7zSI0j8oeP3kmQ/VF8OYK02f47toZ6O
tbUt5M4OOXmrd8LosKkARLX+ZhVLC+u2BnsRAwEMjb3GKNTADWTyXlX0k8tSUy6K5EutzzF3jSgP
dUFYQluu3bpY6n82hoUpYn9fDAqBWVjQAc0ulN6DMOnihQafxfoM7SdOf9LQgYwWh1I3l5w7gpax
Sf6a4aLlxJqpiEw5RyPHW+rVZ+70Oz1CQRtgkmk+LdqIyPodUGQlunmKeCU4VUxUJ9NaMSKwbvSV
Vc9GS5TykdeSIYWvTOEaagVnWPPqYd0fMEy5LHe5+CamZQHI9FpMl9xlxZ4PMF6qS2kb+ygOoHH+
mn+dgZLP/GUo8G0q9wmZLPFPftcQbUFX325jdFjBmJ1VHnQrmFZtR/DCtE8nnW4LnrT+lllgQ+Oa
IsXq/UJH6MUfc0s879BIyVjd6clX01+74NVJrziQO2pMJ6BQSHXikm5Oe1OGl9b7SCZrgXtCUHAN
9F9txNA7ebWtfNvyVdrlizpmi7XBkKmEDTJ6O3ve6uYFn82fSSKE6Ujfq65uoa0VqzuncWz6RZqu
XN1EdBfS4MrirW4FXx7wabjiAn1swaibfLMXRs2I5xmQ8g0N5Vff0raZq9LkRpIpRrjhFLPi0zOV
CXTTvAig/WY/RG85Pn1PoREumhDlkYNirzIJB5Pj39QI30XPWJtAnKKFRW4sjRqyZttCtgyD+qa/
eaxvC/zCWnQMJYOzalt91Dv5oUTpq2juXjW9VFJfptgM6Aom3DNt9A5j/NQTcaFQfsVGvwHye421
6CekRkwisSsmUtjz0EKAmO603j2MYlgnbDwKtJSF8jqxl54iHveCarLET2F0bLX6axOdMsO5mMGM
c6PcavS1ragoP7hMHPUegnebJ8YJ6UEJv6cy2QeBAUy+yt4PisBZsfrqnWpGLHofjSVP49iMfl+Q
gqmCyB8IeS/IJdNawu8cnFhEB8FSKT0Qs5FYxdWbUq6KXxcBpQd0JGpuQk1UtJ5hve6U4ZX8QmoB
9SIcAGHOorEaPx+8ZD6bXhX2jNRghETtcg1JachxrRYWnB3sXV1jbIjSvU5hwuKel4sPc9A/YoYx
lChwshjqIJekY6Ux7hDJSeLIioUwuRbz74L+HFnmvP1sjroLFs7JYzhOG3uYTi3NBF78M2idoxHQ
xEbFxjTpbHMIe715Nm2XWQm4SIm+gLXMEe8Mdy3vejFsQvjxiLCoB2E1FAb7AcnrhQ03ZFwdc2dV
ZGyuh1p/H6aJ4iGPV7C3lhzmI7BIM9815f+q9E2ZOt950zzMGXnnTdm26fvOx226mcZkY5FUGBA0
JXHDhDZwAR0lj2D+a5rnQGu2tNQopfP4S9P4YS3j6OXRu5sRzzAAvCBJFM8xPM1FhTauhKNYIykO
+PO40HFp6SiHUoY/lOj5XlP3DSK+iMxSLRyWXvepsPrtc+W36Q+5ZzS++SMbi5SNfu01GvQzi0OM
2vY4oDPrkMWTws6sakFGjgivVU/+Ou0621S23uo0AJXtEQ3o8UfaktPhkdNAe2koXBkex6J+b2i6
M2pC2+jPg3u37Y4qvLw3cXjSShad3LJz7lrR8I0EH2J4tMHgVxhmGw32u7gkU8HSzF1hi9q4Y+bb
UDs0wkOcGMQSRqi8d0EX46LLFdLj0s+CgUCZYelxi4mUqwYP7DKg94/ho9TBnJjK0FzGl4gWm99/
rdm0+TBYnfzqBVeLbXb+sHlEkQtSId+1R9gyryykTzjZ4NwDAPWlWxxcFqz1rKXuuudA4jGo22FT
qPY/VHtuB/ODQPUNu8pHPylrjf6ab7Kpx3tjPHRH3gaT9VHDf3N1zCfELJzXM0uPk38R8fZpsf2V
5fjmBNL72Av2auudwjZFm0T/HO7NiG3+F69clzByGPsJ7whsxHcbzhNKG7q8Mb9Ekc1z5DAarjsI
GCGp1pNq/EklZ8yI87rv1mOgvhiWbaIJse7kaE9w4pmBl+7V7jXOfluiMnKPHmEQEQP4pgDKVRAX
ar9gaBK2zq7E9Bu9XypzWEfyUxcR24tw1WaczEOy8/OWZHsoC4I1xsjDGUN+mP/1psCCafxMrA/Y
oe6iQtmXDIcH0088TkZrIg9BoYOxSSNV8XlvWqwPI6+a3VSrEv4mJ7jpJSsvTHdx20ORiHlh09Sv
RiKygu7P5ixKG/OQEOdBKuJrRLVNxs66GLt/ALFPBjd4HzAUjW8EjsEt6HzNYLYqkhX2Hb6B3twU
kE9ZK2jrQFVRSkHkite0idgznVdKdC6MBBQu0oOoYr+napBsRr18q0cOEJ6sWqY+v0qBdHUfleLa
AqrNQQf1/0vWgn3Lil0d3jPO3UQjmlpgm5pTSRKi20SNnUixiWxJDmORQkjvzgArqLmWLaOoHGRe
QWzs2gsc7pB0n2F3sdu97SHXpNk96BaNMAlGtV2eJbefFTHU72rIoLl8sZP2S8TxSiVq1ou1T9QV
TvofUWe21LoWJNEvUoTm4dWSPIIxxhjDi8IYrHmwZunre21Od9+IG1wf8CBLW7WrsjKzcuAjFER5
Krh7tCtgyVrlTfynQd+cbOcLnkT51JER1gm6IRzjsbXBeTdd62m+HYeWRnbA2AB7D9qNB2f6k+Gu
3KTNdzLB6Q7Js3Mkpsa0FIM45/FZLjDGDNoN86ZtBbf8UtniB31jrDT0dGX2s55BVirB051J4tD9
iPHRpg14j1XnYNQ6hvJYgdyHTveHUvI6O1492mw1YK5RMUJrbPO97nQMQ/uYHZQrFfb2dkyDeR7K
t7qgrd+hFijKN/xVnmfVD23Zr/FvaehIDIxhjwW0oxo4kR+1ECsKoYsPAepwOmF0ErJ4CRfWwSqZ
dBOvCvLwMkHzBUVr3tFU90k/aV8WLnBnTuEwrB0FapCVNTOkS0Zc2GcHV54qM6E502mV1r35FSa5
j0a5Kio/VLKVTg+V9v+6hKZQ9dJyjox1bjD2jUkcRfJJ70LQfqMCKWE1wm7qmVzEXNRifup66eG1
prpbwpz3liE2YcQopcHoqWjiYjsYBtesofmYZxIlbYqN04h/Zs5cz7+/ER6pZP4e/v1wfmOazNvJ
bAElMhXPW3vCokBV8mKLDSjWWIX1Fk0zfj7So2AYNI/++6f1eBxVGtGDQpslFU/4O4q/p8KzzyDg
b4LSLCkanRc6x1S14pD0ui23aWYzQFT8EyddEYdyjqt8ZhAEzde/dyhTprxNmPHCVu4e277J/vdH
2CpPmqIwu60ahApeMvmDrDIAWKWZ8/fav+P4+/HfYeVWiCq4dDzG+3Q9lGZJnr6pLQ7yDKt/sil4
/p2H/143apLDtONwl8c2gl5GnqYoU70+Dl6qFlSXroU0Mf1FGiZmJuuStpQTZpwOcG4qcT3asfDG
6CMu6ZWJu8Ww5xLn3vPc4o/R5jbg3wNy+9zRzNbGvXg/kkDOkPiRSTQ1MugsSVrP9GRBHmo9ttb0
6BDkOPEhMphpWAuxj1OHGGQoT7EekO1LxloVpziAp1i0arJJEpKeQer2f+f770eqgZ+kuBugcKGg
MsSxzHZcbVF+omFM71MyIoyJjF4FhFQ/9f+/BPj32l7oLOptRxsfTnJdbf9e+Xel7RYG2BR9NVpN
Ly0et+mDodgFw4gzSdv8d2byKDP9TjM+hjLNFP/v4hYKO0Cu4VxYesnAfpIN9bh9mDmTNjsEprYd
s3j/3uPvR9EziVNxiF1//2TKjw2IK07+3w+zZwBAYhvDQk8Ck6ue43wzxqC/unMdirnZSrbVbP8e
5eKroPRXHlnkh5U5sxcDFjpI/W2AOYX6+99dY5u02kdmCiHi5fqi1csm+9/3go71v5/89/Hl3CH1
c+plFcv/d9iGbQHOpeTlf3fSUNRPeTAz0bsT00TDaCM75Rs8qnwbawwzyCvi1t+bjfouyh5rHfIG
KBRGdnBg9vKQv1JmQXA3jzKnMpUJbf99fyl+Q1pxqpJO8duaUNFjIJSHEAC486CXnuVJXTJlhREF
44oo8GaXwNqPHo+pOAWgsQJIdL3QWSsg0xoPmH29LmqYfn/hIjHyaeku6l29C9a4UMAGoEm/DFdI
TqEHURz0m3odrkb301zc6ByOymHS/LHCzCQ0k2XRg8sl7Ys8oLUwhmDyMsbHr4KXGWpOvjKlJbYC
uCTYoY9dAGaDDEmbLc9irjb0uHoJ38RWPCzjHhdmxZahT1+dUb1iGh1FTu097BW2a4wZwUrKbl3w
BmwOmbynAhLSaGSqOLPLdCwH4Nsy/sHTLBc5dQSRivG8kYuAnXF9DZpT6rvms7xpX70rA7bkJCKu
gSuWr8bYJTKP15amDvJJcu5DeITUv/3k9/fozPcSTDj6NViJgiFkEDDdjDYwObYm3Bol5uSoALVY
2Lhl7sKs0/sF/iYGu78nfseuBjJPzWRC/oWJALXABUfJfybk/iAjYCg/GJwhSDeQLeIj5lqUSgtm
VUQmEB0eRO54ZcLVUzF6autr3NHQ0guAb0+OmADkV9glOIRDho54+KFBJkIjDvhBHHnCUYKEDcv3
a4h6TuTjGygFHD8OfsnsKpyjweNch/FCoj7H+oH5b3SEychcBpXVZJowf2mE1D74RApLFG9mLylb
bzwHmHlBEYWHID4OATafY93HMxMFBoANBg9+tldSR2NaFLiEgdC7MP7iH+cOna29Cn1CvkRVSOWM
6RIqCKbN0hSMXRzG6yunDncoyfKk+3AiJYLV0fygRAokr/9yUB0g0sKkGiev0KUrADnR+QU1fVjP
zEURrWjqFOIB+I9nQLL9RVOpMUvwK7zoUJ+2j8pjUC7cr9f+S3ke9zQ2k92wGa8DDqBrOMbwtNVl
yyBDNz4V5+JKkUwhxBcIbvXVvpUnnsCBFkfjnlC/MIROnAVVUM8WNT5EuRseouN8L0/8q0R/4Cyy
h5tduaisBNZDfRXNqdntz3SFJkTiC/1mfKm3sV7MdwbXP1TxMp4zn6t9fGDBtbQLsIUUv8OAwsae
imKoc0lu6SBXR57N4XEcov0BtRIXrit5DX+OsAREfjrTO1449wJcrfXx2kdPduUV9oU35AX1lREt
VffEe0s281M4MhxXrsURliG1VQLN9uow2XQRH7g4fFMuPwfPRZ84KhoI7t6+8eL0ZMJPyhb6BapQ
f9Xu/E+/8AHhD6VVLv7KYgl/4p/2PPA9OeEjrHKXMpCTINubuqU9fGCRprRbmHky+TzAIRc2LQI4
bA6pnw34WeI2BeXLzmomVrKFFxNh5ws1QqDgZ0nR5hJ7CBTj1viKyA+chf2WnbVXnlHd4ycae80l
O5tINuAs++aL/RZvppv5xh1PSMESXpx0vi+k+yc4nerJxub/mDuLCdgVRTUs910sYV7n1vR+EdNy
Zj/ZKJJ7Cne/2MqH5BtfEwwD3q2jfdA3ZKgJTVnZnT4lA7UTnhH8G8jZYaoenLESHbGGd1Ux2Hc5
wDsfXfnOkqnCHw1iQQNrtymWmCiJsY86Qh9oO3uV6q2+LouO2bKUzytG1UGOcW61TzsGQfORyUiv
fAnkJaRnOHD8ogShlSpBghSSE2BHiI2LR+bynakLjGf2jw0m+XSlOAAW14IJNbAtIaktplOBb+Yv
AAT/CAhgvTvMSw2fXmAY2lONZ41EPRgVC40r93CdB0CCy9XFDo1V4yedxsxD6zdqx3SvYkdjl+le
qWPg9yHibHOA9ZB+pA1gZN4OP04H6DD7LBzqa1ZO12GxTJfFV3JER1QCLuUClGWsiDBcFoI0BhoQ
qjEiQslWvAjzBGZF0Sanzu7BhFwdUfOErMYPGzGOOzK3Bl12AL9wbtHxJ8oy/GmmFpuJBm2fljUI
8mb76Dfwp7kX4wMBudtYd/vSnwne6Pae8BHa4M1+MS8tUdG6hz8EdhaOCBH35CjXXnBT7sIl1EsP
+g1c4VDtuSugKwoGb7MUkS7dVDy+cgNBdcXmhUmdIDguG9CjRunErACxE7EzWF/DJTk7X3EE4crV
XplUnRgXhmsPeF4gZZhfk3N2Tjfk1WxLc7KhLWbWF8yl2skDooYVNQFNxnK9jRlas3rDbXTddgj1
FlhThExNYh4yFz31cBsANDPg0cjrtvBz5cBdz2CMr7JDJf1WvyOMneC2Sh68agtuJ/0L1xqJsj0F
AKnYyBhuAHx8OlcSAAWqJCbb4hOH+Bayw1k5E9UROpYiFmH0HXn6Mv8cXgKwWiCul+CjeZnflXes
/4Hfi0X3ApevYSPDvZAhRD3dQgJwfS1Q3IuQaF7mM3NlcWwj3PGFoJnuIPJ2J6J7H8KAyJwS4Tki
dq898gf8LX+0s7RVzs3J4HUqVvjF0bwNhk9MwyHumJ44i8LJ78ztkG8MqKU+UUe96bfwRDwicWVj
iK7jtFBvNr5jLzTblmz+TO0mqrQkLG/FXUL6gkbwZkL7ZlARjYqX2tGbTQQjceUE9JdrBoX1nQm9
c4rWtl5iQtD3jz32MbTiK9xAKLJG3T5oeVchKZkZxmMzBlCd4SqVbfNt1hRarS0nrqZ1A9O1saJn
RBU9mU1n0tmDMgnttg87hhsba6XR55UdcUsYhqVD9cIiRTHsXcmns3mZ1ZK6BfuL525tQc8tXUa7
Qa4GqMA7IqUpOi7QDzFDfGuvh40K/bNf9e8IugDxKq9PPean2HhkIzdV3fiGc2vfXJkdAN/bMRdX
OXvs6eeRgevfGqShj+wVWDSGAPnN3qwitPbHkiKQphd6sMUM1Ya4+dr/ju8YPGSvMi5+TA6iuJ5/
mzc+qxoXJrktu3/q9u+8R/tufkPLwP6UhQhiiT2J8Uuu8HjrX+dfhsfVvdd+zb+5vQjiZfAdXtov
JiCZHzmLOvnSPyAxfsckEaD5kGDkxfARvvH+w4d2qN85SX3otr/II5nMhnsGtEUs8DklHEX1LH0G
DDaZPaRLJU7toKi/oKEtp96GZwyhGLkfOgKMScQBJumi/o2+UC2QtPAMmmgDXwDqBMioDQGOBi7m
3lwWV8br73dimjEXuaLf63zAuie3g8EmM0QVsiYcY0gmi/4ibwHaviA/c7+SKCE7Z8Pkb9ysTLhF
XvHpnHoqVqyCkC6eajh5spt+4GBbcGqZkvlbMs3vQzppgnDjJb/0uoIjoLiAK5njMCyYIsHESYRO
rMBEx8OE12TvirLE5+SXp0CQKhFOVb4d/j3leaZN9asi3MONmo80Eo/+RofwR3Llj/aXa12/jyAs
TI/8ZrG1JkXzghvBxCcMNezgJ/iLTKsG4UvqxcYmNFfasEEuztlkNT0kN8XmfXrKBp+rotIvTneI
qYWfM6cudRN6y5XXAa9+BTsJ/DVj9t5CTAbC9wgteY+gHVPTBZN+2L106wXnde0qn+J5l9SQBRbQ
u2NsAsisTJGukjQl5pIIlBxJxdKf+JDtU0IG0zPRP5FpkQIV2Zpcd8ZagexxMzvzT5h9OdWDwKHC
CkxSA3XOEOpIyUd6bUn9NjCJz6GAouZBDUeuTaZj4MDiDpeJVLCGB7hlMyC2SF/9Y1R9O9N+G8YX
5zdwVMIppDX2FI4vKrxHh7J3iaqVDFW1N7bmDta67EDDDwSGpFnKHbofT2w3Z44wP9RXShQyNXJY
klQeaNQjd9KE/i5PbNXiDySJMwCbUy3njmovGu55beORvzTuPZl/LJ5DugeUQ+l0ISPjoHmIrie6
IvVh1ieGqKSYfK/IxSqN8jrvVtRIYHFT49dAOLr4OU/YWnvUIcyGxDkZPmZ1J8KGtccWX02cN4+G
I5kLNC794cm3WF0gIMXwwWL2M++OgFlY1j7VgS+qQC/ojXVWS8wRTaFeoSi7yS8d5MG36MyE3ZqU
lFMAzV8RPx19yRtAs3ytKEGoLKcXkvpO0Gc5VI6c+oyDF/hhDRER8o4HLM/uy3FyyaSv6EohK41C
ekTqyANceVDHTEL7RII44C5iiM/ij5jXOmI2ANUMJARoQQtKVuYvsnuQtckPT30rb6STscI0SzJM
WvkqJDnMXH/4B9bWoJkiJW24N9FFsVh/ku/8yX7IMMReQsdkV0ejwXD0m0kuGEBAcwNgI0erDo8x
MjZKil4MCzPoOPGh02DPJqXVP8UjHcWEMJjUuMnFFh/SWUh1FRo5xVOfWsx7l52vtul/Hrp0z81K
9exB2j2sSfYMazRxsMGKQQuUlT6jC0zrXlqnBr2JHqS2C/ON8gC4aiO4nJ1Zsjo7UkCFfqIPd/om
F0myrZJTEtM9kCw0aoYRksKmROpBIRN4WCMjiVHGqHm3H6Wq97VE/+5j+Bwy6lWDlmGlh8shol1X
Guq6TiTHVWKY9kPVwZllvuPcOYWPJ4EU2ZCSa50Bo7MYuQM9LM7QEj1mcss6YPjd9GCRZDPW7I8W
wCYtZuwhFxx0Yu4oJKgRIERRq4hVocP2mw90+zobzrrDgIAkc9SdlPLRbUI32pjJzJQOfoeUQnDK
z1D9Plqww40VfOACxZAOHJ8XAXMWm4p1VAR67cmS9hr/GSnMeNHIGKPTGsR2wiDRjUi8yrGnfG4T
5wl6+dEZGNMgg3szl4N8vP7SRlhjAcwseujKi4G3oN4YcBYYEudn5uzAMwiG5TxBxoq4AtFMimMC
KVuDdQoVoal6zLs2Eaa5OUMkRyO7sOZmLICvIirAgoN6cuf/IFhyuKv3ETMEJ+C6XUSBXe7K9iIg
lmatI1iZfEZxMJfEmdcDDpLdCma9diekptGKHJPOYcdthZcqHs3j7mlUdESx9Xm0IFqbN35F9USo
poCLPGXyTR1bNR98CenzgPMjJUOyToV7FlNvOxBWXCSL5dD5sJYOBja8Vn0riC6DFherSVprdsQR
BWSnKNhQ8UXStseMfNYeMG+mAMsbM/ekUJk+1E2azx0e0Ybhxybuet1EG7lH74IkcxGnpGpjqN8V
u6UfgKGLlKrFjuXIpWL6ZNBgK5C10KYh3iaWcun0mZIJJqLnhDMW05Bi8gBwOxtAdWeYvKo+bBoH
8bhU56dsftnX6NcpNJeU8FT45rhjYg/gCpcA2EeU0LYbinSajQk9HzW/CRZzp20KAEH8AjyjSsXe
y8B0hK0W8/lwi0mBZvdbZQSHKnXGuVsx3l4gNUV4zVOSqgS3y7qRW69WIbhPNGqN1EYzasMQRz23
6DHL3uRtYsEI5NaWx11YfqrQzDuuSfsAVJTnDuHJjPNnLK2iKGQWRvTT1wjfzYezzw/chkW5KsP9
THsJLQq0oquCLDtFfbx7BC+auaN6Yq+wg21g3Ii4aKTYVhinRbQeJNufEPROj4nAaBrvM7Q5hHQP
P0sjcie7e3mo9UfTOA0ThK1lTUUZ+aIrSAVmi0KSyTHG/JKepuQ9aHywBwdczKAh5rNiGwq45EmF
NOzsR3MXkryN7ArMXkVoFT7jYx1UXLzmQ9JNeuLqaawVJoaD6YnATqGdTRD2Nmr53FtLrCbrbom/
7aN9segOkCQlHtzq1hjGZ2OcqOd9UgK4uBn6ImfbQ0iREDCt5g6rsDYrn2BXvZumcewGSL5VBtgW
IpKj3gxHQrgR4nNvN+kIU8F47Zn9oDMVRotwshtkHD90S8NbNmanHWiEG4bObnqVw2BrVChC4qry
mifeEgRKemXNMC6avKE+t2fuy+pqbfULtCC2d/pwwDKVup0Hj/2wviNmAemLsICB+7UFImTUt/4p
HcfsOX43Eb9o5RxvBik+1dWwHCXJ8KuxDJdmjxNHxilHY4lfAXBOQEcMdibT8EjczbyNV4NsvfcB
0711EzH70PXX+KGG61Gp34sMliVS385AYDSPw1W3DompAmC0aHzxd9rh1gAQxeAKFC36BhIucxD+
5pB33CQVgz+II73k241P2c6yAtUFPVJyVhAFEukyXO4lWQuBeLgR6AELtC+DzvTSVBmO6OYIu8cj
3tINFqqtvYtk2OCPYV1LICqNjPyukKeNkY/LR43O5cEOQfRUNrqBc72i26u+GH4txXxhQGc4ObBR
sFBHLNacK6UuWR42g8KZ/NEBTNu15WOgBeIIkn5hnNlWsTGjQNDX7DKl44rpB+4/UC9deqvlbg1v
gpUJwGmiNpxx2KQyG4+TImNeSa7UKVCxHrbGlJ1Ham5KXfIleipUNefMfI+Q2cIoxA231nw6GtGr
LWwbGdVjYCIewWRkPjM2EYU6MKq+pkPtsH9gPJe8jqZhrIOaWyjCUkaXphaeBoi+YveLY63KxU4K
GatUpEdwA7QQIlmG80pXnzzGJXJi1k7w4DckdYqOXaPX3yFxqRfzBucHYJXotu/Znc/JXr2AMIFR
9meSUHCVs4wG6f9wegp07g3x66sCNAMCz05FsOSqk+SS/PKT6jj8eTD34ow/E6U+SJN+KZ/MN/Jw
6ZVfjHc4GqDyCGMWyl1sePhpkgj+5ba2veKZN3Lb4K1URTLNgf88mE3Am3HYpPHR8B7tSXvJ3UU/
BENqPjHyaYNwnNxmgErgPYxaAgrqz93TfE7WzhaIwFzSbwKNIPviMJLrdMmMJdiD6G7Q82OfRpXl
O+kWRB9YoDyFn2TlgOcMJcVdDFCZTJWtjkQcqDYW6avP+Wbf5O3wneGXHChdFs4tzwFforZIn8KN
0y6l33kFLpjdybg/CLNAUICiXCc+mmMWoNxr8AZqihL4Zn0578ggpOvo7FBGyQgwqCMp3JHSYqmZ
L8rb9AMEKf3Kb9F9PAZP9oEdSMzaoerU1sYRAyXmMSFyk2wBO/b6jDsgk5nPnHMS1y2fCvQLfR/q
PvovQpPI8wk/XDiYjuq4gxwWmkdx4h18NXzSD36KQXTGUhg1Gcxg3gn6/99tzrtyzsBqWGP9nZSE
q6pe/qqYNGCxcEJYOkQC1iaPpS/6JLSqelJwh/R1QXZBy8lWRKXBW9Cu4sxRAXDTs1gjNi84wkgI
WBUv04U6AFtl2ta59urowyGjBDXq6hNC+an+xszISAFe132wGyAKSQtjX3+gdMsfzLtY0NnEHkKi
Xgbz4JRKeIOK7TuBckGc/26eeYa2axgp1C8VrEmQEiIsoCyX6MNBMqWzIv6Zktu9BC1ZOkivO35k
L/m7dMzROpD0QsHBrA6QugJWFc+OkPanvv6oEXNnpL3cYGY0vuPau+qhyrwoSnGBXfvDY8uzR8An
WKIS7TAk0rCoXvowsTbVFL4U6EEZRM92gM/XIiskOmPwi1SzeyqY2hnmHC/v6NqYGPXhJggSvMwE
0wxOEINmh8h8bautZmjvgwqgPMB+hVtEc9CuoNFOFVBeaW+GBqzBoyzkVAPC47/1gbsQAhUnXMen
VBV3g/QFEOfgwl89i7COxzZe3WDekyub31J5RoBE81GZ3EZYInfyeZZ99pZmaeHqtytoc8uytB56
lRuyhRKZym677zb9dbw+aHZTmD1h58I8OYedZQ/1lvBi3SmqadtQHdPcEv2Tn7CFCOvTvqEXyB+N
u9ytyGdFM8xZ8YzHyZn9+vgvjeM2o+rUbzK70Sthg7V0ly/cf2bnKnfzEv60NFmIZmqzFrhEvMAF
DDiTuUvxJ+HEBpgUwZFW4YM7gF/AcBabGW9ILAnenOfizFbO3cIfB5tBZy73GUAD54yih3p0gT7i
gNnisUuam4mexjWjn7EvAkTvsk+qYNyra/hZ75P94wQoc3JeH098ZOGnL/oN3JSsYfD2qNppHtG1
ZOD5Xb8R0pLZpyG0rF2gdResU7xsCaDnEjGYOU+IsrYIQl15GYjemn7RLxlWiMt6b9CXYJTFX+cK
ydEiOmJ5v0lPhMZXbWsQcQuWm8s1/2vWth2bTxo3p0khyLbrerLtndUPz6YjVfTtm2eie2z4dBP6
ZIOPEJEFbh3VeaphhoIYddFdghf6VVkhfG6I17QzghpvKmy6aEiApNFXTo5Wtp2jZ4eygpDA2IDC
7/HtoLtlLXIN/G8xeb3fLVGmHumrb+dt8DbdIHQDctwIQFyBf2WMekH+4r0HO07jdJG+1DeHkXaN
T/ih10VIYqMZSIFZMiC7tsc1JsR1IaCYV9nARbzNdAnIlim0yJY5D3geigWGuSjxjmxa4NqzS7cw
R0Hw16BmtQA1VfnbiBaSfZKLzysYukF1S4P2D/SiyU1bgheKaTR4KLHQa7c/Ap5xG9IkLI48Vbqr
9poeaOd8YwSBUcvQbeXU/KQ5kMJPT5bSsNbz5xBnGWBXAYr6yi8gnQxbj1hHhY5D2bAcGkrbpyB9
QSky7EAau++MemjNx8NfO1qPhfYOjU8jhUHeNS7mX4IGzrclpJLQfbw9MB7CIeBD/a4ACUHG3q1k
YXzax8d39vwzrBm6/mHW3Cn4zSz0vUMS84vHNOLj5J0scvD1/hAyVKd5T6dfx8QXcY/PbwRlhLmW
sStMR9qzQ2I07jHTqEtixY+5ywivMY4EoLTIk9ZWBi8Rr2aQohdUSg0Por2j4jyvMrSycENaiBCb
FgWlk00TM82xDbN2LCELiAt4Xn62XskbunGntlu1W9GKaZTD+Dik4YEWTfvVoOlVjnz/0kPj71nb
4GZenK3mW0DsybIKnubpVVaOKReURnnCpGCgaIQteFyFTHpFyorglHZIJbtNB1i/wPmuz3yGeiGe
ke5EJOYSYNsjn3QJjypaOkDvI3h8/051iG1HrBJxFhzMv37PmK8BJCgHhY2w7CFe4Gng+FwPwH31
WzEJL97gLFXjxSzXzvDMJWRQT3oDAEJn2ZyCC6vIvFTXhB66YSxp9wGy94tPkq78pPL9SItY/wRV
FipFCmGUB9yWkD4RRNGLjOCZiGRmjhDCcX+IdQ+u00xLdnNxt0MmUEC3NxhykEoQDXkyt5eqCySB
3YTNHrSRGwYEkr/SieO2I2MjNLBnwDsJxiVV4qvxDAxEEtAGPogjXWbacpBpMI++z2QXGH7SebhQ
NfzDKyGmhCibBsAP0Q3WDzqGAGzPNAWQbrOUS5dtvqb9gWcZDnpuZPfFk8ZVoQSgp6SpWwMjRwYN
Ke50ywPdDYvpbYq52Hihf89xTFGOLQ+ph7q2fpwfnIFgikmntF2MrEz4od8Y/ILC8wsZpvIayBUo
DGMg0jaMdpSlrvjg/2G/nBMPxxKorHHMaATP6ddNQBnJFoot1GL4pluCgJuUyimvqfHSVZDj5UsN
pkqbIQT5F6uChIUOxezhtxN9tb/g9bRKWA2TtX2oPmg+BinFV3oDpx9YJpwBvjgqNFIcWjBwlZgS
wKfw85c1Qt40veHhcohvrFVcLNq9c56vzh0qQ7Yfz2D0/ewjqWU4GkZtZ9rP6ASsO+GZ1L+9MlII
no2yUi/a5FPqgTmzPObcp5hvPHI2kgGSPipccmSWTNCuKP/keh08sC3wm2FnvwUoI0Wb2XzjspPU
gUJXgR+yIsQ4BJfNgjq44E60oF39hMpTNTxhvN+Cu+KWDMWKdjNj0meVzh+UWDZb5IialwCGEnqQ
gcZkkKrNVcsiBFQ+efp4p2Sh/iYHbpZQSkgliMGgPWxDcDWCG7AQRRC3ByUey599CZp6062gmvx9
77DxyA7o0PeMGmDuickHoKfB4QBjrWXbY9nFZJdnB9uY1DVSv0N1C0MaXqbhcU1i2krPTQz1e1S/
TPzEEyd6qzG+RvItwxtyAZVbWjytx6hdqQXs2SGXDGnDMNwScdHsKcAcuB+UdDXQU3hjv0lS3/j7
E7OvaTQqZL3QbRhPrtDsEX0viX7GL9G4wAXwxdoYmwknJpwhmLpKbQFAStcJNwjk+Z2HiqMlp1V3
WbqaVTSUXo4cV8ej8KmTvczxRUOQjQf0uJHp/7sGY3j2sx/t2G5KpEv0l7FFxdk9dHEE1kZabp69
nOd3tm7alkpQeKF21HFyqxbJmjSLmFjIPq680gifzu/NTz3AKWFB4wgW/9ywalfcnaSCMnit7rJR
ww1jnqWeu48TjRoLvQ1GakwQQBXRrOkrAcCR9CmCBUCjiYY0Vmz5iU2YioTWCh2Z+IemEpt0+OO8
RkdeSKnEym/PVDekHKxqduwLVR31saAnqIKbQzoXtz5ZZCZvSOoQtZASsLX0d0gEBMEs2RDpwAbp
0nAzkGlQg1PVYYDfXWSaLxY9Dpcc5YFjCIZauIrkaMXcCLSndodPsvktHGyjpibJdLoXuUHdLEnp
ttRVH5SEN+Keog0j/TrVijHGyXeVeZ3BuL0kou9SXDlWvkF8Ul7FAd5wMrLXIqcACNFdElrON6e+
weAMiSsbZOxyFjm1I2AhfDhabLTHHoCmPilXchQV//nxRBWeLzmvyDHJYbhFSFcaTiXFd+O12RoT
SYKDhuZtFukZ/DKe3Nugsa7huJAfuCBxsUzJONHPKXTOYR4s0ATw5GTyIDVwCNhPsT6wbi8RVh3b
a/yTHctTc0rxErqzHXHRSGbjxeOTNTG9xTcB8FYu3yICF2SGXYUPFrYXax43f+9l96up8Wz9qUE/
7sCpoHCbMWlTURfh6IqdZJ4scxlEzeUOZqvFXZgb9DEsOd36d/3bpj5cDlv1ySUSrEEad1CBs5b6
t1luBnMFQ5TYWtlo2iC5iYY0wZm2aRFtH8ZLrooWap3uDP1N6V4QojKU8DnOX4nV4knqjq54lhL0
l0V6xiOWuzFU/QKGesuoNawYfE0hj0b8gXMErnaXxCne6/JJsnyr9SDBsvYZciN8l7EIwNGNLAFO
nJczCIckuWF68kI7dDvrh04dTtvSwfkx9yj5C1c7PCq/eB8+pJ/oPfslGhAEhg8T4HNw2en4V/kd
vjU7e6990pXm/ZL3biednB9oxGRkauCaR4O3pev++IjeLawdYFLhBYds7Zn/8w7wrEoKR4qQxyL5
6mRxsuhGy7usWrJZsTOROo0mSskN0TEa2Rv8EqOkEbKTSKzK9oPBH/W86sxVmoiLAqonLhaXKXuZ
4zULxzgPT2TMiF1DF2oBVABiEumY/VF/QWggCDe2aF2PhF8mdjBRWsG8dxHeUGJCvfgVtr8IBzqk
/S4MDw2Fzds/IgIXlzfASx8LTwVIAPzgC/9aXifbC0I56Rj8BTZWGz/QHZstoQ/TKeKh3S5IybXU
HyqPjfqd94OlUP+a2jtnxzqEL/IH70uKzLmhsS+F6+QrfcMokCBNJB6+OXnWAXbAByos6dA+d7tC
nNNoFPyO4bt4LxWXaM+chY/Hd0q3A2nmCRoCtl+kh1x1OCb05rWFadF5EvyC/CN940W8MRdYh0v0
HfM0FhJmHQkuqh6JSIY5ugMaVY4iHzG1tZIcnIRuxVI36AbhYQTZIPeK94pOwxeCVNq0WB3R6gNw
GN3JoVrzmplhc+vOWUV4YMwA1D5sWvpzARPytE9SbyAiXYRjeFp0y6FblvgXonG92VhQ4JLtYVMt
pATm9KHjlgxrKdsDHK+MbfckUEcC1J2jCKYlkVhGE0T3nbL7jqkn8Y622EjbK1yRuFYidIFoQugd
dUykVv+694RxZv1kxT6q8eUTLXSomALwFIheAWmCXBVUi9+Tt5Dh0iUh1S3O6s15rc7Ap6fsWj79
4ZGkseWJSSCY6EpLigtwv/gw38mAIRrQiUYR9oWN4/QFOxfdTbrwg0v6I6CJA0bDgHKFl2vsh8hm
KBCaYBXhWaE0qAchdK5UGMj4VED/A9XHyJERKdSGIOgR1iu+dR5hm7YwBUDQkyWjaqTUJx8cqVZ4
3Hn6rnplpEEgODwRhY9KAPQoXMj3rF+DjZlxR6TUSB+BCvDIpWWBOevv/Kxhzk9twvPwDOFWzAuk
jEsVYVrqKbggph73LVGSeVjcXxCFLXWZZAdWPtSQZFxbqa+lK/nhG0TGX8zg6d/C6WGJFF81Nxip
A3l1JTIkCk2bqZ7wlmCUcOy/KUHG9mfUfhQ5o4szCpGa78O3guREhWWkq/G3htnCvcf8NEaVROIu
50hhNUXZSnzZx5Kb06Y4I6pDTuarvgffwrKpFQUa1XNEU50xxdRmJkPl3e6AFR+ZhAl07aDGFDsl
WQPLqoEqztoEmglfM0fw0vmluHD7Sl3Bs56o7YGLMfU8gBKJFqJ2p6vyQ+ahX4CCMMoAVqVNDUcE
EMW8AQOQcFJgkVJQ+g+8Ero7f2EhWh71GW9OyxAhqmA1C1e0YJFQ+YqmpHMPLiQx3CViQxRYA5vl
Jv6hDs5X8Oi5H/6B6QKrhoh3Iw8xXkGOePvQg7rx8ID2zIeXPimvcPsBrxCSgkozHHaIn5w/hmfp
UHW79DTIz98iegK8Gb7TQosAPZvU4K/RUIgmAikPnxC8tRMzfH0+ESgeKh8Hy2sSgfziegG6lm4p
vukIBAD8uE/PPmA9IaCRnrF8IykHSCZB4/VU6iQw4Edx9YLzhDD9BBehcfHa3gFd6G5zNkBO8gO4
Dkgk9JyjtgW4OTKsBaEAJ5y35iRWBa1Yt7AYq+caDcxarJ0xEvQy4AVlw4VszSVD5OEiBdVLHO5B
HdPYxyOIxrnpoAFZlXDxwNJyTMrEJefTzMhz7hNUUgqkBpYPLVaeIVIiruShk/fwdyF5sigeOFjS
lFCRR8HR8WnVwHOnfywQSf1WXUeGS5wY7nijod1fZbx5uFikYVTgGIFfWDvhD8uLywmUxfvxpWmy
8m2hDrEuShlfTlGys6y4GjbGc9RfMT49xGMgYQyXgTpFUOQB6AjF3Il1kaIx+FtzAB8kd9ad0t8O
V6xzyMZ0n6GCVEewV+nO17NvAF5EN/smX0rjOAKh3OiRoNogYoL3VyCeTCfky19Y1iBloqy70cuF
yiPWueLRrabUp8Ey/Q9V57XbOhZl2x9qAszhVRJF5RwsvxAOOsw58+vvoLsebgNVgu1jyRK5w9pz
zUDKg81Br/5HPhwIgTz1IMBGaboAL3KsBHzkY3MIDdb8WhXPn6hYfAbmv5iuKXVyhM/SVPWyLj+F
u7X3H/I0rgwWKjgSuL7RjLuxlpAP2igTEQisoqaAVxJcaFxgpoKjp9+nAvw3jmOdQdK8/Cqy9hXt
4AbipY3shqX/iw/GmOPdsEUAYWQ7NJR8hvN4oAc9+dAWUwEPTDEV+A9mBLSdDd/yxngqcJFCMWFD
4ecFd+wfDF1eKRX/sGAYyNBI6MuBV/GiJAbBaSsp0unE/U76EV6zIJLd1n9oPHG6Lj7QyXCa4Opy
GXk/3ADgEn4o/jCP+ZeSV5taIuAj3A1+BmrCdZ+g+LN25hKpV44dvDueI+FcyKJ0HH5g0P6BKM1H
+U+GXpw4/GmeCT4Tf01/iWWLVepvZYA8pX1ORtCf4LbX+AtG9I5mHv/IBeNj8DUnHV67NhZkFEz6
imQXPtgHaTOheniIP90H6DdXoqfXX05ntPbh4X/nAUAFJ8YXfcg/aPZEa0z7hKrFyZ7mD08CGgCk
pTXE2+Ettmz19F5mfIKP+Mu9BqcIlBp4iQvEUEPagE/tdEWtWUh7w8fFaGqp5w/WTOvMM47s5wyq
x/iPF+yoCIYlX/AM3jV1Amk+ZzZtPEAf5rVbij+8IfnY/ABO8If5TQQSwY1XVH+yaaRynVBkTe9t
YtwjjZtBcqOJOd06tgXuTYXr7dQ4HMOSmGV2wRI2vwBlfpqlTDV29Omk/KYYph6kFPWxxrgHMCYf
HSsSB+RLIOxZIacWHJgYC8KXjJ0TmiDvN/w7r7EFTGsTdxb0mRUCevsuI21nwV5G7kWe2ZzV4HGj
OO92xQ34pn+wpLnEQ86zX6oBoKXgw/ji0CSwLOGzoEI9sDmw8byMsC6XNUD9mfrFzGuaDsie6bBq
Nnsih7wehrx/qB/sgBzQOBz6F/eHAzWDnRnPdXeqXXzAwKLpSUPUJhJiPmgk8MYcQYVnjvGM3kOP
EuMhORUWmhatrLH+7s+1wQQyeQbuQxF2wt5Cg6MwU0eWPKUJY4oRijQvT/d6TB66jD1pr1TtISCC
gtvdcvZp6BGPruw6WAPBLvpOvSqcl56+TuJB3eh6a+FWYRbHCEMAPLgb9TaKhLXVvNam8S2fC1q8
fanSd21lTrp2mpOaSo697NKewk2L1goEvWWEFS1BdKjoXGTbQIu1tiklIhfThpRU8sqmBGPPPTel
ZW7bDK6oaUXVVyxUjmX6wiPROievOeQFfddeK0whj5DD1rlsks0VS8wSJdhL4MCZG4DfZS2Goa5Y
vfNx/JBCtXh5UoWGTPC42jKGBZJCzMHfA/JzcSUbaGh0ujhWmJCEnMjyHT0qx2G1FtZ5ECr3LM/+
+xZ1abstKx/0NRsgZnuhuBd0tX2CJAaDjrtW33t7XNiQLkYMPE8Ux3VaYeJr+pbFyd8QEGDz7YCZ
5Rmn13wOcw4b7eln+fRgVRSiuRkqy7+f/T3UYhEtzKKK/r+fjYk1LMYIWtrf0/5+r0wKQHV4t1IZ
i5B/fO1aReGETLXfEtrrcq5qw7ovi4EUgVq7KnpggFj4X6XUglHHRXdMXLE7/n1l9emLWyWi8Pg/
P29yfWO1SU00poEiPQ0fTQOXFiss9jxfDx5lA4abEke7kqZ/rYIOUq0mllhBGRO42SDtNBT/kKku
MRdC6fx915O/2JuucJcD+OkjpgcYTxsQY+PiM1cD99UFDXpATTE38OpIa+3qJRZC7qsXpGrpldD4
/n4N17QuKAFBEt9YWV6h2+BFQBKu5861uoh2RGXc04JOwaAV+dqS0PJ5mdyzDmTqtVGB4Icw1T6N
LjpgEhA80gIauSGj3Z5uiuZawunvIagTFZ0kzMqGeL+2M6qrlvrelXr/7xtdTOtrnlvsRBY1rFKj
kq4yQ93i+x9vO49chSbK8d8QiDMiJ+SsSYG6KgypuHuF+sBnYzhU03cBZtPoLE1p9/ePYyiySpZ4
Mo16r67qxAvWBrkDxJiK5jYu+9ZJRTM6FlgA2Ear6pcyBhIOKsl9BA2GbE2Ad2oUyCfD0vtLGjNm
ahNdTebmOgovshQgpP5yKsiKnrOabmzzOu1+FEjlRtgWn5I31OQ1KsUT6BjEHBcb+p0QcsYit851
aKJ3Naz22BSRsWQByvaaotcrULhkq+gF0mfJKNau0Ee7MYLpKxTgHm7XGefaioxzh5+kquX5qk2Z
8kVptI8swFImaIyX1ZbG0jDlwfn7NiWQCg/qeJM0ZLVZo1xdmmgAl4jlcPP3bWT5ltMM7W/ml08v
xsdeVBRUGZkAczLupVvsY1IueB26T7enNcR4kVKRFSQ5ymj6byLRqbzh6p9nKO529NTBQd5/cXW+
C8oGF9c6h40bVeXBmB4SnQy30QQESw2ZLWb6md4BVs7+/iWJla3ql+EX+SdOq+UDJiVVCa1U6Xdt
q4S7uLfrGkPWRBohHrTpWY5N8qfypADZnb4MOv9Y5qCG2LkRLFzkZ99v35nmR5+GBS9EixUBn3N8
YDAMyAjOkO80pYkqKgrSc+FP7LFf0NZZGZ7iBocomNk5btf5cMD5ysMszYVtElgpPmrEdBQZWZ1e
E5RXP/A06N/5wMoWuA1WXaKPSWiLYqOz8m94zl9yINUnWeGANMQDFWVRwpwkpvdkWuekzPDPmh56
JdTWrsnBvApb8E+sBP4e5B5/AHF6MCsGH3MW2rS+HCBXHPAGTB0cfNq9KygizWfD3IVecDUiz10P
sSnuKj7Q1pyQpNQS95hCuZskxswng2pM6lgKtRVyNxWWN95d1N+4pOly79ttGwTHnkBwsVDEt6vX
Pzpxs5REYGc0u5wAU6SFGNY4l1gebeA2lRidGrW9p0Ky6+vRETLowl3Yy0S15x+RquRA7ZX5MHty
0jNrkE8JYzvWiY5NGqzDFDxbl1Eli4hVLH+FIEvedqooQpAvQfaHpNq6yAdVv1BXelONjuSxDqYG
QbncyOwbZ03CHoj94MNf08DHecx3V4o7+se/h1AKXsx42LCNLpyTimKxdRP9t3vmQ9//thXnSfIF
h/OQGe/ab7A1F2VjrVpavVdVAyJE2etX0RDAovtIclhpi20+PfD0bd3LT7PIvXtumRYmlMQ1V34n
3ISsPRi0DhEtsShbfrDMFTF+lFaubvxS2pZD+lO1QngI02GickhDT7FA2eKNtLXFvDuzQMqrqKgV
G9f47pXExblXJM7kNeIdCL2ArchCR03v9sQxiks587vN2MreobbCq5hK3q2qYmfQFTR9BlgN1YL2
GIJsDe0ThoNP21Aea1B9IYRsrOP4lCZd5liaKGywTSt3rAXZMtdq4UIVBOgThMQ1t9ErHPKGrFds
kOOQ8CY1DbpT6XL8q4VSuJFwoa0GPyEHWFSFW45FeFx5V6nnOnudzLxkpJITN2kX9qOpodCwoAMk
o6htDQEiUJowqeo8TQ46agCIbFK3qK5lpvYHP6yJ6ZwexE4ZDrolXlM57ddW/plAtU2IYYiTXPnQ
CFpfVZ1uQbFgevmFRNuEoXvhesJMbpvW0fBZVLyGsttwTQw+xOSs9e1vlyGBC2iPrMwxgUTlGUQE
RuP17yHD4N4UxfA8dMln5CMdrASJYTZ4wRFLeej2Srv5+9HfQz9K2O4kxEtVQ6fv/h7ikbUvkDAI
/vvW90prmZQg5F4UkXjm5vdYqtKTJ/r/PSh+A8RLKN2qTEt3q4naaF9dJvlxLFFnwMoF8Sfw1tG9
OqXXFtNU4iSkKJW4bxq93iuNGS8Ckd6eGsqyo+LLhiZQ97EVdv/7CvY5Fa8XrMzOxFeqmPj+lmIt
hbqBFKY32DIocTSZjunjxagsuKaGdpTHRLwkRd6sm74DFpz+EStCdaH3rTCvMD7ZyvJocnKdvhyn
1ShrQnhwuSotPFXUD52hRuuqL5SVXupnKYbZU6WGCdFv8FvMCMmLlFqvPcUjQrXB88SNpuS08F2o
VGm4o3pk6kautBVRLD+lFoypkd270UYojjuIEaNXklkoAWu3RtatAzePtsOg98DmRgLBjiYjm0eP
Q6eGSg0JxOgpHyzkaZI1zz6Uhe3YxOQ5q8XBG9JV2LnKPmvpG0cFUgBFHtR9NWb/PUSVmFBYETQZ
+GO6F2rAjUppzXXqchwQOEgEmlysSgXu0zC62pZiCEOEhgJ/bKu7ZZnhW4Ao2iCBBtMxZ7HKqTar
gmzXR4Fx7tUiXAZKUEMB149K4+fXKKrIzsy96NQVBE3JuYovpTp0kkOgBYJJUDGdmhUZVJkt2Y7U
/ch6NMDhyMq9OCx6VVH3LmN7rUYcRUYvt+C66IKDn5958CJ5RZn03XkJOBIh3d3sf4rRLaKuN/BW
6K0LRrXzfEROB3DmiwE54/Vx0P0f2SByyI3R4LARr8Mu2dUlMTCWDE86b1a4LaY0PPSLAjLlYtlb
rTPis3HpmTeN7AhipLHpOrIgX3MlRXF744bgOtCB/sgKfUUshBFulmP5r8WdBs7GCORL7ZTG+lfo
td95o9KLk/rvMad5Z4KLUo9KuIUe0O6gBU51ZMANPsLM7mwk47jvtlKjzwCypVcMpF2dsMmuCyfx
3knHOnoMzHte/fjVT4iHQ/9EbdJE91A6k88aS/cguXjtWQ4eCttrrBzL8mImO8u4UQHkEHo4UyBp
mqBRBdqCQ/37J1YE+ftCMQhsKLck/FIiTOYmSbwEuvQah5oWnI5GJQhNspsqXKrViZZc7fj5RCFT
JhiOV6tpDKwtc8HLix/CP8sBUcs+gmB6aUybq52o4B7HOXzuTxFEANNrPGgAYYDMhl9uon5Um8nO
xbo3ZCpjQYMFH+5l6NyEDU4kGvA+nZ0Vz+YfBRaLfVR98GRWhqRZm7/8DidGTtj9BYMFXBOSfjb8
mj/9hQr2BKKcb5UQYcmc1KPGPPJ2UgC9amfJR/R5KIVg+gvlAcIs5OXuxN/G1AyIRMdkvMrPGdZ2
X6Dl2mB7ApaqbxBG3jAGbcEOdhHe97JuBwhq8IKI58Mv7gvo3BhRtNb2wry/tBv+pPCGNpvMeOV8
28Gg1OfWpSFrg7DtmarNK9pbSNVEWP7L7gNYiE4OHnXdib8EW8SESc1X/AlcyFANr7K3fuovnYcB
NH3K+UgPNJgIpSPXP76YP8nJcLR9v7Iunjcvn/Krv2RvHASglUIAmaxsFlzPnvxoJ8PIgVKRN4r3
GZIE/LuwKUxXwVyAvQI6Axfykjlg+nivzaD7ehve1q0/D7/KuKbCVvYt4JIZLgx0LymIOQytAUOt
mZ9DscF+YdFf8i96X6NOcPNiiJfZB9GK7qjMU2ur+xdcpPnwBTefz9OuGAUGeoqJAuZ08qGVjzJK
csYa/AYQMusquc8SNQZmWeAjtYNSk9eEvUu1LTDmwxWZMCzkOH5Iy9g4e+oJ6jk8KAiC4QIqN7vB
PCj2abiO/zUYeML4ucnpjXsTGguYYIz6JrCHZEmTwI0w9iOGc50XP/p4ajfAkCQvESrseRsjtnGW
kgqOQEuLzGmILPwBEspZFh7tSCVyFwWUrnMfoTWgZrluyYzMlkSlNvHD1U5wr2HwXSjvCJ7CgxLm
cd5fFNIeClZEAgllE7Qw2qPXsupDjOdhuo7qo5sumQdMOIJN5euMCIdIn+uPgezHWfY2VKeXv3r1
OK1kvcNQ0yQbk8iOZXjXw1or5kxbFALlAS4DU6D/ZuwTq4kdPl6OZGTAD8d8jkhvxnDS2lZy6lJu
P6JjYMIhv2vxXoDsItp+uRXxC0C88yh/8VhkgJD03YA9V8Q/gBRuCO/wsjumE3nuSPnTUj58dR0W
Nr/AwOL3Nfp5mUEizBwXVu4F072onTQ9DGjpQxQ+Vv7M6mMTwNBB6YDyMuNLnXdFv7g5GOSmFXYH
n4z2XrhVNCREM7lfqUQd0keYyf/agFS0WQ9BCqqWsc+FuUfXXrLHfBOIHxLP/5boyHVLPXrggz7T
9RMeW1FzjOnWMU3dm6YfBfkbxjyev9R2Ai6AGMCAmSMZ9p8qBA7RHuAXhEcMwoOeHtWadyO2mCeP
u9SErp/t/Wt0JwpYAdXysIreVjJRyxUZE3Ol2QbBxmDQpcam1ffSdwMaTb6A7P+K2Vcen6GK8qqF
DOT0pBfEfZ01w60S7VaxZdPGQL8kJEv/XIrWrot/BmVLTrPuA78xWzWM5c/1k2QNMVzE6jFr1nKB
nYjBoBSv+m4k/L198yfQpWUZHn33Wvvkpuc9JI8zRpMRty++5KR7pF9ecnHFpRCdqRyzfBlra2Or
7KD9xf6hDbE83JfNv1ZS+CivLPo22neTfVnllXuiKttOIoZ0jaliEWMLwy1SaADAlaENRBeaTLtq
J0C1MqiB0KJZM/chPJs7l5IkYRLPcazBH2OONphUYDnD/8l4xdE5jj90DBPUGR5lZX2OzA8tf3Hu
K/KTS5uynXnb7LMYNm15hXGJeoIEa6Kgo/iQBG8U2+qK2dtmq5oqZ7j4w3dp3BoN94DbSMaofgJM
Ml06KLj2E+e41gusIR9j8cTfvgvpT+x7AoPYLRu8ISchuSTscmtbR3sGfQFTYYBIZptH17+AEtNN
Cr8MJIKf7CU6uWV7VcBW+Gmoa2NcyOAl+VqTLsrwTnWnhxIZkf3y1Wdr3J8x55xcNk3vHQS/wvCj
NpgxO1gkW5QZxDD7y5wNDtMGUpMmc2aYQouaBhKG9afRXxrWdppO7sQKkZbMTimaSwL2WzaxaSMt
Sm6DtMoAuPff2nNslxR8MKNP4dMLEbrM3RsvHN07GKwx9pjKlSCuVDz34qvNf1DD68ZakF6ute/b
e15f4mhlTu6ycCZmDTGLxr+KuYy152d47FfxN7E9rBMFhj3wycJZ+mQGCcZN1LjbPvPzq8GFwl0g
A0np3Xdrg76OduD28WkT8nguPqWleirlVdHamf8bd1hhxWdtQqzmZU/11/1osIEulrmkMtThkJjG
ju2lUpYd6Dx/v8h2+KOQtcvMNVtUO/JVESZq9pJ8P+EpyXYJlEzVo2NCRR+IpNl8GyKOucg0jSYH
NEg4cyTeS4sgzfbE4LzJ/qahaGSMe3AYsDJoELbMowOLI1fdTeeRt5GvEgf+GdYMYo5Ikno0FGy9
2hBcGMScI/S1qEOb2QGyekjd+s3Qb7p2jcdwQWXZEypr99+E+Pn6vlZXw50kBCQ+2rALSVuDS1Pb
A+w4ChiM7uB/kwppYu9Ar7kaCVYI25McnK3+nyLZFaweJmYVfIRtuNC0RywfwpY0JVukfhY6miWA
EWxF7OgcC/Jloh+4iqaHbHHTdGS7OVn12XSrgHRG1kprkUEHQg8ofwzKJsDYsz0uPdcEhn1ozUkN
ynmGwFLnbcnjzfDrtdevEpc5WeG44J7SeudnP9xtikTCk2bFfUkMbkSOfctyqXfzDOscWXhGhOam
mHm0OwOiYWytMm89HXlEdTJCZLMgt6KHKqSjDSYeJD9Cn3WfkQITsUaGhGil3xgJOwFpt56w8uj4
R+wq2PDgyfEhiPeyTZwcRxwhdxLoRmn0UcpnDxV6DNfVSmc0Kvb0tXF/Se6ydpWzK7KnGQJvzAf+
qcJb1k8yGkWOns1HVl/M6Ormw0z5UGnoexBe+uSYCnsjuoixR1Q4Dny5uDAhIgdYIwiovw1v6w/b
DItJlQZXJgv2CNw10kzKIH2k6rf4Bj5pPivcoGbtddiP38k9eftXZGDs0+qrHBbyutxatr6oV0h8
Zthr2cOhXxvL7lBswg9rC9PhTlfLVTnfUnjOlCe2XxrTmyqCZFXYiuHSeGrf3ZtboT1rVLv7cTU+
w2MoLMx3iy8TFedaW7brkXM4Ag28d9c5rSaYXdGsx/m8XfaaE3V2LNv+tX/2xCxz7CT+sJrKfAS/
prQ1lBXboi6sTMo/dZHsU+or09bZzc0lg5SvzXblRTZ1F267fnMQ2zWlL3WOpmIVs0ih7bGV4m7T
oa+axbDke1KfVkw4yyYXi6KQiGeLJXBYUAGqKJJCW484f4evXHcEEsiEuY8VQntw5W3Ih5ZtAaYc
Cxf8/PiQBRuPRSNnnZgei+jEamzBkiepC2mPtDQFp2hXJCrgg+wvGSIjburVJIGENt10DtUuIAVO
Z5zeMyRKlIfjHtq4WKxGY8kyqYlYXW/5NSK12HKr7I7/Bp0CZOSoCrCgksol7F3UpdBdVU714j5T
7aSyqUYFMlHwQCJHUNqIKmnOju5ucDWG6mIg96YVBxhRykds5l/iFQRSxPgNl+MP+LsDSTvkpdAY
33OK8LnvkAVB2+BPwWDUkOevBSqqbs8tZN/ln6iXwgaLhrkXA0ROVS/2ES01DvRI/ow/q7BzmCPn
5ksGEUUI8kXpSVoKoYQVt9zc+cbRx/aOTjK7jpk6GsJaVtL8hSecRgaDuYjJUcST5pdXNLbdPfnk
RMeg7r85fZPUbdIhCLFemgsP05/R6Uzw//cWnMsAwzFw4CdY6SDnxv4AfJNzQ1WtoPYhlIJd4P/x
QWANwWuGQVRrSJ4WnLWmc6GFLcCMapx7kHgrCeVWbqvpvEcz0U2HLP4yxyaOidoFLI8rQiq8ri1E
kut28hfGrwHRaF/KuDShifzzyDIlbcnbusLBrIl3IREEWQRq1+k/1bK1HVWNiegIoijeUR7k/2na
iTr75tzVTxSIVEsNaKa2aDFIX7AZkTop4kAIGtrNGdsZkFdA7YX4fRGQdZkucUsvGN4CycDzOmQF
RjSPcGXDwsACCkbD46WU5uTC4rJOIS1kFFQ28lBSUQrhgnU1c81yUS7MPWoFZWb+pt+FtNVfmuaw
nxnfLDlMDuubHZ09boRGgeDkS/9iOShP7r+BBhbmbxwgG8fA4QMfdFz6u0UMcQjRGiMYmSSMj4l1
Oatv+WlcdzT4lta2+hzDZRNhLzFnO4UD/hWnc5OXy8HcppiFaIvvdguxFOTISUiQKuwotqt+zV2g
CNaAFzw0SIsa24PJmGFO3KBIVXUVvtmNAL84IZE80BPlRnkZeogIoP6BPjCTF9TV4Ye41wT0xQvC
VdlLo27XHpVgITwBoTVx0eGnqWJWCQNolv4i2sfwXjNXUyeNzCBxjpaZKhcFfazMcB3okLhmjhfO
eXbA9t0uUsRwEz/Qzj6ZJHJkF/fizcmU1pfC2kZOEgKZDOrX3GM/hYhg0oy0ffOcY0VXOCw8nECw
SqzR75bXRvhnkuasOeW4EFGNVCwsYIlLX3NkFqQ3PxOwEw+3o0QZPs+zRQ4cSWAtFWHuuGRQpxuL
eEaRk+e0DtGPYxHS0qk0QyrUM/RcekjVeqg3kGTVxlHjpewv4AWCiEBvE92vxlwz22DU3ATXruLJ
2wmKHRQ31/pCrg6XBn9LrKfQUGIPDMCE8GA6Z5crrDJYwtjAxX6JZ2Mt7JRww8pYEsfRw4B0UmE3
CXCiJYYLsrhMQB9DO4P1DYrIcEdS0mDTgOxjxjKKkVyjvUSZPa3lWLGW5A3EGo1s02ia/HTPEZJi
MiO4z1TeTELvH94k4LWL4GaCkhxtXIfyZrCOxC2r/N3JAYTKZslx3u22GKsb1Y4ql0/hwWKzjtiN
Rlh7S5tROhMwGA1L0AL8jxMKO9ZYPF0WEIb8aIUaaJFB2FLmYGOwgJRoo3pfRbxkyYIIpLg2bLU0
WmV4J1MDcn2ANgc7IPU4wbZvNhw5bRbKLIuWQWhz/7oTUBFqMspr1iMqYfWF3+ivyNYBPZpb7EJZ
BJVk+LzUl/dmxeKnsCQostktC29FvAOLCcsIvOVvVjnOIkJJJL1twsFGZQn7/xx8htfi3by7bqV8
F3tCD8ojZQrz/lwLN67X1ti2R2Or7RLKFFsAXCLqjnpt29+6i7RTCXadV5fImKfL/Gp8p0sSwlb9
ChE7cIy5ziKbokt6Bp8sevFSeRL4vQ+PxR5jdHbydfv0j/ppslKlYfwGuIHhxuUKbnpkLhr5jNEl
lLXGsY5Zgt2eo0YbUXIIgeu5K8aqhJNZAsfMhKMOWsjJ/l/QczqgpFwSL+jCKy/mZWXXMKNh4eHD
lRK/hqP4RAlWfKJp5p0I49muHfREZXwy9HmNSP4TLV2CjA9TEQmJCMD9qS7XprbVzLuP2xFG1ohD
EOvapNALytyA9BQDHKWq4zMxItjH6I0Xo/5ZK19uu2dORxwyAMumVPYVWv/inXxS3bFwNawMgKOw
HEcyJx1BpnKcixDbNVuAPt44PWIveSHDuMOUGXNQpD18BNWpDbtUFwodDwsdli1JWxdxFg6DFL0U
O9kku+goVAie9Jcj2AO7yYsmDuSThEIV5gWBltBf/xEJRGK3VG4go4gTwbWj0zhXEJd4ZFtfWbTo
vMcCvmGTR5nKBuluM3ErVi9JnAzMVAU6+0rAb3IkrGSFPRsZllD9QMUw+AbqmUzPYKiBAPy4y/gJ
5OTC8GTNZoskqaFdgqBMm/80bEnotcUIsgaKbHKaZxT3IBfglNR87FUVgzU7Z2dYQ/fs0kPWE2yt
3/Ye29CxN9e5D8o6U37EgZbufGB6JtQaM/0TVVL5w6FkipY15t6/8sPd+5gpYswHiZKDk4llzNoc
bE59EfR4RKcom2AwIrpnkkI1w38DoDy/jNaPccHchx25Jg+EDZe0MQoHYO23u2a+cSbVX5xh+a/+
Zk+mPEL5aUHjqGfFuWPvuyZUOeDWc/5MVu+qf4GMA9IMDUMhb1R9ixFMLmwMNlCkChyVGb4MDhfF
zozBUa6LQ3QJT+2uXKen9lRfqdvBFrhmFTolULIXZ2oTGBcs4FV+Tzr2Q/Ma0LBYkwD+fy0/uB30
j4E9cQYP/ymfMayPT+MuPNRfCrD8O3tr33S3PtgiCTwCfBG9efcpAU1b25JSV7TNkTk0Y9PF6ONJ
Nd1oIMnYe+1pASiYX1BD4QJCUEEFxQrIbOVfCfc4ZD/FD0vl8BHcDAcSMIxCmhPVrn38r4EL7D1t
k92MDVLSW//wXuNDXNTzfONle+NN6jAEIMWOcST6lR6wg6E+w1cf7ehWP/Qf+kzsTazD0FCphEMI
08fxrAP0MclulDqeE+w5xY4GiMpBflHvxd8AHvpvvZLANrGwJEHVX3LRgjsP+qn+9q8cmaY6EMHP
SlNXVsayRDeTPGJYBfOBFUN3KiTq/ay5S/liWkav8lvbmQ/5r0rCrS2jn6JzqFywZoXw7AnrhDRM
U8OadbzHv9n9H44JlR4GEyqOTRgsXOzmiZ+aE521i1/lCQMVALX0V/MdqiasVCi0WT86ZN2c8EA5
8wXIdcthiRqhOXBYCqjjKBKRgyEI/uZOVGwJSIO4N9xM0BZaIndOchzpKPRZp/mwfBKtunIG4KPo
FFM4tpIO2i6UFs3fnFrsS6Nl18KrnKsjZ6ujVS7SExXT8OCz+ujAAOVwzuAwME8ufEOCseDbxYFg
Q4V9GU/HgJg+4mqxXJmL/woIoXSncOYacSCbgxqWWOGL6wkaQIKwahDZIXiol+mLTy/CV81n9e9w
UO9Nde/AYyfxxlQPTrNMto3CttQVbWIW1+YuvqeSFkQFqhXYF4oUQC9wQncHj4kR7BewOacPqJBE
i2b9Tb0ZUKxTXeYLmkosTRxyXHZbLkzxd+D5jo/NPT+O4BflPNp62/RU37DbgpSKjQ4kYCwF9ZnL
ycdy8puI8r/cD7hBj8+YLCFrwjNGPLZre0yWvrKgDlah+3uz/BTTSJopi2hFD9Ramg/pBqgd/rgP
TuOn8abe4UoKjLm38c1NGvQ5S2b35ktFnFXeOvd2jbdmLPqUuGhdzB0cqiJyNHfBMlRxkFPXKqRM
dHl8EtB+fPSxpr1SeIcf5YuhVp66fhHjHI0EYdfexvWwT1ZEhz7UfzniEdh/iNajtZcucrqrUIE/
+AH2Vey79BtYTZBhzkzJYXvUgZWW8Xrw9mxd6Vr7YQHVkER8gNazzIJfsbSyq7PD8UUBP/0n+xJ+
vMu4bB7CkcEh4U+2bnfhKTmwAqY3+V/3aL5KvH5QvXDR/slwEYCYp8s+9ec3A1EDEEH4GDcZWQt9
ql+QMY6a5ATSzlsNh/ilPzjFyHihisv6lzsfKhxE65P5haEmw4FLYT7KHD0YQV3TwJ3OAohZCJ/d
DF/lqV3nr2FkJS/uoJchWD7idm4DnsLL7Efbh1ObUmOOrsLvqT38q+Of866AYLgTND5Lh5M3VmKE
YLGvTisLXihAN8ihcGIGlWExB+5AO/gELWboggg3Z3YMWKZE4EmcmRDgvMRHerM+gstf+wMwnJIQ
UjiE8430Qya5x8Rz7ZL17lu7QYDRAfgwFe3wCMcQaFE8C+R8s0pZ+WyqT+R76PF00N92yaNCaDhG
0uCD2nyqg9jdDqgyDYXaYFKHRxxNQhtzoClkE7xxgdSzogPV2igvBYR+dBHFSXSJBQdPQsIp89LV
9pc/3gX7UIh/w95aFmcXSh9E5YeHS0M9B5R70WHvpq9NdFE/o0w0J7M16hGzTIsdpSf0TO5Gc8hf
5Yu9tLmD4CRvUN6w2rKu02NU4F+2dlEvMjAIVGnGjOZ00d5AzL7pohGxZuJJjJcFt4wQ43hN2q6B
lRR4DDT0LxVf9kdHMo0GaXVD/FbS70JjpwXbRN9Ah8EPWUcXH9rUUsR2++I2SlAubqFiVOMx5o5Q
5hN6jUxfXPvjFl6mYq2MepUHCy+zE4AgFTo9430r9hA8HCxCxWDDW5nW+ouFcSEGYdWqrdaivGlA
VieDdkfXtnVJxs1JCe7uuI8i/N3nOqBGdTExTIr5CFjI0C+cwWBPUBVGS35CpRfghKDQPF+0tS1B
9ocskp6z0ZF7zt1InxYcpnWane3C/GJwdQHYjl2QdRsRq7eKxnVs3DvR6TkvUimguSmx+NhK0qJJ
GMZcZCJd5hRRXoGDEMjXNGlL3N5ZJgycGJaW58hULyRd1muXl72MNzARVuyCA/04pdCxB4/QK7rk
S0H62HLICecUep/FpfLOo8JgmHyD54WIp8fSi59cj9SZoPnaTnFYwOSis2ncUVyz0an4EYQPEA9u
tTe5Si+mEqRx7QABYDxopNEhg/Ij6q0gt4giHEV1XXjDVrJKh06fpL8qfQVFdCHHvZPWpKF1KJWA
ZCP+D/N6m0W/BqrJBJ8KODqkl1n7ViqPvtttynRPmPh7tIKDTgIgGcGbkn6BWSBF59cRQZMq0Ubq
vh1aW07ooqnjowzxnOF/fCaDlJj78N0Y+GkgkuAimdpVzQX0i/E2GR2RW9XZ0z8H4FB9aUBr/UqF
2//j6LyW28ayKPpFqEIOryIRCWYq+QUlyTJyzvj6XuyZqa5pV1tWi8C95+zI79l6LjNMRZZ6eh4b
UbrLxz9dajIEZ689GYAEAjv0oMX4expyVkaL8H/RE3Vj/1RNsBY+LZ0Soh13U6G+Pf4qdupBLW5r
8iNhhZ0YLwxe5xhuT6FOmwr6VcmPs8mg2wMqpBzYgna0uO7bpX1qOkTfWMGBNYkDyZr+TfXUEWMy
ihxwQSvKF4v1qlCtR1+quNuUU2NyULHM63L/Bjs60bw6Dkgi8iHFyYB7h7gApV4vCUJZdrkO5ClL
7XnLiI4keCUDisajHivSbhJYCLuead/sislpGiC+XA/mor92heV0KehDWy3Ahoqrs0lFUnxrI4qK
i59kyiJ/yDEI4QWN2DxEQXaansjZhO8/WCkvZ5Wdo+7Ulvl1RHROjA92x7Ogk9A19330sMQ80Jf8
oqxVs5csR2Jq/IrRgIK9BsCmLDgJlWNGsjiLKnHSx+viI12ya1Pw5Y78A717JnM3eP7bYnisxKBn
6XhZ6xANoFOthKNJxXnNcI9SubOqiM+AbzvppsuiWys6zw3mwBdZ+O3UrzTxkggh1XHgHhiV94ES
PUqhxVtMFAS3DqYucoM0nlgaHuQD+EJb3IzoYE6fm/gtZY9Cus/Hxgyi+gs13IhaLhMO/fqRc9IU
9a+qIm7fW13YV7viouJAlXwOOdZjphJWPII74JIxzgLUkedceVOJIN1HAbKi/MZZCMCCr+LQT0c9
vaTMKFwvipc/YwxsgGdMC3LqRUCtIKxg06ioT6boMQKyudKparDwFkxV4EyA0hsMs58MZKiE8fpo
hbcOmrVn0fD7klYxV0TbLHoriJF47ExfJ6p83o8of+RAB01erXsqXBKTJM+JMxndNHHb9WUAYY9w
kXEiIuYiIG/D8jgqFVmBEZINjEtAlMhpYEj2dfEjLw+lvCpP6q7BS6y7m34uMQK3EK5OXdgVJmMh
DiHUZ84nzS+rb4HOEfOaGMHKx2CwF9FKDPPbz8hggAPdMnrTOuDRhDX92EsfZB8vu0xw4w6O615Z
PpHclJxnsWutp6esfLFTPIwrcjiIJacRD3FCrqFx3tAN8eOxrpZ4m/JwLjNm4QEGX5hPRpUAeMoY
avJzKvXrXpOFz6LTPBPUzlksqDKviDkTqDP0deWRDR7DrSieq5IlaPAVNaxLCtxeElzkic2wm9cu
r2aMGtHbHsNFEcOF1KLCphidTUlcryTFyg2l9WjmsQ76iohFcJeMHve8yTDJvruEfJ1ln974W2sI
su5RdA8g2XyA8UGH8tDLYLO8WXHFjRKomzz72nCYcJDLBzhbqfY3YuiIcuj37U1itpQIKbuNmzfa
NEpLwy4t6Wk59/mVdKRJuY8s8EbLAsO8r/fGK+WXtKCPcGlLRoiTNQZMnBqw0sZ7rNSDDz2IwLvI
z4zbJn84XH7nKjx240FJwlJxFXnvTJab5v4UQxUhHAty/aBQbh0fteah5ndd+zD7kCmCq5022ZYH
T96OYx5M1lkMeBzxXchAGaQepV+CElKzqI1uJAeNcKwLgqo9gSKd3mksf41ObeHVMg+JZ4IrdE6x
OhINqKbbzYcsDQtpb5aeZrh9Ri+JE0ssCMh/Gapa8CXRTH+WDyxDvJui/JrjJlMCXre5PSWW19JA
xU3AqEOokhx2xAtLj56Ac+lqpGFleAmidQesJFbYJCMdOiQfmWtQ9Y66FJ9yc70JKDGG+8RTD3GJ
IMnc427bZyPPjV/Vn4bhx/KjpCahp3FxRy91Len+0F61KJBXQp+vSQ3/u+s64b2SrLf6upq2ggKO
IEzFFumdIpyPPRsYEfnh5ps64XRemgeNdUacPx9G895IYT06VgV54MVPPuL8DGrL1pusrg+RwmKJ
/6CoJOfC/I5i7VrS6Dy5FuFkEOfQEWBE+1aB8PERG+SLt+ATnbBpLh4nOfrPvoCaeyxcFxZCGNg8
R+dQxPkNHl14KAw2IehF30IeRVVrT91BQVbppzJSOE9yh/mPAlK5D5sI7PCI4FaQwS+jIM58iRJ0
ZJ4I5wI+PH6d898mqIHnyJi4ivr6x6J40tVRXeVZstHZjL7a8hokjCvQ+AtYX2o4un6fxjuH+ta5
nLSGHiA3eGqrZs9Yw0E/xvq7aFyQAs94IjR/azz+usBjsDpTiLxFrxB7G7kWpmd0vtUep+Xdyv/0
b+J2noRjqgSSeMqMW1oGonDKdLsTnYT4W/0kTCepDTR8KQyAhIWzev6kB9U2HF72dHCyxH2eMVhh
2tMKJVEfIv1QCUHbvsWiZ6WvdczhQ6zUbFFyTZwQqX3xccheBab9bblXyz1t/i7YTmuptY9q9dsM
QfWciuNkly2HVTwqpi8KlxLRLM5UGgYoczhQ17hap6m30Sk1g0thZoJeUFaOY+Koio94KXEiAsaV
czsTx9K2LJ6SuF0McTxqmXJtA8k4pmRS0f7FHF3OZ0p3KhXrBoJ+b+jvHN0QrlaJmH35pVHW+v+G
AC/jggat2YqjUvkDBxbnImKw2m4lLwqwke9qnbwZfqeDgWIFkUgLv0v3BlVWsPktFDENJ3ARBCrf
K+FTGpCbeTx+q8LIci1XQmhDwXKzifYsl7JIiagTM3ovxaMEVZ0HMwZZNrBR+6D4ut58Y3q3APqs
FtLUrrejmgW17AnJIfrVpdVLTOFokoGZ3Zr1ICZHfowRxKx1F+RQmd+FFZGH+6aKAbPI1ts8i1t3
lbS/GkSEbxYEmoa5hanG5Uw2zBu1mmKK7j3kkGlU0FT0Kdhsnb5yZSIYKlIyjQ1Ev+NiDSg/tqhZ
0OxssEF8OVTl/+8ivvY2BhzNiJ3y1aNrtW3Bv5j+XiHjeuNdihDk2FLKfUFkmQvAEcFKcmhmfCNV
+UczfJPFv8HB8IJkhz2WPZhVz4j5B3H2+WvyWbzW2VkrOTb6vkaXEOV0RDe7P0BiPYvd5qIMUeDZ
0ROiEyWJP7eZ+B4YChDaJPDm7PWj4ihIUHBlQs3115mMhDKs+68McJMUehC5Z5S9BvtotxYVbE5T
fZAWbGTnLjsb4nepX0wYMnLbINYaQKlpu7VVvNeFv40OMNq6Ufa2zvScoE1Ig+0QyZi3ebGq4rEw
XMzHZTwJxh8NX6ZxxsED7t9jX8rl86ST5OSX6nXGo2Y+aZT4NpMBErsx9F79sPhBCb6eXbPJa/EO
vc8ZW1bx0ROtNlApC4EuaoXbxNu1SohdnTBcaJPwOfhmUMMyKQF88IqQShNepfF9vHZAsmDNW3HO
xvfnQpMJAHXoDeTDSLr/7xrfi8ZbwF+W7S/jUhU5mOYY5iqdYtEH/hKpCJVnjMtNU0OzOcRqwAdR
px9s9GuBt/AILsrO9FzXGo28I4cIT4h7jCrtdKub3XP6OqsdTC/i8i56QnMb1WkqPn+XC0QkDpqz
lqtj3FmG3xnewhFjGuyrz5a706rDyxFnDAmxWGeoH+WcWS/VQoXQbVJuqfU+za7cOjhxIz4RjtjP
LAs1KTQA3JRQx0xkV3EKGUIhuh7ohNEUypde3ZKNSMwaAlt5b0magQFB4AY/jLSGyy4ymVY/kMD2
u7ILtd6NkZtDGd62+E3IHKVj2nVG601LH1tt6/KpGd/6yCtUVx19VA9T67IDSZMjJoHeIBj2oNcx
HAKHxoo74HoBuv1qPgFIujtV6s2+yjEdoBJ8g1XQvqHva30PFz49xv/ffQPV0eBmiF7gXjg0jYxc
QN0rQOEl1iimQZXAmeh7tEgKlQI1JZJ1REs0ivlvHUzyDjiC1Xk1LywjoCMrpCeRyxeAZBQjfBwV
hgbgPmTyHfFPT4SDVoSJd1Q9JsdEuwDUaP0n580UszG4wnwfQeGgP2c5+irj+Y8Zk38JPNurnzWK
9YTiMNU4PGVnJJPqPKKj5GcFYsHbKH9a6m0DzCVAYJ5etfJTWSCI//FLPAlglUw3YCNzfTKla0GQ
FDSxdF0gDyyg7TGqcA4kx2J9Lyyf1wdBoVwfGs6iihwpQXmzCGFmMhschA/P+Uckg5CgCmAtEqTh
R6GwzZ2AmUMOYjTzQJBnNQnoEdC0Y0GwKsNpf8Bil89XxFHzEpg0B5Yf5eKzaoBsVeK+TrzZsGU9
rKa36kkQ4Oyaw24OVfmUGI/BuiiGo9Ej8pf+D6ZuV0CmHj3q5UpS7Xf2zDlq7GlkM3rGXsQw17hC
VEDxg5WxugWK6BPaEo1u2TeEw73SC2ylPm73Sgsy8IPGHSccv9+FRo2wl1ODjiaCpRaurj6r+oei
/Oo6++VXQuaEQLzBEWxKWzFPvfYlC8Z+QJlq2Z3qLeaVc09U7mLzqhshel0sq2XOj/RWr7Ri20kT
JNlDEEmR8RA06wxQSyBG3pQ4iPU3tkeC5EENwPd0rliHz68U/SkK1MxflnfmzXUI+R5YC6WFKeO4
yqw6J7YDUQrmzU/j41wC1dhUcFpof6vYxUKD8Yj3cy8rbBrnbPYHTmBRO0bWvieKrtoDntKBU68m
ye+Es860i6FnkluklQd5DK3eg+rtxzB5Xsk2lLYuIedzSrpIOq/rvJ61mKkNNEZhtw1U+Wo2l4ly
jYm2nScmnUSu1h3N4dtsQWn7zVeWBNWjXywHEK1L1x5H6Xn5mtdafvR8qT4wDHcRrhnUrGFCaGnp
aYMaUtprD686l17fOqPxrs2n1DpwqI5Y+ITXdArH9sT8wb6nRicxxzcbTgRcpruMeY76C8lzljEo
BbunRHg+FBEyaxd7Zw260iWbP4EtM8uDyeT69pNX5tsgw+VKRRr8EQkDVeBbWaPRGIinZfoQiBDb
oIZRKKytM5l/+zaEoEGpKxHatYaKQe4WNRyHEm109NZo55gbsb4hZ5hlx2pspDDrdC0Xl/8TZ5eG
UsH+vswc2xwpVv6w1PMY31PUaslfBKvzdFzKj2mGMWBbpxcUWY/RuWvq6ZrzXKs6b7DOwIdoCKbm
mkVMeZzNkJuVvO0N9VaPXzMuAcWeBNeUSRP3tvQ0q3904ypW/iIdqtgj3nBll9Y5i1kNbVRy6W+7
rK5oscPmw7f8FcnuQAL7GJbDz1p4knCGGUIUUM9PuZBhOvNwLhTmmkCPPN2C461fW57+zHGAb5WI
nYPwTndR0Wpxcrh94Wmx2/8PdGSJrSHLYRkSwg4x5Va9MucM6UGOPw11jx+GxMNT3r0nTBvaRdHD
p6Qgq9E4o6fkXROfgTPDJTe2EL+FtBFpg/BdPyV4H4yjFYddctj649Rfm4zXsnwZ4BK19MZUyBaP
9ULk6ks+c1zC0QTCnPxOMIDAHrJyWAs3a88x9R7Dt6bREh0/F0zmsiJyN2Gvr262/h3nTy1/SHxI
T5REOLCwbMV1jQMNdRCYfxWu4sEqgcwvceQty7mKKN3YV53TQq9KFJeB1O87/Ti1wVMF1riwiXl6
1IlU4mDe1vfNetV6OyEyzK54d8p/Q/oq53cD9XA0/yFBoZoPT80hcHsUxmJDuyx5LioROr3+si9M
r0Msg1hIsFOCi1ArqfzDYEhu2drXXsiPoyleNqTaShAJtiGexpwLik+LAGDui+VpWcip+Yavy1z0
6vwth9sTVaDbTvP44gKnTaAXAaRinRzryh6RKJACBlD0vxQTE3fEl2pbRqgWZbs3Licp/ydBqw3W
IU2QIaYHzfrUa2iUNLcTUG0D9sYqZC+O3oz8akivtfCUNlXbn2yoOXgi2ACNxcJAhhHKuqcMfyvj
ag7nJHfkZV/pzxY6uOrofxhrDY32bqB5K6HclOJfNMNjpmGSnsU40OfPhSoZ8Z613rO0b/ubEulH
RgleNCKRxRCdPYPL/AuAAompMP5i19QPTdgShLpJuPxJNpr/x0W8kgrQGcZf9MfxVSatbK8adEZ5
OIZ10o1kcyVzsBcJmCX1J5VkFivY7gIrCIBzOd8y1iVJ/4qRGfZpAJc/5u7QMeYexjrsJIhIiIDE
ALQH2EVfnaKLy/mkiWQ/Gs3RwOQ5oLSp0IJJNpTZrlHv2YrpO7BwY+FR68/tcBrAlEruNN8y3Lq0
NR5FQo2s3XwDBEyXY2yFuA/62UblWBY+PEnfOyVVJqu9RWyEe/HZnCZetZZHnOzkhkQ/Ln8F+/p3
jXIsIpuu5uKJym9mwcq86d3fBN6N3QysYpvclGGuDAs6n7rfqH9jvjVGFEUfgESJGjbNua4PwxAc
BQzvjE5Onfp9FxZV2BJQ13v5SEoz3hXjo+m6oF6fK2E8PHoL0AdVJDme2oAN9hwVXm9RC/CRiHd0
sJLwasa4T0INaXj7Xg0ndfLFzC1UX1QOeA8K4Tzkr3p0Mgh8G0OQqjV+GKa3KWhzDyv1ubKnL7iP
HmsfSNtxbj3MljzRDLBY4xiDrBr6PGxI3dHYc4/tFkgW8knPTDyN8En9fVSebAko3MC7k2ACxwNN
FBIGNPRoQWreVdlbUsyz3loH7fsU3Xr+ZU3rYI0eDRgmCM9KMPF1MjhTvNhDh9AN8An7wfQi0WtN
hMTAJhcJz2y3nVRyGyLw/5+JuSAdQx0l4uZMK5Vpbh47kFRg+8CavCgIRFHLtYmP5BQYppX87Zk8
6EbRqWaBKSi1sxEQAxRs89usnlojxAZZVb6h+FJ65lcQ2kNCSbqboeXiMc2/poiB/zhaOwG6GMGQ
H684qz2GmS4GBH0iwMvMhBPUqJ8zL2O3lgMuibzFTQdiRyqU09c8K85QXlGV1pOdL65ehWJ2wHOS
VMf+TwQs37vs7TCT0eqn9X42nVH87jMqrkLJCGPTSRMHyLgja58Lf3RTyNVlP8wULPtoZJX4AA9o
IIiA4cRM6iuGt25eIYfJ6nQ9GKNbdo5I2hmwQYTz0tnWw6xeRcDMCT3eggvmoAjH5Yk+uBEVcs+f
l1exphFSRAnji1Y7w7OB3K6Wa1UR3QFQfVVhcfj42k3xs72g/cHXBQtBJ84YvZV/IN55tfCsWYnL
VJZZDG2sitzEsKfnlhZj8zrrf6zMpdlxHk9U2RDNTELjIFbHqqJZl3daHENoqLF4UrZrEVSbs40u
8iuopTUwh32z3YTuoJBArI9HqfKkJVTR7o6YWV6w2tEIahuji+gr3s7cI3HzV2HDaefXKfnS5WvU
vlHzuGicE8EUHxiVUt2Rxg+0a21zkjUH7XUSH/jpgPMkKc982NBsRbhTCS57ntfXlOuefGkFNaqT
FjbakAjDF9+O8OJAkEKTZvqx196zxkvnT5M47oh2gsoTU1a0g9SFIkFy6598uQutw2rAfqERcJCw
BVytJ+V5xr+ncP7jtCN0td3XKZuyJzSemtyb+mPuvsj0aNiFB8eJ1Ku5+FAAEDM8xUCm0nbQ8tDZ
TPgDu0GmIbr5iFRvfFTgG1NFcKZ8oXcTCaWGijVZ6IZI5fgr7ubJa+ZHnkXYDFa2BUo0p8o8puRV
bjbHS7Y5rFRsUvq6K//JSv6q5GdL851FvuWczaSlpK4wPRfo4u/4tu9+cj5+2lXIZTbCcTwp6mlP
QHSkcGtmnJgtkEeZy7wys/SqTli4agNN0FpJ/wrTR1RCd06bHWcLbMZBqmOpO5TzQFZIFU0MsAC0
K4imXa97hWz+eF9bp6E9DjVXxT4SjzPliNud2Q8hy4RkJT508YlAIYEnS3cAR7X4VI0eX39NfOTw
I+Ds7MyKg1RCH5xWcXmY0OawXuSFpw7hHN3H5tRZ7gC+joz0DR9XqjgYO1IrXLVTZjFi3OQJIa9L
XQHWamSb83xA6pzLYaMdoHW9acUMcdpklBTpZckeYkZPyT+ck6b8/IMbul75vgUMuT+F/ndVHvOG
8hW01lfaY7dA/riIgxSTs9XlRZsIr/yCJcZCUCX7/YKdmlgcGnUpeGzcDP/Cq4J6JxHGIJt3RcZq
FbSKb6q8+1QIgEEh8NdENKVIIJTSZCad61AyfzBXQPYrwAbLhiohFFcIq4+l44AHVLccCxmmAIKy
x7NV0QaQaf/qMVTRKGi/ErGFxnIg46Wl7geClzqJZ5w9Bk2S+nejehSVc86b2x2M8Vhu+2LZiUZQ
FSzivBNUTdd/QZ6NfqeuAAUuspSieGB+Y3Jj+4TisAwkIHC/gb55fOZcvo0SAqAg6bP6a4R+nmWP
cGV8u0zY2R7xLsHmFCfUwMLYnUzHSF2IbFHFvhTyuIHMqapTd3yagdDvc94K9BWAgBQUxPwDAfMj
4JDCvx7cwws7EJq854SBisPSEe06ovqUszzFwvSBPA851d9ir4m5EzfDhgfRl5/RdAbjWzWjsFLZ
FOnvMljsFJ6urL2qvfVZjC3TD+pdkbptGxCmT/1t9IzZvaYbyU9cuABvA9O1C7QvoW3lLg5RfGU4
dLALPkVEdnRCbjT/myoLzWIsI8cDldrIti71r22Bs7syQoFAZoIzwTsJgUrTLFYf0l/XjyHjJAw2
/VKAXFEGsbWt39CIxabMZGhLpoOfQifVAED2CQi+dH8Rr+VfcQkrxfrA90pyqt8BwijCz0ixARmm
6Ef/gqMtWIob7NB6ILLIEbn+lA9q/XEdv3XpqDbIEVHh17W9kOa67btsR3SxHCNXGX18OxjWsHQS
ZuQgCETyucS3okBOACriMT6p8nFYqCaPnWK5YGkR0M0W11H6QF26fGPuIesV6yItCAW7cmx5Uvcz
0hgEMrB6mNL1is6L85Kdn26uFDCbCAYXKA/VJCSfbchvfB7oJKyPmNZwYE/pqIgXIUKldk0Ljzyr
dKM4GDSX/RNZJKb3AWEvZZphKnklWk9Efujrf/Rir7UkdOxLa29W+0RGbXhUOGHzJ6sNy4V9Vv+H
7kegjpxuy8be8FNJBxpl9KCSDtZjJhJbITObt1/diPqiLtFrytCQYRkI8j3APXYICAQvWyC1GUhO
Dfnyigzoc1TqMzuWROINccGMrn/ZdelAegEpq1f8IuEmUiVlEwtvtjbZ4WTh699EmHavBMCvyCVg
U9TuIg6OiG0BfgnYipSO2BkLm50wz/EEJgTreFmL79VViuOwhjXFfETZ9wcUedRvAjZg4+t9xgRY
KRNVFU422Z2UkCuGn7f81V956bXam6Dtc0hSeDwKyGkifmHki0UX9iGrnEy5MJWa6W+jn03F6Qaf
IRiHXP3WJ3gHIVJ28wKPyVkIoUn6CHUDfr2dxYFM0be1QglwAgZN6CYcEK/7aWl3H+SUWg3Dg/ov
WhVCxRCmgoaYD5MyYDNksUKmDRDI+6/ENuowYgz5LTgawLq0zk9JrIbv3rebjSWCErQnwsUU9gKR
hb8Llm1SbaRgublbALAzOv5CDfW8dLHWu0nPKu4Mea+TG/xRUBRJxkGVAd48oV1FC0ftahWv5brn
fAbFIbKQtbxD/ZvjpCRwy5/x9RPcLu2Md/OX+1JHW4FHkNho1jcdM/FOoX6bNpGGB5563iDLDqMe
DOz9ZE6MxGEi3icwSb2ldXGBAiBHYY8iNd/OGEBQdJi7jn0p2bW908IO80CzvED2E5CCF2Gn6NBs
0g7q8IIolbC8fPP08tBgsSTvpdj3ecCu2cWH+VYvfraFOsoC4jZkRyF8Fxm8gI2bOgNILZ9dYGPG
5e5GA1fC+7mt7KtseAbj8hlic+oeTHuZcJZpPrIsv9scsTlZK62qtsHpZni65ELYQFWI5h5VK2y7
ru8LokJODPAxVj+096KdcS8vTpoW1zmWnOFp24xeGLsR3oq9k3xye5oi1bjeFJ8AmW0Tu4fOncRo
4SMIqWBsKl9MnOFpLkTHcyb0FUWoawByoDRTHP7HuVSnx6n8sx8G8GQnAXJHxoZLnHcZylHYL8x7
mbPVfg7whNWYid9YHa4lwXCRA0QAmXhx0DJ9bC3fO6nSaK/dndzfFflg5MhZ6V7soO4RaMuRvm+Y
ACOyxHwtd/jMeDYIMK65culQOKbAK4QuIgjsSPA5bOTH9Ta3JpqjpOe3EvKzBzZgAK9WnmzHZJ8G
cBX9WvQSkbJXB8EiDvmq2km00TR7JIH1vVizk2gD1SNiNOlBJBogLTDqBcbkpISppDYTJOuQq3Og
kmCNZIKKc7qhcq8agliAIn3+8fQtuex7afyht2+dGpZ0yA2OyU0HR2DgbvbA/81XfVF/hq71i/RP
slCEFxIXAPU+k/NAziOGr9WxtotGEaV+IFQVjQa9vtAaBdI5mFRukFID5gGDZqBBMKNTBI1UHEeZ
RfzKY+TdBi3Mj51y2s8SxilhzXBhCERVY+bEiUTolKhdEEiCOvEj6+c9KuFcsp9QJSHkGg5vwuHz
KOZyBfeyMqDO1vrb1/PvM65rHNbHHMhf2cj9BUrh6gSBI2ygLk1wlpR/291K9K2IFPgFYSp3vFq6
LQ0aIkvXnj4ZXfWlJlwFspbB5UQGJvKbdH9V3KbEQnxrh292YEbG9Ql5//BKAWWjZpoLPJ8I9Kml
OJkkZk6/fEkV3WvzyFRO913MOb8McUGDFsJvUbTHdDjMybqTNhY2dckrhyzLhaix4odxvESshxiT
z0DC7qF41R0IKitBs11uN96HpHzKcJ0YxwwRcku4CR5JmjeiML9gfgHmQJHIQxlNGyXz4jvQS3w8
GI2mH2AmmSV+fIFM038hZRLNh0br7tYBz6j6Vp+eDyWl71i6nuZWClRfpncyYrzSY6F04i/lvsAy
MnHQwoU3eXJy/ch0JqfOSq4OMyEIlkAjBFPdjsVyIcAMV8C2V3AO97vWWy6WiEL3BZE27F7nkGV5
EGOdtqQ+dldssmzonLN7WQzE8hAh6TT8kScbZxjmHkw05IkfSV041N+Cp935W9S5+Ds2vmcceU9h
3/A3+4SH4GfE+4eTCapU6fyn/eoufcJkL6+x9HInlxoskf/R1CHhaiXfAtEt4G+kIq+vFbSA+pDv
cV1AVm+Hfjf+mdmFX7o7c1p6GB7jG163n9bLmDU4aZ89dez66oTpFMd87rSn6gKAUZACAVcWRlct
tmdbD9B6OMIpkphPXnI3dZU/JCOhr22+SVtC8mYwbrzQ+hniMHCqn/WmEJ3x8/SHoU7+3CSHMQYk
l3AN7tl8uOXcGuwXphsdyzcV4wNmKkRiHt1wsh01DujIsfJGEJfP9TM5z68mf8iB0CkKJa7ysSJ9
aVfb1tn4se4IftJ/iWtcUgeyI/q/f4+OPtl0GEpeNirTX+q3Pfg5qgiwVHZhtiX6HT4ILjn2v6hF
2NkX1UNw2Di513+BgYzBdskR65NV9Wmu+97ADbCT/HGiDE4qfUziXoofvb3x3KlvA/oRL79mZxLg
M9Y+SqPx07807zQ3Rz4TD2kJJZqWxV+/UDTt+Qjf1Qu6UctObeuACAiB52h3e6tywA7ImkdbhbMf
2YQt/wMUn8ag2rdHwofQwBqH4pK/AXlHRwp38Dq8MJh02lHxmr8wvDHxQs3LdJFfHd4Am9HBy4/R
hePWaZzYVi9kAF9Swopf5t/kR3zFKMAk8T3+4mDCRfmMl8Q7eMVm46SebFNzaGPdmj/r7AVIMuwO
tSt5vTsfgV++szMVbj4Vycf6deRX2qNyIz7Tic4U9FxSP3WBsdzpzsP9V/tp1xdI9ce1/Y7EncYr
+X+ZlHZZzuut/CbXHdMbWn5Qgw/TRiXH8vEbvRfeQE2S8pm88jbxk+E31h4+RO1juKiUovLNisf0
AEoS7hsfFd9+PMjvgi+E1kM/jYeZ/+b31YtOTP0sRltK+MsdH92ZD81r/PiWnySHTrYgvZLn5yj7
8RQfNgyBSC1u2Wd76vyjcOZdjK4IEy7L/8ak9tSe+hNvychvFu4Q86jsoj/Ra/T6JuoWnp7nmBzl
19zjEyLkpf3FYcEDuDHycotrNpqHiLWZ4BSHV0N/ppg9wE4WeZf1bjKTkkbiHHiSj5MM+75J6qy0
m7/iL9bZen3+mIi4Zcyl/6zmeZEcdlCzdSeBnZMLp0y51oim0CyIn8DkSsTBEL0pcciBlZVnFE9/
VuQb+MlJX6jx8joTXEtDoicWJDhJHPikCAD3Mc3zazHExWxjlxLeEWshN9QOqKfKa3VHq4KyW72Y
wEk8SjV5hiuNPm8ASPiKlt5eOh8Tx5LZlBgan/E7vgpY1lkKhuQGLWzQC8AVTTmHHCJUxWgYcsdV
JAbVL872gaMTycYb6z6762YFCaFExov2IOIGd70pv1krAvkq3oimMJ6umVIJZ4ZMHcTeSDoUXZSB
5t+Tos5O3pW05wmYOZcGB4SSvffSjsRlbAE5GRsUx97IW/SsQ35AdWRX/ojw4yX6hz0WwS0SoyPy
WA9noEd2iYfF/bCe5Dfxrfhb3+Yv7tLjei3fYRboW5ufd/1L8ath3o6fZp9nkxoUHtgqqRkO3bpa
fRzC4iEGw8c83OJDT7rXLXkkoX6rjjl6u16oSR4AyDPTRz0rpSdL830Yxw8lr3U7SaEn01a4NzFl
XimH7edwJwmN86175AcEUhxpyx4CnXNMVDwTlSZy1Q0p8WFgxPOVn+2vZdiJ24Tz6SkTeJahRw9Y
cE4vYm3QwrW3Pcfz8MOYDFTRBxRPnDEaEWlhfJcBx8ObEJ3RmGUW7oeXAVObbX7iS3XRyt2WD4nC
cWxnKZDxzjoPH9GfdbVxgzzTT9DYbWywfvFowgqvPwbbdT9+I8n5s/5bwhFI/QXHSHPGu/+ySZSi
0oi7B51GM5a8wv9ypVKUFzeBgAL/l/C899YbPpKw1WQCYUwyZaZPurag0uUX3suvw9NOvGO96r+i
Yx9gh8Ck6dV3NSQSy1/baI8z8iT/Tr7kUGL0Pb9XR/EdefdPrJr4uHmMSn27pyAiZCBSKD3j3li3
BXgm5UOOFuI1JIm0X1ENrI7ig6T4mZr/CDuPHdnRNbu+SuOORYjeCGoNIoIMBsO7dBMiLb33fHot
lkZXAtSTQqFOncww5M/P7L12CAhHx3dY6Elw8quKlVqTEAT6NDPhWOqN5ASR+MqUKpGebfVRme9N
QSwkJ8A6lohptpGkDtwwtF38DuAqyL23fKGMenJtPdZ2RHDqd26t8AzFE8NYKCmetsw0TnGFLRs5
Nvo4yKKeET4Bo7NoUyLk/OeOcxbOOy4gc8NyO0GFGBLptmbtwvUq7gesPtoSQgxb2bQZoPUEQAIx
zA+MF6HrSuK+pI5Qoczt0WuMrMpSdmJTFpYnbudWeKsYchZFbrmxtIfHBErV4lEiNdZnjd0Do6+i
bKxSRq1B+1CECm4q1Ku+NHilpr1SBQ3FBW9Uz8VhrCm31Ikn5Lofvaq74I8jQ7HFX/wjLki09VWV
QT+Fdf41ITijkptmfThRtkGVwPJzwYOJiAj+NyFPVyP7YPtRT3dReQTqI++3I297xiUmusUyQqS+
tjMCY21GOpi0dBxi8SHQ91KJWVa78UFjallmCeVLlICnvKM7KYOtgD2Insga7+N8YizkF5dmPtJk
aYBTtHUf80ltC45NYo/gXHOBLw9+ZgBsukvfTagjs1dr8PrcIYoChXyfnNrBFnVaplVznmHiFOvG
ciY0G/ONq6Tc0AT2pIpyfHHmf+On8ZVDqTtYKnT1kGQHIdzh7+4jF2UhEyPFOKjMk7ojq08BfyhT
AS13GlyWFc8N24etuaTH2v7a+qlei9eQjDJ1E/gbOAisafWGLec50GgM+x3Dvo7LQuC44NyQXVF2
ZWh0nUode6YF0mEbaEd4YJjjvJRMa2D1i85jQ17lRZWfgfUQrXeTymnykgiFyAoC74qJadi/K8qr
Ep86PKl5caBFZYVL+W4J7ow5TTtN3d4aj754kEjsWjb1MLOcRnWf3Tkgv2bAMX9FtAlBamKqB2tW
PzBvhemosgPUsIEwhwD9gquNY3mXaReWWX9ds6uaY656fbpLFXTiW6Ljqkdj4kE8W8p7XF0EfT/m
2xGgXWbnIASTY4JHjlx0EIIs/r6hAsSY9V4jLHlcgkydjTufbBKDQzvM/ZWHVvhTK3cWvrAi5acW
XyLzWvWsHVwt+Rr7hxExlLx07cmkBA5+iNgwugehMWzH6bMT1QV13Sd7kf0+6X1UrjREE+nPh0o+
CRlrSVfhID4FP2g/l2Z5owYbk3kgfCxrPCvCISofTX5OIJA0N5JtlhRvZs8BrK9/vJ3xhT0ilydu
0hWm97L0fGiC3MdOMEIQ20PMaov9KFwqoDHEC+6Yp87oF1jQwRpi6kdsPMbW1/bIONc4qucMx535
2wTYc1/k4igAC0Lflm3B4Ro5+INtQsCKdNBEZtCbgWAbyFNelLvNhAjPabQ9rb4mQ6doqFxIyzkE
p4bskmQ5sbD7c4zRpFHTFevKqcozXw/Bfb2xRzHbmmTJ7/XZUWenPpn9kok28Qhw4MJt6mP4K13E
5BhHpy5/6aKd2T51EGhcroXHx03gjjkefP2aPtPeRsNjniqcS0taG4zdJfWPlIXM8Rkv2eNReOeu
GfqXNv+kc6ghnYGeWlJXV+2R3fkJrkKFcX3ck9f+l5QrYo1KHc4NolXClrhokvJcfprmDn6Q+Tbs
sjuAmdPEScyJ9aYfCxto4IrmbgWw4USUXKj/w5Nm0Pgz3cdnQ6dabAwiH9blduR0BZ8cOD3lG40r
965i42QzGOpCaxtsI4FkbJdoZRKkoKsl2GlGdjUlx6zRC0clbqaZyMUC6oHZeN08JlREiEgYrfKM
z4dV5WqbkW+Ws5fC8IZwzlPoXCl80fzC3oW7Ll9EIWRIaA3xZh6Un/SoV4JgSwVcTUU8tZzGpOo1
NkOBFMeCchvrt7m8dmhUBbpJOnWSDGEdoQyZ3ZwZgvYdyVdcPxUd14rRH4Ohml4WiTAePdKrgVKv
WVci5qFyZPi0cBHCdf9Wk5Akr2WfspDbkinUsMjSKXUZD6eIQ1UnUzErob+xoW9l0TGrTpa1RbrN
9JG6WyDvl5scrOcW+KhagC7zVBAxDMnrLX48lq+Ziyhi+gM8iLAByYIhXaQJx9Ji3TM/F+zAeaYv
Q57oQN5TqeA9Hqx7WQOu7hQQi/zFOcDIYUPZFzPaQ+VGxQid25UWYqxGIZwFcA88/6rIuECpaOrv
qd8w2BZcZg++6rCwQk7LP3kfVM/U7M2nnm1Ujw3jybj3b7x1Vl45nEzydNE4o7I9GD/KO7IxuLEr
kroHdS09w2tyj4/KjthZ1Nkc7/RRNLo4YleY0fPhKpYIis6c7o1Bas6JZrsetyG0ByguIGYug2Sz
s1BRkPr7Cim2tZEuyj8ed9qvkvkkKvNV8BaRFKbudXPlIyiiN2Ly8oH+aNjNT/krucvcRdvqTDam
wAlHeOqSCap+8RQ8jqfikt6EPy6zapfQzuPY47JoXW54fsKMIG10rAJd0prYYUt2CGM2CqZR4CE3
Y3CfXpMcmf2644H0SkHOA8RNWG/dilcNdjSD2cLj3S57PNB2PcvExXpvDCjqfhXCuelOeXHF8hh3
ZSSZoAz9NQNZ9Z/yHpEmT0oh3vNLhPd6sFGd5x6Mf5qidnWPP2gLhB28ZvWr/V3CiD8wMdo4Gu88
5JWX/jp+UtlP5IT+EQF6g30qmRtu5wK7MKQhZgD8LuZKKEicpt0LAZggmKp2jpsZ5mOyGXqHl55/
8POv7S8ZRRxCvMvo1YdORN4CqtdqF80u7edgsFM/TGyqqTxiLNXMUvhH+ZZ/a3fxmn9TYzJ6W9rb
PyyDDL2pVBpP24Xbhk3f8pPDYRd2C7UgfvJRDXgQgOxZG+GHGwwhkESk7RqlLAcJBSw6c/p32qDl
4oIVAe4ArZS/MQz4jEyL+XZcvYLla8eUM/wXmpifbB8ehmvyIn3H2NWvXNho2DUN0YMdGNBIVtaq
fDAx0yE9Q/ih/kIGyApkxQUPBjQuESH+UF1St/KCWEDTLLP93kBeJmKZJOYlTLk/4t8BKvRVmQ6F
FdUa0yoWBRy/Ii4vjtafihEezxoTTi5FDdjBh4lHnuZ0G71qEOEQi57lkiH9CYu10tkS1xV5irwY
lE3f4kcd3Lg1+RjNY/Ain+YLP8XGjmVPu/SU3sJby6BwcsoNKZFIuIkvImoAbBbMx3VSb4CdYS5J
b7mX/1qoAVbaUw03RkgPf+LpWWoLMzPkiYjmE14T3co3o0wd7duydrMnHnugKettbZJkufK/lusI
wiZ1KPoR/K8h8jRPac9SfBrHrXAZ7vEevhHgteKtExyM7sYfSao1tM5fbkUutEJYj0fOjGzaY5Lg
yRBWF9z/lkwurBtBACFBkiuG67Yb9mP4S7neuKzflQjZqT0YTsJsT8A0ceQIVMtveUHKrbDnMQRQ
vsP6OjtlgLFFuLD4XjTRUIexKfMkrra5yqoFl8+18/eMBPzWYX8lk0pHtpm5rQwmynivgS05CLcs
to05VNE1mcXI7K2/sNjS9oHXWZmvBZtFJAhtuk2LfEPQD9lvtMszaS01xkwkQTsN/gFyE568KTgt
UMV7gYkMSV/JD0FIRByTAcIlrDIGydxJdnvjJYLPzj0FrqtzEmWXdb9SQ+HMuHRL8ErPAt3nd20l
Lh5xU73T4H+HTPx4sKkrZtJ6vquGlzqhPFjrphOgflV3LenUHGPAXHubOzwlSwrqyTuTBh1lVoQx
FzHMwS88/oSfHfDckukubBn68bCr1dcmfNf99R/yThULiuVQfvrmo5hvpr+fQObHWxWlUucUuhfo
3tSQcrc34n2VHVX9mBQ75gx87aPMZ7or2rXfO2mw8zvcfyvivCsAby/wj9FTCrFH3JWRb+AhgHAH
aws0FaEUqxJmC6IEZIZ2ADTEpsApRDJlxZ1KfsGBMpVC1EpW+UvxPj/nfz4Mti6w2SaoKsLyiBpB
LvC0DgFVMLtG6sJOf0llTwTKPeTLB1k8xJa9XKMwxJEPwWnsgY6sZ+Nk/JKzR7ORFJ7RuWi3K+ry
7GYpJ7+sV5ucSz49ljS17XkgQCDZ+yYmStcAvoKIu7QDBbGZQ/+HuoT2GQgD8uGRQdQVy1Jd4TZk
BrBB4C6jq6MQgYKibywGA+2KSp6R0A9GPJYDjeFE/h6PKldLNCOBddNtOHkhytfRawmvptWDTLGk
UW5UoGeJ7Stu27uWgPxnF/dHzL9S9G3yyPEzdslYj22+PsYDZrEJCwdLbqVuuUh4wPCDWNUMPQvL
FefD0G7Ju2UfVQS2yfaB1hPoBEyYwmXWzcJprvF97VhlcH6CZ6Gy7GRYOwiMXnVhA91PmrfpvPUt
xyhuMoonbhBgGgKTp81o2R2Q4OREZ4fmC72XCqkdELyw5zrnsxdHZBSQZ66ER8poT+N9ib+gQH6O
FO5cC1sSDQssAtKGwq+PnkJwk2o6En4yLS7UFdp4/Bo7NDuFimvCU2hEu5NBl4gyHHwnlRWg/2zL
/JwVOzfgUn/Awv6nHaP+0VkLgUuQaVO27G5TDno+sXgb9Q43e32kFJEmryk9Omua3hQlTLLn89cZ
64UhXvqrBqBcP2b6uZyu0KkJPG/M1VAyOTi0sBwLt9HokQ6R+Uh7kN2HgMpmqSnsiFuMVnnOD2V0
KUyHJ26FAwvCncA1XxzlyWVi1ocse7wWnkX+zEjciPYxQo7Am0mAaDcNR4j5SKxHLHOpXouO/vy1
Ejjh9yJwQB8AS7ufDE/QL8JEQsKa0B+58JL0WGO8ZElgwJ+9ZLSeEXyvBSkNUHfDh2hdeIyH2iZO
T/n0UKA39vFfJYg/PrdAG6CO6RjHjSJXAx8E9yXjM+s6wImYMMDJzpC/yfpRDYD/mQdtvIogEUIe
5rYobmZEit8JHnh7jph+mnF3lQukm6ZKGK1ux9wlqYumiVW9yryfiSScfcnV/5lJISMYhk0+Odht
0R2oyDcm2wrsKd+zEfUlT4gPjF8okyZnKvaYgNLOU7AMUQY3dswsR3drmPkNCRCIpLA7EAO/5epC
nMTHz/ZZxqVsuDGT+YxPAMgek+oDlJw5tEOCzNFt0PeYG9wGSfGHBaTL91aC+GSNWIKpe9gB9pbv
lkiOn01apxDZMgQg/KBwfgK7+FMw/wEYYnuqLn9XXOyBVD02Wzcjd34K4mNo1HI2Nc0+1y66ii5l
bWDnTzmqdopJOALznZqu+DQWx4C0jzram0y9peJIqFf7znespkcD7oldgAqM7TJwKayYQvNFlTFj
mC3rTcCslC4b5d3YsYAJj9UrG1C3fXI4ZKxz7f4p0mCOIzOTFTU46weUI8MIFHrGR1ag4hwbjHxt
qbbbeQ4+lDrw8i3DQpIQ+YWI9ama/NPgZud7hraLtSVny7ymQmdaWj1kx3T6k7ofnyNyIs64ZxjQ
ewa7jj0ZUS00JIzH5PC9iZzmi8eVRTrKdBA2SCmsR5AdU8yawD42vX7JEAKxQfwA40EP8dp+qMi0
VyTedjYjMHC63y0LBWb1HyPYII9XYekr+FMOrQck5dKVwcdxV0HocPAZwikVe/SXjko7wg9QiYNg
iLvCWL7lcWbCsV3MLzxzitZbVgfCZeLiQLCG9sScN1LqVdhh642BiV7EGQdP4jK3zlCzpV3xLukI
4uqfXoLMGD629ETVUEYYETfWb5pvaihXiavUTstMZEDK+PQ72+KL4YMjWarzlizVBHxeLlC9UV8W
E87aWj3NqJ99xBfWr04a1yqbKm+e1b3WF3uwBYcmEL79uEXf0diaZDh+0f8gwC13qh59RLH18hMp
HAtnWSUO8tn1L1Z3pArAnk+6EntbEy4IaOqCBXd0nsk3wGjTS/sKwIGxyNLo8rIIdxUFHVnzJGd4
MmE20GkKl2eZrCGD/Jzjn2pGArY16MS0e60G63F85Akl60nlOEnW9Wmihhe3snwyarLQLyQ8EabE
a4ZLTl0pEU1CkNzMzoMD2dFBGvANZU8LqX6FkP8QGPRX0MMZd1EThKtlUIMAT91Y3Q41oih9giTp
feiP7UXodgqTi2w10eMqO94wxgWp3+XsNULKU6YcpEQhV92CbkeCyo4hWRcCkxUn0neJxuDpqIH6
QkcgcEcvbQSF3yICxUi6UAd2qukQwDy4neGJ049fuFWATf+aWgcZek+zrdmjRm4feRyNIbCn2mPl
OjBlPg9QW3DN8XGNS3wEgxwiV3AUwkJy5ZDYkNZri5NYPkzG+PnLZHlSvcfRUAQu9tMKZPFh/q0V
p2MTKgsbIzpGwzI7rsfHLMoHICTk0oKlpyyg1rHL6NREj6G6m/1LBJIdhVRaHJh9ydmuVS8DAFRB
P6DXEKLvSiU4isnpQYFjix9LvDXpI82/IqRyjFJ3lNYlC3RUNNa1al9biB7DpSdBYfbKeq2xvvRP
if8UGbJijsDj/13U9tC9mnJ0S8zhKNXt6yiAQqwDRtQ0jyFe8pgP/ycVy3DD8A3WCYkRipsRciNI
e1xcHGsCYNd1x3po3GQ+DDvNJst83DZ3nrqE/s3WLcw+R5gYWMNp3loi8Hi5ZNUQrjIfRBWn6y6r
XHF+YcfTj8cQ+BN6nmyvLrl1DGnZ5Bmr5B69USXJoa1rNidJ0iD8WMj3QA0YuZzjWKOzgxs95xrk
rHuQZC86oVmpeC/ncYAxn70LEVLYSjVdxYIgo6U44GkFm/w1yEKqRr/mQFAEqsMQ7VhREz2g0tII
KgqRmsUj11L2VpoHXHBxyciR03R0pupN1Cc26W76Qu/1jcpz6i5W4I3b+hT9FAJCF7unmwJZuDdQ
0GhU1ogvajJQvBpEpZioqxjx3Fj+dOO9giiJFpY8tNS2kCDgSYXR3gT2YpEiLcHYh5krakSnvFsI
35csO2OeNi0oGdblKOh4wEoOnhAkviiFcwKeKAEEF1EWUTPyI05esRNS4MPm1rOzhjSUzZY7j89K
fRFLgZveNSAg9bccgUNSLvhWT2DcjNQMdVL7okFkyaPNDAOcuzzQb5F/LqoHGd2G5BXJIY2OJiwN
YuHrYkvel8W2j0c/al6M2AKvlLmysDVGu5zJktvJDznaRv5NyHYVD/DhW22WrHdc13Su/c9oXCPq
U42IoPlWax8V/evoLZiFYKUfkp3+z0fQbCxGpQqoP5rudImgKG9jfExYlx2aw5ghU3IT+Y85jgaX
1YdKvx+xF3ADssROD9q0mgDn8sKiLZxyrqq8QxhIah+JirVd6qdpuLRgcdK9huDKTv9MxQ6Qq9Lw
J8IHjMDoNWZACgo6gz7PrpQiJLarilQmuoMuuoTtiSwPq95rylktkBwp06NvxbukDPq2irjHJolg
lWh+0Tu2hK1nmdm5AjNM8QiWmxkCoW9oltGk1W4OZvQ9Pl4Z/jB2WkB5yYkpzXxnWxXJa0Nn02k3
Frh6JGt4+NwsO5fma7swebZd7aUWpDtbjDaSBTiLQEiGRfQLHo/WKYUVsWJz0wDL0JFurpSr5g27
6T6hJku3ge+0H81P8APyeIB2FzLQOOBk9DuGtmwVmMx8pLAsTNfCvltsBVBWhIJs2FFtA3gzSI70
J0Ovkml1xALoWMWPvueg/GwDj5VqRPnKyv+LW40AN5YtNJxYjfNDpLg8CKX+GnEhdXR8qxGlIHpj
C772Oi+JGTtxECHJosJl6BgxY2e2VFKGbZTiiCErR/33zTSVE8hYcnkYtjl0Szosh5+qtgMMPsgn
wXdh+CXaWjnFo8fWFAc80/cMOyX4jfZuAeTStzJPgxmV3VXHQ6NL26idXyaVBIUBfIlMhHGCVT/Q
SjglFvqroYU9J5v0d/qcriZ5YFuVAjk36/wpVZTzktiCYEN0zxyTYe5xnG1WSAxuindrXpsYIMZN
PLladShK2mmiaLBf7EVrqzcun/t0b9ELWuQnbaf08BlUZw1X1bSvcPGlCF1tMlwiBuHlxcq3AztS
pEg885C28RQMMfQxG3lXkre0PQ3yvdWpdJYMhk7dcJdxZ+iM7kt6nmMLO4hrWiNdHHEv7pLr/NWY
Ngk72TEZr5wxeLtJvYFa2bBjnJcbAY2apO4jE0AAYy4vkSnL10q5xCy2+O9gfQDhROWYeCaaDhNT
FWNkHN9rjhpvRBhjuFpxCeSDSVy3iN6Ynfeav0bEQp5fSJHMFdIGvLm5KOEja7yEXCogP+cx25Lq
KLCy0TnTtpK8K6m056NvgiTzetwdGop+u5CXIBjOZ+0pIPPic86hc9JRLqs4QXEVFKQGo08QuoYZ
IyJUMdEoWLaldSZdqtkJqxO7TphDEDzjXZSw2L8XmdP9GEj5cOr1lNMbCbmtf2xB8fknZckY3/nj
3gwBZmAEWXPqGjSh8cFvqByPou8R9aiJXgH1Ai5Uf6x4muQYEU6kCJGqBhKpNLxZwyDPN7exiBvo
3ok8Fb9DMFMN6H+vNBgcMihwZJZFmZPjoWcxxMWDLgThieTW5b6EFTs7bOOyi4XkmEl+4yo8ybie
uUYkxSkS7V1vaTz6CDp27y9AWtPyAgmP9uibkd2E/MjxGVasYVfYwwemlxMR6642bfsPCSAlYeep
TcCijX+c/TCLCp7uFHgQK6mJAD4K07YluhEtDjIPkEUR6tA101YSg4C7NxakTahJHHnylIIV77iR
s4uZatK2CliMxD0Ww15oTnkgIrMyoAzNCztUlYJvq4JCG/o41zQ6JF3GPV3zkcblUKy72ud7B/Q4
N+KfUUxOnFoIBXv9T0mE3KtHFaUYbpWCDGynLk+tXL4CycQX0WgYCSl4onZqYNs2v+XQz2zQ4F0n
/SQ4kdwCZmr2tcwo1Gfmw97X0zWCMl4KxLk6xxTy8xZ7AdJm3rEs4TXhziv0gwJtgb0Z154+49Uu
Rdsim29CCVGqXF8g+ouK6ZEwi+1xwHA5N7gL2kxIaL6lQ5jNwyWaTExy7d7qCU9OxV+TyCWAYFF0
o2qKCW6WtZdEuWTFR90+WTeZmN0eBVkIWnjM6+9OflEH9o3VsfKPxmQT/0HKJ1GlMEg0/ZEod8GC
lM0oW9wbBLI0G4lRJYd5exPoiOTyXdRvw3AvsD1S/Q3dbrBuZfnCfSLrXJ3b5KAGN1li4LcYJzpM
OjjV4684gj7MLTYJHt+9qt/0nAWZ/6kW7Cl3ofJQQcs1CkNNdzCflrYf5x1hVG0OwPSFUF25AzKx
VxlSjIYQ7VmQ0ISENBjV8BaXW5M4lb8yJvp87VPVWdJDaQ49Dqz8p4DlF+Bu9i2b+TMDjHUdaMjp
ZI+jE6HT70iCVWQGX21pWfztAZOAr36qJasRPwMob0JxpMEcmNlnNVC/js41yOSGyd8XPS9BWPBq
5OBnEMAuTsriGqUZjcik0BP+ehzGCPmokxIL1bQswiEhgUEQSpMlMd2nHO6N+aPIgOyjRiTMmKmH
/gFKc6pd2aCKTmZL20zDfSRtgXxkKyqZpuhfWsAhVKZIUkKL+EcZm/9XYz2pWOZTLz5KBBSi/xdR
5EvDjxzbYbZTwtchvojWi0SYa0NkWXjhC06bm2BdtBqXyKms75zu5IkVodcA8kHf2FXdQl6nx9Ur
+g7PNHig9vsa2V7Ats58Fyh9wO/IgxNXJl2DRlaYRThfJKPg2PfQX1quecq/XysX+L0ijCBhsU6w
HjUgs5zE4snAup0oSK8xYpbhWsuQoUXCGnWQXCybyvaSYRoaP2pAGZz9PVYM8EVvA4ZfPsIogJQ0
XJt4myinKPwO/YvJg0UqfioBM8dJUByezVH4E2knBT3tUPC/P7r6g6DcUvySl8wXhV24AFsTFYRu
fvXU7xNWaydHZ5yLj4oVVda+M8SoyodWOfLAVzi3APXsRLvkylPkto3CP6xUhZnVKzb0UZG/hlLb
ubXJNjAM2YILgFf86dXXhGPQjMBXm/P7/NdWL2WMlIjTtMTyoMnvFYhYCdyR8I3TgAWnT15EvRf0
x2Qw6d/AbdOhOIbiM5P0y1gnnK3H5n2YTn15mstfmiKFewA6ApMZFt1htu2GbVvyGHTi+DH0j2ru
cUv8pTkhJfE+r/cy0kCr+bSyUw5pQD0OFAV1Rvi7sfLZRmKpLgmG5jCNj63mSdFDviT5rVRat+Pn
Lsnx/fwFj9LSu5UmferdWYFbYyBweAvlT0t2k8HLm0MHzK/eQ1YIUUqxs+ikvcnfT6uRCJKWdQzE
vnRelcZ7hpgIIqcKk35gYfH0k+hJHOMoRHedaFntkSW3UTpK2b2RGT1/Rv4zQV7WBm85uz6QYO0j
5HtAmjJ/5KcAMWDsEp09n5JHiel44BeqB9RHC1s7w8BT7yRP6p7cDnxuMnBlqDlT8Ak/yuhuteKN
0R1VR1mSwrrOT6zedPPZQ1xCbZyVFA/MUZ0F5mTdsuSLegvBLpVLy8kZJ/e0+E78KIQYnHpGPpCI
JkAZVriTWfWycuZ6hOtoSpcwv8/SMQv2NNIZEDiF3Ui6jOTY/0y+vG65H/1mL2iXjiqLg3QU7lK5
T1FujyzaEJjicyyPIZppvTyq0VMdKEJWkuZpJH4hqVfcNN+Z0Rf5pmp2IJVdW9C2u3FNv5NmW/kn
Go5p85pr5xxvvMYevNmL8LFnsD9vk4SappNZ93c9KAAfWB3xF8pfiay9g9HIVyQrN+E3CGy81eJ+
pUMCjM2HwZc9DF4wQOicEM3wHM3fs/hDh4ydMFlm83OIadP710m5ybmjVXsNmZt2kTuMzPFWiM6m
fNdybHWV02Tv47RrqXra7qmYr2n3qYtOEgGbfvKUi5pqJxECUfpMjPr6lpnbIh0WQ26JClQKxbUJ
QLPybUum4hFDk8QNtBfRxIo2Z7rV5OBBzFy6h4p1SySQcKLANyTnlidEKM56sUL1+i7VI4dYjltM
bncBLizKUzyXkdi+tbozBHuqdwV8bnZPos9UuY7jp5weEsxhBn3zAN4UJEwmX+gUpemjmEAnO9oH
51ZdfHcRS37gwhDL1INY7lrjoutHodYYol55lqCzCF2rfiYonCSOHV+8xfWzx1igpo86BHi2UVI3
UA8pxfghaFhQIobIN1wLTADrcl3LD7aAhfKtCtcpvNRfleEELIHg5LPN2xKIWGgbkCStDuXuTZoR
q6sSJuVXa/qSqntSg+EavjXjPRlQwDjMCDvLzeVj1D5Uf5kyFPGtDY6zvi8BzYlbnfUaa3qeluWL
AYJQy15Vf5f1e6U6dIDsy98h/Zjmk1G9JA103q8894x5S9FlpAw3QCxAu4FR+NexnO5SZmJoG+iH
OxY+utvhDQwd8iMN4xSzSzfHCyccOWzIfpW/IDt03NMJ5w4ie7Q8LDXLYB3zMgr0ERSOdGFEhh9a
tOWIumVPVm2CF33fBfZP6GuymGJpk/3qQ5PPhBuaMOn1S6l8omi0co9b38h/Qyh8/qXNEEu4VfTh
w55JY/7tMG8r3wu/kpK0RFmkKGoiWxWOck39RSx4+NnX341BfWW89dkmq4+RetD8u6/+tNmfgVU+
fhXNZ4xOt6a+Xlh7u4BBNWlcmaflOniBqw/pHIswYwgB1UZ34D0wexKaQ4FxNMVIUM1IlZnJD5ns
1oWlO50OnlPoIxSY8uGfS3nI2LylVDMBAl+jvtCzhOJxHLtVqiHw0P0btP203DMebugoBE8iz45B
mY7mRahJFPbfWWDP9XMojoO/bSsY6ihFCEKiwCE+BG7GfEiSs7DJsy9JvYvZFXlpzNOTEBKLLxlU
9t8Arya8Mmk2mwq65UU/jDKHkJfG176BQq998QiJquOr1TD06ULaeVP2qZPgmrPVmzy0qrLpNgee
vogyTWp4rQ7gl/51xHAO5c4s32V8esQ42FayuH9cvzhL41MHr9g0W2V8r+ctq9VGezbCg7F5QVXL
KVFvpOmsCZgMwp4F9VXEuKv8BuqaPxykk4gcL9/wZqpgL4IShnPbM4qHf4Iy364GCGGXeiBFDD8k
IS9MUmoSAjkl/umRx+IlnWFMvRUwHItLtpObN866lTW7hnUyEA0FCOKl01w5XMb6cA+07x4f2WCS
lrke9U00eKpyKZRTyBoUtVvcQd0W4b6t1WqJHRWwdAqXNH0lTdBExuJfAiB2sbHpCzSwHmLTXLh0
EZIB+B+KN2ROLLk0iNYnL7LWBSAae8SjogkvPFwtJ7gWv+tdf2liw0vObLVb8BGYnxEFM68bTkV4
AjJqxXiObxgAy+SlL3kAa6cUc1009wyR38vuPC0rIZZK7S4TSSOFHrnLA2RuEFzxWdtcamkNNXst
5g+1svXxovpXaqRceZPZi+mnHlDEH98NH2gqe71yjRkJ/s7T+1xzm3VUmvlRxlOH9yf0goSN5iHj
LCMVJdE+yuRSmehDQH9QdUfeOHvxzPT3OonfPcEH7lSRsolucRmgyZabGuv2ms2HCaU9sUY47Nu1
SnYUbS6vNSnx68JUOnDhM8DpMSQRMDXbY88KY5VWNzmjhHypq07GqfHG3EVCAMqXMHzS54bKO/s/
ppsm07RqzVsSNIe/XRi3CVPFW6MCNdnO5DFFxCLYK9C7UUsiGAtxYCP/+o///r/+5/f4P4Lf4lKk
U1Dk/5F3GXOTvG3+81+q/K//KP/Pf979/Oe/NF2TDdVSVN1QVVGVVEPhz78/b1Ee8H9L/800WlMZ
64nktsQpTXAB6+kPz4mJbColDIe8QZB9DkySJMcsL4FuqyeYtyuG/hKBySoyhQs7qDl0Ve3ckOaQ
v5XTtvkH1CFG5x7Zu7hWctiR/8Url7V/e+WmZCqiaMqAzkVVt1TZ0P/9lfuDNiSGz74/CasKvN6S
HK51V0tbGCm9wNoBYYkfBrDkeu3gC/Dc5FlS3kQiKgql9r8GS2HRMMx0/bUlIEUy2FyJ7c3gDXZx
fe4T07i0uooyD/z8xlQCa9v0/vn//w3Ixr+/Dz52nW5DUjVFEjVD183/632YJKCUGdFJdYijWywh
ekUqOhg5zPrLYGAiChrkBHJaqNeKab9YD5dOyZqjJRvCqTJ9izqv/KqSUTiFpqOxgjikenSPTXPy
rCagUFXECrdJP6D5sFxTGoS7oef+SZpytgFha/wXX41m/b9vSbYsRVZkQ9MNRVf//S0NDJX8Qrdg
XevIbTpFv9WZ3iMMVqN94Kfiqxio20EZu3vVkC+WB918MsPmWk51+hsNFXACAyFolpxCcfW/qTuv
5rqNbN9/lSm/wxehATSq7pwH7sycREp6QZEShZwzPv39QbbHm+CuvY88T/eEmbJpebEbHVav9Q9G
r4mbv/8jjWJUeoPwU2HHD1ZcO5c//2NsNOvSv08rtB/jXrQ3LjpMy6ruPDIMbO6KLKc8aANzb1sE
QrskgPhT9dU2yys8OJP6tlRBhguYbcsxa9CDqEMYfDatNlMZ4qfcZv20AmgTtTPy0Sa/CI0J5q5R
O459r8d0hr+000ylkBefO21MMyZByT2BDfPzr2IT77Ofi+f/vNu/1c/9/C1j9IHn17O//J/HLOH/
/u/0Z/7zz7z/E/9zFXwrsyr7UR/9pzZv2fVL8lbN/6F3/2ai//nbLV/ql3d/sUpramR3zVs53L9V
TVz/dQ5N/+T/9of/evv5b3kc8rd//4bRYlpP/zaP1/Nvf/5oOrd0jXPqP+fc9O//84fTAP7920Pw
VpYv/7p8y9K3D3/s7aWq//2boqm/67au6o60LVuVjmSRIhHw80fG75wtlu3oqiWFZGv+9q80K2v/
3785vzv8D+eN1IWuSZufVFkz/cT63dE1MAHSZDc7hsMf+mv8f57Df3y4w+eyponp5P37ZJaqo/KL
SSF00xSW+eFktu2m9kSJOLEYgy+lDPXvjgORJhRZRBGtb2mmxJPRbz9JiFU2N7Bt5J+9Aq1x187M
VeP7VFJE+zpUWDmMDSoXbjSBDsJwksCuUPK1sYfWxLgrNX1TKxXiAqOP6K8LQxLLYS8uQRAUXbyC
M6QDlIac2saTeldc1DgPTKa9tUoTywc0bgTtKxUqMDAJMkZxkTxrmWOiJda+OLb6qhguOOsExJua
mfpCayZAMvst6UHThK75qeloKmqyuvPC4E5tdOrXrUAJK4lQhTBReSugFjkhjCgX7L4mVNCDhfYU
VO5DhPBA5rrmqlcz/blVVXejSon8YKOPQL4VB530sdCx2jEjib9JArrCaELIJoGW2gVYgYHGHCVo
1C91H50RRdvavkcpVpq58+IZQYhngq+DYIzssrlVZS5+jFlEX01LhvNC9XFPTxz/2vQpKg8mWiSF
59DFqYf6i6rqNNJHCVhFRm6DQZ5ukQhpfj1B/fQOaPCgf7OFloRQqSMk9YrK8Y2N54/dJg17Y7Lg
jVVtUdpV9jhYvXlviXp8LYIWDi8FZ5R7hYpdR2b28T15fQGEzdGw2dUQJS1dJSOb6mMLbUysC5Jm
yEHdBC06xlIBa1E3nXPjjXWMTLXjg7XUFYCWnTFESNiDzqkbmoRp4OMhlJiugwilPUIeIrOjxlIl
LjIlgZZ/Dz2jRWYppUTQ6Em+qisvvreMwYXtrLU6QIY42QkkUldFBBXL9JyBBkuiP9uJMB66PHJ2
OozPL47KrXJWKrV2H8a2+dRhnHWlqF0OOqTIzgKXpp8TJfYbewd1qgKb6VLweQuB9pQoVMgAoq+U
e9RVEaGNPRQssxY0RSJhx2NQEpkZ5ts+zZQqVejW2En7yAk0tXVkCOVLo006xB1o35zUjX4DTw7F
HD8lJppQZSG781AJzLWqDc26EQNQ/cBWwAq6I2q7RvwtsPtkLUKDy2uUakBfOOiM1yhW27c6cxD5
q5T8u1a0JaCAMrLPAgksaMhDOJxWbJNuiVjnnZE3KpAfO6WoUbgeKDKbzKCXiMU0BfWIzMqS21il
/NRGNBniBJs3owyKm3KUyUb0A1Ac10Q5O+btAE2oWRatqgCdq5Bi8RR0ZkwDnFQc51QSW218cH20
n4ZhkjAKAPKWJVpiOb/6dz8GZhMLtbxw3Rx9dlU1Vnbl6TeWb+fPYoCgYQe2udSEjldgXAtUxA1A
wlbYS94LsjMp7g32j7xJi7dEwy9H891mbckG9AHAjiUdDO91dFwPU1QaIG3pZOe91TrfSZY6ELVl
BGCqToeNVurlRSgc7y7KTHAK3cRQDyOd9k9o4zzglcN5rJstxkZNf9+GwWObhl8iO1rElR6Dhonk
SrdbHmoOsFKURtRVlaVomYchMs/FWLaP4QD21s9dYA0apQfd2FZRqPEOzjDOdgerCPqzSGjB3RDI
76LwcapK2sa6G0WWGVej3yn0MENH3dRhEfNF2p5lIFMbYEyi2hvP0SO4n5EKbHG0g/PB6J3bIJX9
a0Z+hqAPypUdZztvzLQEpC1a0W9yzUoeoHvx3HfG9oevRihpROpAnSwT+JfVqXHuNZQS/MEpcEGv
1ec0qcWdTLuSZlo6qSI3CTL/Sk/zV9WL80zmA+0VpbtVCpLyLCUdOqutDjVhS4Nba5ngR4c+6K8d
s4KUbo6F/VmVHHRVrOmvRdqEF4YDIjQ1jAB9Jwz5jBTNVD/P7EXnovVtdC2+vbYKaMhXhIWClKHd
FAl/G76N67zGToWw+agj9GOHKKeHcVDfGBIJ7LpAfjzIdRsnmcK7te2pr2BnDqwfM/eTc9bJQM2i
dfLHMck0hG01H8pZKtHT0mXhTO8lKzwvrETct3maYvIXx7DVTR9EZOqOaFXK0oJYZcTmXa0LbqLA
SOl7NtIvvVVZ0vrDoGHsJ4vOUL2lXKS+epGjXLHJgos0zOMXEkkoHh2X8pJcHdp5SyaEow0VCK8G
WKzHqX8ZhCq0A6cJc2rcJaWTOPzRBLhOu4KueqKdt0m0VToBjCbdJvWws9T+pq26Vx850W5iawcP
mVqcJy3gNEnpwqMahraH3181cPtCtHjN0bpyyV3TDHYzwIIo2LR6cT82La0KANe5EbxZKTWtCkHY
zn8q6Qy6NTYvxZcugYQ+1MiYtywRFYhUk4Fij72zUsPfI8IFeXCfPSBhLiZuGYIYQ4oaQu056CmE
WBzBNDcjg48PtJm7U6I819TlZQ20xVawLamKpe4Y1C0xNuomNAeO8JaO9hy/lvbVBeCd88AOTdqO
ZXbemPp5koCT5WOb8bML1SihID6QlIwafYkGuhwohZiqQAjvWqN0Q5uLbioObmW11id0OfZgpR+h
8vUpgpBftCNdP8RWiwxFgbcOU5dM4nOgINykyEtHR7dDIIlT4eY2qYBBcEvpz5bBp7DECXswjO8c
FbsYBTglALUdgYyEKpR4IUQTSS2lAx0DPkwDdT+A7W1+RCqNO/1RjjXV5PBc0/JvbW0+tH5xlwT0
1CusZUNM5GiQY84DjqXHqTq4qUKyuPDV0IeLAK+pergNKBxVmrqrIHcJ+6vDgZso9I8KIJoWNQIf
pFch412hwoBUqsFe2w432djbu4ReFk+XG6uMNapn3NXUb0LTxk+2+aEM6BRQC7G9fmHz/Uuf7g4l
thIlcMYDrK7aNRarP60Q2/PQ1SB1Mp3yB8/i4kwPSKuWUYPirmHAh27doHjtlQyRaD1HPbTIwysn
T/RvaUSxLiGPgqlVJremrBuHgpJr4crwGGx6+k/YKNk4b2OaZFTAUUBhJjGSli0o+xiUdNjBb6Bo
VfqPhdQvhAdzAlxTA8nGsHWQBwaMd9iI6eCQ1NJw8XTtQQf+gtsQMvd8alWJt8mACItx71XlKsVP
tmdlDiWtPst7Ke2XXKC/R4N/qabcDTpU2VJ5mM4ILQ8BuA9LH1BAxzpMqc1lOAkg+GCh1RChURgl
xacmqaGqsqAD66ltqidZV+uqSOQiZ2ee+fAr0qoQy8ROQa0Xa6V+SynMdeAfIjaTivlpZ8ZLPXHO
B4k0dP4j7eOdDtems+86AOUFqOdSPhc0+guQch729jwuF6LJKZTbawtHVVTsEkuyzeQZZzlQxwJh
CwXYv43QGy06kS9G0d6WXl8ulDz7rshbkVirplOvCmHcC9TDgEV09JS8cmo+fA9ABgboBTuXGio6
AIg1qHsWmHMTelLAh0KFvKimbXkvTUStNWg6zFDtFusU3RmdGsqyCcqL0kArSFo3fR9QHKocBJbB
iqNVnsXPWpcj0Akpvo5QXdTw9YXfNplL67hGVOJTKxGpSdylX4IwoKEeehgZdChVA/WxaQ7WqA7I
nmStf41GQMXOsAzgaFWyvSqt5M7TefBAShTes49QHIWtBY+sG73zACEYW08Rt7X31NK6aoyHSLuK
jYcBVLKv1qtOi+8igxGaXxQDqay8eXQxGqG+RC2YsVvh5y7tNqqp8Av3jAc9xwTamaWsI4HEMMwC
k7dVLxRYb48+usqAyykJUuTTo21Rxs9qVoGvgp/JBc+JcNtC8MqFA2wufggsRlOG8NmxJloo/ZMx
NSms/AkMwbUcMI0Nq6VSwMdL3c+GjqmgQ8HUzy5t6X/vGnjdGRjAscF2UNNN8JmWIla6UmHio6B3
Xqtacd2KzPweuAnt2G7Bou3W/mjA7s5M+akqesjWiEUYlYliBJaUMhFfa0uWF2JUyelLhAXN3q8x
vIlQ/s0RZafB9tn3Gv3aHMx7gADeIpuaXMMIEi+uIDKNWg2ZNIAzlHfO7QjOBlGyznkYO7haes9j
MrNdULHYOLgZbYuxD238SYR5FWiWildTcTeOqFTyiZRd5RTmJkQHhZZrKS/arqjPVelCEvNp/lhA
XDxB4hzwnoEaqiMlTq+/CSEk+nBNwhid21E48kEvNIClGlrdes2658GZ8IwOvuaOdi2xL6rtAfe9
tl6PPcy0ogv1TdgkYPaLbYpIPjDjcllp7aPWRY9qVMAaHr5J1/LXY0jf3IjVswCBDA2VsgajKSTQ
JOYSNQ8BUU36GGjVIaVKdgC8+l6hT+fw/LUrOq5kXQuz9TEB8stbI1NvHSdQHnR18LfSVkDKxjUi
p3gzpSVWot7w2REx+puDCPz7oDStnT66DliVNnswB4Qv2xaRE5P1iBsdx1BqAq8LPVgEba+iOeK7
3HAIC47xWCM0Z755ik5/SgKm0dX0h2YMz3ZkvbRO8dKZsMLHyDzniH4zzYZpazqrX7YF260rW9Tf
eI+aNa9g1eNuY13SbTfbew7dDvyocTOAZs8TfAh6OK/mmD137CXoyvlmjKG/Gx71cdvs1opMr+ox
W+YRfJWuIzkTIT39yfyskeQZKMvWOvXEMfrklfY1hQS09jLzsdbLSzc1nnhg8qwFEMBWWivURmzU
hg2Mm9IwQ39WbJOuB9MHwh3eRQo6My2vxMA7FoqT66F9wtaBiYO4y2vv4sdF6TT2vmQtrBEUHUPs
V3JjbB9zxYy3et4hxt6fKy49hrLlJQMnnkJTTYtg2DUSvVbbkDcmdQ3ekRjVV9MjofRDBTj3awaB
SHMho8YdnAU0mMHRmp21VpVvfdvs2hKcWc3AnM9uJjELobFumB1+JZP4bRnBpIA+bnrVIpQWhNwW
1LselNa9kSLcZE5MkAm96rf+Zew0/bJKVLQCAntnjv1VrkcbNU4e9dFGrisazrIRTKligkn40eXF
RRzQd9J751OiUwttaySWc/HCMxfBmPvR9O8opazroHkclfFSG6yYh3HzZJfZVvbRZ021dn3ZgP3L
arppAz4LcDYjhV+zj3zg/gYMH6r2JXx/8zJt9HtfWHieP5eOe1aVn4dwNBdZmz8g1IU6FTozDrI6
g6C7GuYqrScVIL/g0K4MEK81tGlTTqWEPN00qORk8ExbMdBzr0f1zGejnBVF9j2Q8W0cqp+GsXgx
WSGoI8oXIw2f8xiRxEZpkZRoFFBQUHhzvA5q+Gl6hh8ZGLTRv3Ndde15XwTZZoN0exbni0yzN3Y+
kA7QKrObp8RFS6IvbWRA8IOjp2N6oYW+XWwY52Mb2mtp2dZdHdDc8wVWSRXcBDyQbB5pOZzeAYVU
3XNbnFlT53PoceWT2DaSJqZqBjCwNL+splRBiBTIdNhDiEojPTlPckvZOEXrfDMSzEU8O9HYkEEt
5N1eBfVAp0ib9VuoRzqmoMApDEM4pmnOOkVWprWpkOF2ElIcl9WiRTKwe0MdcdeuAFFDOoNNhBDB
9fG4U/vjfRn0fdhZL4FyHzaEoHmED6pQSyoUVBwFyczc+hYnTfipySuaN2XXh5vjgaf+0bHA03zs
dcZ4X9auwrqLghiN66qp15XTYmvSQ4EL6B/UZ8fjTQP5EM/SDYrHumFQTH4fT45e6yk495m6clkn
yD0P7tfjEQ59QZO6tW5J/ouP+T4CpajAFnB1MzCdVtGhZNS8RU5w4oOdijLrywm7bZrCS7ciuTCR
xk4dhF2VE3N16NtM/TJHSlXVdDmbK5d6+Zg58GYs6ByuMzwqZJC2ggvwiOnr8VnTDgezKVPbwpaq
NjXw9hZCSI2SlxL6yAvy7GUMV99ZlDAb76ulf+9idQ/IBikRaGIkGbfHg5+KPWsOho4I0k5E2wCy
a0zZKwfJlWMrAWn8eKCDX42199cgp5be3iADM4K3YLP6BG8wzfURbK8DGryB/EcHifl3KF19H6rs
XSUpyYrzb1ge4RqOqAV6qvFFPMHu1zyvt8M2nqT5jo/wxFTO91cR6746GtF2pBQf+HcO+iMVglJG
WZ5YMCemUp9a7ntTafZB1IYwT5PC/NrT4FpoDpm9V0njxIhmneOfJ7IphBS6xRlpz09kP4+E8GB5
u7DASDNGE3ovnOpBQpMYwxPn/6HjaT/Y7BwuAVRnKc7tkGCeLNMD+mTIYHH8Ex2cub0BTT/fmznf
02j0+/E2kvGS+u5KtgHwkz7N/ss401LZi2Nyp6Q8PLYadAYfsHJWXNntH63Zd53ZfWSFdnDCOIhM
aRpSONbsjBrt0hiTMab+ip0IopsPvYY6cQsgESHBEvmidOLBHp/AUzFnS49uGTX4IUYcpHvV9AD+
vHXidD8VYZYFlKPf2LYG3rA2eGvvjOzH8REc3KV7szZbZslY+73GrCl+dBHgauSxW2sNYFn0T07W
vUCztRZYFQ2ClkS+wqdFDepbdEUjdMJy7azX/tHmsbnWVSEtzXJmVwhNDpFh30LJF0ovhfvrERbr
r08cQBLT0jVbBxYz+zCdrmVum2fbSEU5AGRpYjg/lMDbBaV8Oh7p0C61dNtQLXrkJsv7/e7RDVNX
NbI/PcqvTeqGi6FIrEVh5ye+0ME4hs2gHMlClbMrKSPLLWrkZJNBMS/LOoYfXPOybXD4O4HBObSo
rb8jObMbSUamiOjibJsQQp5WXjt9/fwP5kwAVQI8oDvgfN7P2ZAFnqkX+Xbo4S+YPqZLVpWhrQjS
9Higg0OxNXr9Nsguw5pN2uCnvscNt7Uo/PHwtB8Hr7j69RC2lLZjSYP/nidfTZ5ohVLnwAfkJWVA
RIYVmIHHYxz69vsxZgcZlc6YNYG7eh1srEi9G7HQtpEM+e+izPZMVFADaWw0pzQYDQOOGEnsgX0z
08/H4xw61PZHMzvUFDwZ8q4BNOhVz3VW3htKe5ElzYOgjvwPIjk6yCupcQ6I2ecX0rGMMivg84+v
dto/2wZAvXByO52y1uOxDn6jv2OZs13DOZR2SllsgyH/IWtSHLfRFoWKrNrxOIeWtLSlZoCvsS0x
H9NYDxSd/HRbFu19MA5YsCIN+1+FmA+lqng/DHayjYyAhlft4wrg+d2JfXNovvbGYc4SAjfTUlUk
6Xak59U17lfDa3dKk37/74Yy2zmR5RZZD7mUs6Wk7kIryDbazfEYp0Yy2zeBZrSlNJMtYIQvgKQu
U6X+BphgfTzKwe8uNdPi02vAsGZnZpXmRa97GemtdWW7GYq2xfnxCAfHIcFYqartaB9KGmaaFWBS
su0wQMa1QLc0Oh0eJ49P7P+fv+r8bQ80zBY8V1XLmh//ceP1TeLgDdWjNmStcjyM79TkKgdrkWIc
oWCkBtdIR96345FX2LiRk/eMRXUnqQra/Ynvd/BJu//7zJ6VIvelqbToI6xAZ+O7p36V6UaRW11e
wLBd24sBGjFyavkZ7MQTwY1pdRybjNkZRbHN7RNWqDpWyV0vsMdAcj94EK7xNtQh9MtKxzMx73UV
6d0ggopnC1Tez6C8tIh0VnSazprIGCe/5R7bEa0ak9dCw/L3jKtpgDET+RGGIJ1e3zdGSOG7cENj
Vai09W3PmwQKzPRTyRNVrsoktlHigO1cFEJE13SpoAzTf7KR2htqyzjLEszp9YL69/G1N03xu1nQ
NFNwgVLCsFVAfrPVbUR9awEY2Pr4O1Y9pUL+EtpguUoEphpR724o6544SbVp88+DmsIBNw2YGcOx
2dSPrhUloVTRxSa7HuL7Fq3y0KqRCEU+z2yRjPIWjhNfGBJjc9dYxKN64utr0yn34VewgFCC3bYM
MR93LCsFf2t9G8rd6DxKhGDcQV+2MEn7Em017MGVkmaGWBWY+hyf8g/bnSk3bUMzhOaomvyJKN97
9qWpa6qDiwZaM9gXZio78A2R8wzdJ/l0PNKHC/9nJPa5qllC1ZzZAWmMNN/MYmKzgPvpbqIMUayf
HkMnUuSfWf2H2XQM2wR5Zej8P7O9NyQpKrPLBOVkoNZn7S44R0vi0t6gPxKt5er4oD6eYtOoHFuT
FuelyrjeB4MEODqjL7bt2v4MjaJ8hByQfxerfos/KhQb/HZXqKwsvWVz4stpUy7xcZx/h57damOu
2kZsIxSpIVypwT+m43peed6jlmXLcdgZKRKRYQ4AwvS3x4c9bcRZaJ45koc865X7e1pVe1McAxZo
Ryr2PSAUBL9hPsE3oOpnoGGG+JJHafDURH+4+TSNboCkcKBOxYP5y6cYKheEPPYioLJ8yOsFMmL5
YwP1JlQfkJOlRTLkTyms7rD9roy7APXI44M+sIAtm3ckSbZJijffpa7nANmTKLaCBq0gUQa3qXkh
41/fJqCsOQVUQNiqnK/ess8HgKTm1nTCYSedxL4elCp8DjNLx19B7esTGZj+4dClh+GAuJWGYwtT
nZ8ARtQNWYFUa7XCxcRbFOV1CS3hNl1LuoA/HSbvIcQ++A8G7aarUr8G/ByvURI4GxHR5ga/UOWZ
sgwXx2dbO/V7TZ9jb42lhjqm9STGtYQsg5rXU/7Z+OxtkYg+x8h6YcOzO6vFo9hOfiUnYk9HxLv1
PZuT2UVkKv5YgxD5Wd7GvHvazpg7ryAXJgh3fMKI68QtNG2YDwENqve2bYBfMmYB27yu4SRl27BU
vrg2+qi5T5uv1LGJPj60U4GmWd+bVbcaAMK3PLv0CD5q19x3/XgzCPfU5zsch1oSNB6d23z6+V4c
uJYaAGPESsPkUaBfUeFQC7XmxDl0IAp7hE1pmZSQ5LyGlJp2WY1WgSzzq9XtKvu17b4cn68Px47q
WLRUVIMSLJfJ/HzXXJ5gHhHMxBvOrdDJz3WAQKdqlIfGobHZhQ71yYbz9H62XCfJ7SivUDOJUZ6p
XqXhborYWh0fy6kosx0VesJypVVu/bLfOiM2Y7Z8Tuz815/bFogavDKoh9EanY0lRcJl4LNsXbdG
jj0LG1ywXG4od/AQfekgSpzYOx/OZT4RRT64bxBqmb95Alf7Qs3jmn4QCvBpcecnYFdycZtb3ad/
MIGSCNx4pv7hbE7U1hwdv9n2FnTrykisrd758s0K8Jv4xUjcdpLa2HTXmQxvdh7IMImFlVtbwPjZ
emiVL0qD44PptP8gWXoXaHYeKBJ4n6itrbqRG3ud4SS67O+Q5VrgerIFo6qeqJV/bAFQg3GEOtVD
KS8a9mxk8G5dJUZ2DcDVMruPLvDVXUeLCokZ1T1DvGBZ/Op6xAxLZU9JmyKzacx7Dlrixo6fultD
tFButUu9FBgK1CBkLdW/O/7ZPizFWaxZSuYD5x+1xt3G4ddyfLDrH6UOCqaWJ1K/DxuZMJSzKZuy
9Hmqz1Y8f6dXBuFsq+QtiNGfnLyf0ds5PpZDqS1RJKeSKkj05kleUNdNEbbuFscvddFf1t+Lu3ip
rDDQxBUmWRrn0AC29RUYp/7EoXtokbwLPTupdM0pNK10t7JYIyux0y6iDf1yuN7jwj7XWSQAX7+f
GO6Bb+fo8E7JhaZ2wXzLNVbvh43Bt8P5GMGAa0o5V8G5uG3Pm8/d0j7PbsVz/CZPpRrTknh382sQ
7jQIcvQsKU3Pn0VjZ5WUYajkoPGNfxapFQr22/IJQZZ6q26rE7tBm9bGsXjThbd3MQe+K4KeeNFT
+Oh/B6VubMO1+gVjQh/al7NBlHDl7EDeYPhwjYXIL2c603hNy6Dio5NwqrO1GxcR8Do93wWQ3/IC
d+vxUUrrxJUwDWI+SIO6kgX70JYfakumkppmGde7CpSwX0Ha9i5PrJYPGSLDEBr3AD2f6eU3u+V6
3n3W2JY7+wGlxJWGWWN8UeGooa3KjbI0T4znwJv2fbjZhqjilgcJ4aZTEwNo2ktn0Vd3BzltjQRr
t6p+NbFieKbKG9qCy+3w4Hm/SnSvGcq+z3D8rVywaSHcIETK+i/jGNqndsChqeQ6cAzLZB/wBnkf
q7D7wa78fNd/8+7t9fDJO3fXYbLsV+0GmBmr8PinO7Q29sPNplJoZqtFXo7rcRpfAriESaHU7tPx
IB8PE+Zvb0yzWy7NLKsOGJPdVAjfJcWrblZ41bUpKkDO8/FYH28Dqn6aYZjkjZQ85pCHJHOzsEqr
XS/wHhluXeXFQ/3peIxD4+H+tMnkdR78c6AIaUpb8EjZNcjNjehxNei12Hhhil9ucrHw9gNNx+Xe
8VSYjs+NV+0s/bFHdB3o31kiTjx5D9xsBNFt1RGkp8aHopcKMHaoixoTaWuD/t8Ca2KatYtk466r
5bAEBX8efwUbfGqlH5zFvbjTz/cGFxSk39MsulfFtfIc3SF1lnwqt98SjMond5472PnkDqvj3+7n
x5mfhpKim6HyTtJY4O/Dqkpr0Vntd+rGu07Qy/2B6/AXMFtnSEg+uI/Ilqzz+6o9cz9jHLmV18Hr
8V/g4wI1qWiQxDrUbaac5X38oE91Dw2CXe+ozdei0VQst4Vz46Iz9el4pI8TTCROZK5Tg56ymG07
l8I2srTdzgVDnEQYwImwu4HL+kXLylOL6MCoeBZqwqIgpE3p7PtR6cK2TCfuuSqx3wP/qa5QnvRW
Cblst0Q0Bdj70tz98vh4fhCMnWiBjp2O0r0FNLhcR0Xa78ykEWex635DKOPV7CpE4WAFHI91cHxA
MyYZkam0ORtf6iIFUaBaXg+I2Jbh2kJF1zeS9fEoB74YI/o7ymy/t0LrzBT1CF9BfJ/dfi4VTN3a
BPerJvNPbMCDQ2L2OMaosn/IPVK9j8sMk5DWoi6Lo3BrWpeqOT4dH9LBKBNEQzVZh4gfvP9IY953
adwOuxEmjx6++WmJS1t8YigHzjDqr1IjQSf5oFg4ixIHhm8o2Hmrm+BFQ8zxOjun0n0fP1drlNdh
JlyWX9Mrea2c+GAfr0+Kn6aweEvZtviwmfPeqBMTCS5fLe+dEUi/Usr+15ceMST3GTNIoXW2jbO6
5BE1SvwTBBpzmpHWaNND7vjiRtbwxz7+JbmQ/50WyE3+liIy/fZWX73k/18IgrDZjgiCZMlLHLy8
1wLhT/yhBWJqv3NRqHxl0miABlNZ+A8pEKH+DvaIJxgZPEpJFMb+owSiafyIf1idXjOUrx3+0J9S
IIr2u8XRzwOHLEIn0ZP2L2mBTMv77zuNtHRqEVIeoVoKqsOaP4EhOApKiircXSici/DSuvO2xhbP
9nX4ZPiLcVXf+atT3Z73a//PoEifSF4u3KTzLEjPUq32MoTtKhuGBMpe/qn0Z5bo/xmCX56OpC54
c8+Wvg2PuEr/GBeO5bfxEuGA7ygQL9CjxUVH+7L3yW//mLB9ROZU3vkwjXvhZuUfK5RtOQxMo5eC
Kg0V1O7xTaKBjEXyovdMtM60X3pa/DlCklWavNTrYOa9Px69LgjILwnZuM/CezQgGxXtiRx/1sz/
EMSY4XD8Im91MUIHrpcdzkjtMtqiJ4e2x5n7gNHJEjn2h2B96m37M5P6MJ1/j82Y3ZkxTLai7fGq
wsoek6yNsS2f3TV6dkv1xjpDzW3l3p9qVhzcCXsxZzeoKhUjcRAWQIxkEnJc+fwXpgHH18msG/Nx
QmeZhxEEaTZOX22a0N7fRGjzJkskuZoX8VQs/CV0ZHSpP9vjAiuEZH3qQXpw6+2Ncvr5XuZTDX+N
smkynAjxJ0GA7vgYp4V37ONNE70XoqYuZKQWa8aOaixupOPXEMRG9TnOIWOPfqjy92r84+rKR8S4
6k/UFA4PUdL6I1GmFDTb+sjMD3ptTFNcf/bs5xhpy+MDnEEd/vqIf0eY7fa4kKNsUIA9a785N/K8
2UQb9EuTS3+rX3hL6/54uFPjmW10EMqpTS+VjV4ILE2AXaHdgrQI7rzHA83KhX+MyzEtlWSLBhqH
yvsvV45pGZD2I/xLD7O+FW+xtfHXGDFyD3TqErcM73R/8tDw6JzCMeDGswDivQ9au22h9AVBkTl+
gX5S76bSXX6hbXAAuw/HMwweThydB0PyrqGEjgAWT/H3ITsL3lXQEzLslDUKbGcODdvjc3noNJng
uH+FmE2l4tZdJYxex4kdLgC28BnSEuyLE0ifA2HgW3GN/kTefHjIVFatOuXASNAYudIrzGi0kUpy
dGplkL/M9/S7ONOM7u3pvjAL29J/rgwMg7x1grqmDmN2EaywmF0NS+ldO/EO3xH94hSo69CypJgs
VYqddA9Jh94Hl5XMC2Tg0cG9zK4pEmLNiXrturp0MeTFzGR5qph8YFb3A9qzW89ohA+cB60eoUGk
t/DM/ZFEv4QL/7nX3sWYLXvfz9oyj3rUhvBEHfRntGqPr8ADi/xdgNkiTy09kVXArAk9PI8BP7W1
tjoe4tBt9i7GbJWbajWGkclEpZf1ZYDE4Sf71cQl4m7qNHTr+gUTjOIL+CuMU8LzU2nkoSSPJr82
Ad95vqGN935hdFEWK3HIEPUNWEO5RHv6XCzzJxxK2NurdHEq4qwE9OdX24s4O/nxDgSeXhERawSQ
SlidinOM0yl6KSvrEhmx/sf4Y9DPrnFXWyxi/vfEjE8zOrtc3w15vhdiGw2y6RdQtu6de46u8EJZ
qDfxC1Y7nM6nWt0zVMtfA0bGFXQWzWh1Ohj2Nr4wa6+E7zzlK1TMi4VYCPyefwTXJILlMrgPthT9
MG1fNGtUmpFJwNgNuLZ+hsf44/ikY1WZLk7lhweXNkzhv36p2Xcf205DMYtJkHnarAINfZ3ArHcn
pnr6t3yc6r+jzL51mCDLVWos7rpY9muOOiQFt+mNkvzMf+0NxPiMg3dbb6KbU2fewRNob4Szz6z7
mRZBcufOhwMRI+cxieLnIv0H5zrL6T9j/ImN2/u8WAYoaAUxk7221M/7ZXFvbFF6sSfDZ/suI+HG
uGXRLZBIOT67Bz8hDzOVm4uEcF4VQ+/PKpLJjdZFcUGhfqSn5okQB+dwL8TsADSdRh26KUSHNIyr
X43msFSSExfwoReSQ1HvPwOZHYFpnWZ1kBLF9Ki7URR2kVFA9YZOFupNSFZcI+Jgpqvqttw0J/KY
aRV8WKF7sWe3cq6WCUMkttjg9bRut9262mGRszn+rQ4f85RLBQ8HATVrthrTrPt/nH1Zc9vIkvUv
Qgz2ZWLiPmAlKZESJVmW/YKQJQv7vuPXf6fomRZYxMeS++FGd4dvd7IKlVlZmSfPEfOGPMcaB+o3
2+ihyGzwe6kfDe5/yOAhqwfzCcivVVNyWuYy1+P8p336lMr90DTG6Uvu5B3UFRBu9XsFyLn6tbYi
ZsJN9Xb/N+gt7FF385SDji8+PT9t4y456EcwGx/5Z2KXsyAeXJvgcAd1pYXZQeZq1z0DRWkQwSKv
16iwo0YzOokZNruWf4OCseIZecHa6wUn9tMA9TX9gg8rleymeiwOslN4ILY0pQ8IONpf6NWse+E/
1nQqlwJcvJPaFtbGOX7AjIoZo6xUgffLiFJbTz6CobZLmYcECci8xPiAwUCwWG01cHEB5sy6Pldj
+ufa6fmycQDdVl3g10BQC6Bmxakyu4JgDs6x4UCc862drVA1wVfWW19wJHJwLh32czOokDTN+LLi
6SBj3h9dQK/fQFDbzO6BWWc4LeMY6VRcCv0BnE1kpQrEIaTksTdY54h8uYvFKMDPoIotkEYA/nxx
d4DnsBmzGhbw2gaHIvQy+9DmoHnlC4+YdXJUCMbJMcgl4/t/E48WlqmkJAMpcJz3sCx74btyF77n
7/E7AEKuvH0DmhWUqy3GoB9AkG+xno7r8X5hm5ywxarHHu8tPoFtyPmAK9kHQ79VFFYCL5pcyQEL
UvnTh6KMFzqstGfdcxe2qdBQhgBSlB1st26+5Z3cLVAwkp+KbWGHP1m57uoBWhijwkTtC8KUkU0W
4KhtDk2e5OH6d2RYoCfjcjmXjICEhkLsIQ0ElTiZUb9cdffPNdBjcVHBxaBNhAV+mPdd+swZNyAl
hUtAJxQczNeXs35NLaxR3p3yms/pHJ50E9Al5f3I26mr2oMbvTfv6Emj028zLK4G14VFysmjMNbi
gnyj+Da/5e7Se8UFb5OdWb2ViBh9Mn2THVnE1e+mowOB4gbIyGmkuz8gL1aiUzEgO3T8ht+BvvB7
ihOp/oZGcf3051VCtL5APexquTc/Y9xL3bDR7eTE0zEIYG/ewPizJGAI/twbJTD6hZBjRmlAaK0k
+64ZgZs0LyK0YqKxsn2J8WqXyDe8MIhuJEo74PfDqNG5wTJXZgXzz+QCgSooUhHuRtxNDhRLd609
OaLTfIygMEqc9leESm5+mO5HIN5V1ziCTvkouuWOB10nI9ivHj3M5f/fz6IrFlOr5XMDEK05ur6X
g/HXrW+Gt+YWEkUdhgoIETrjKqW0Jf4kSQLILzE9D94BdOnPd0KLxaYFFwR5Cqse9xLfG3f1bfie
8JseV4FbP843mSWb7Uf/3Nynh/5D8kAVDi09yUpeILPoXPeFtUOJch5pdqIlotD4P3GapAKcvoiN
wWwmxp2qvF43sL7HCwvkFywif2NgfCkiFuR99VFvcze2E4xPSB4k0Sx+w3Tu1RXpIFQCmhIELHSD
J8kioa0avAFJdUP+gGypLWz8LTlWImTTkJ/8mz0UgdPHCB2eNBeyAJLSiokfwGIKXBykqAwWnGt1
D+E5CjrSKDADmX2+h6HSJSqnYA8HC+qukklem4BO7nwwsyOTT63Svv7VpJXKpQHAjoEuLLC3F312
9FuMWBXIV/NU3YJQgRSZ3Fu2geqAmJr8jnfS23SbPGQb7XFw8Fnvy6dEMf+UViBKYNXgvNwOdxpk
lkvQ2zqEQ0a8ZxelV/dm8UvpV04wYutBU4uuwgsyC3QXqr1vtyikzLMFFIKV7lktr9WH3dIk/TmM
Zhh58jmQSEHpCUzbmLp78mszuoFMmQ2x0SOYj0MwG1piREoBDKdd/zjAr2vgUwS8lEqm2l7yR4l8
HB6jIFEsYNYAA2GSaqUg1b9+EEhgpgM3xjMxl4pzjQkh6qaI+obL1ZP3eki89y3eyqor3zDzQ5Yd
KkoEQ975cQkfGqzkVUS9bMz3hRd5DYCYijXu22fpNT1A1NsDw3/y6/oi10LGcpFUSp74ac4bJB/I
BP+lN4KnJMm3102sJqFLG1Tcz0q9z7OCLHBXbsHqj5kuiDI8x196Pq4ekMVXow4INwO+bpCMV1DF
TaCh6gotsoyvrDRhXKGrWydj1BNDUKhI0YCBqB6SjCNvfqOrzABs6WLBOOwsC1T2DkaVSZxBumoq
XQya4DaGznXHyE/Wg8hiGVR+Io5DWkUijPRu9QpxY5uzEvTvUJL984FY07MXi0KXEIMTRGWKqGXx
5M8Xl2LY1UBaJAY8OB4szHdNEH/72wNHTKBBiKFKiZSgqUPdTShxBaqGgghk5kzNFTblTbTVzekW
S2JjD1ZXtDBHnW9dLyGtRMw1zuDMmYV6HlikvZPQeAtWbDwq89+sm/cyElOLpA56qjWNmDSwmt8O
zxH0OnULlKzH7Nj+Au3rtqwsp42shgjCYdHMqEWi31l0JOaBwET6hDYbYH3nn5Evc64cap3scX4b
PIAr1NNtf8O/zE7lfgHgwbJHHRt+AguwWMHeAJJwNBGGPXp6lu8GYMt/QO+E2fIlh+RygSrIrdHb
vqw3q6qWzdWM/U2M8jYaStBF67Y+M2oiq2cHiAOMZKCsfVEoBXPREOQ5vKFUIFYZZKBwPTK84eLF
c/pS/5igs4RsKqR4Jg5XfUwfKbfnZ4fP7H4rbHQbxP+S1UOTIvegM0zG5dkFPcYSTxwMC4evC0mp
4gj2uzYFX/BuCP/2DsMCwcWDvBe6VRgUpTxhADF3U0YgLQaB/EEt653fs2r2F484ygQVifspkFoj
hgkwyG9lZ974t3iZOPEGI1Euq5l8+VymrFEhWZhSPekCWCMT2LO+CQ7jveq1T8YLj2Gh2EyBdtas
5Ha0fNNvnRCYB6vqUR+1eHYvnbF0miATzbxME0NCCX0X3s/bYJfeEECVAEhV5LLyy4vb+3zlNLRD
gDyWUGYw1kfRFqqISfwuNbdgQGO4HQXixVuUMkRWvTiUfaCkeuD7JI/tnoPRLme3fidoKtWGIJFm
x7qdPwxPr18o6ZLjSAcWhYxG4dmE6T56jUPjt9kAmQxcF90ztGkxeFaiEjJ4+o/OHSJzsrXn8ki6
aNcDwZofLu1SS84hNCIMPuyKQgdJzfu8+3ndAGth1JWglkFZBjlmFIPxVWp+lBjaVzjJqsCUXYuM
abpTyejaLlL3QdFBtj4PYEz2uLf+HnraxQPXmzLERNB41cxxo9o6SmmD7ZtSBZJvPBZBb/5NnN2x
cstvrILKRRZPDhTQfpiikXTpIudoqlrPZ7K7YaN+58HcV+tuOt9iesHWAjBUR1BiYuLKVj8pBFPB
5ETw6HRtCVpynKh0MFqp9Vbv+APS+dq8/lUxCL9yYAEhBnwY2GLwb1ANGT+BlA4IwhGOQP47e6M6
BXNkZWUsagP48me08ua54XaYFJ+2it/3zXfQJQtYdDbkIEHp6lpF5IRvvyaDmGwzrQ9LkIPX5WRx
RtCjGB4EYAlrTFntjLs24o0YynzcnLqTMYg/siDsIq8uSiExPCUNwWJucXLDBaLVoGkRQw8n7DK8
usUoCiAyZASJKI1QIAwbuYQ0ModPZhPeCciF9FsF2lAD78SzDnUFEc/HqrELMZ5b3jXqIRcqNxwA
aQPTRD2PgmJVTavHo630IpSDLEiuS+pgSZwoDdA4no0Jf2kFOcY7GBpiWi1YpF6SC6CxAmX6b7GR
u+ll6NHyNcy4lfVWw/hWoinNpuT5SX9BjjHy0I3JVMzQmBB+5NraKuIaPFJmQBgjoKsXRoZam74+
gZkErGB+iKc3ptEKfIWhUkac7VGKAh4quWIuVuiQQ4osxETawN0AejIlm6CHjsKDABZ7cbbBpD+L
N2oplfqdhnpw96tO6kh1RpAuo/6q6ZlaHvR4nrRffjJX/LYas7R7yKYoUcD7HLQFD820EkK83UDe
JB0HQQrAS2Qj7rACUOa2P6sgHvhtV8giISHQhKTGBHhFRGrqsrrTy0BQNmC7F1R8ckjbWFAEgzy8
UGSZ4eBAVfV3KezV8iHWoNn6Hk2xImAIWYXwUxWhKGD3TQvl4ynIqg8jnWvxIwOXnfyjhJxq+2MY
1Fly0klXWmvmOwND7o3OD9/4UMX4uzSqhXLsurGSbxu9aqY9JrRiNGhLdcbcUsyPEVBqxaDl6jse
MWO4DfLRVzbTwJfV8zBB/Q516oCHsJkZFKEPuS0kd68QKNQ+WoPjarMdMax3mxegBzzEksyNhyBR
MtmFSqFR3etZMk67dvAbWbWKvEy0LRwEwcOcNCUYJbPX5Sp1JWHO1IPG9Zx/nBRpGnIr42LoyiV5
kaepmdXlDGlshec03pKNUmzQXlYLo3c5pHvKLymWB+iYRP6gS44RV23/JJcZLz5lvsYXx4rTuwJs
UILk5RioTCBfk4D+c55n33eitvbV1gVKJhEPVSnqwVZS/DiCSJCsly8Y4gyjfVGF0ZPUTcb9oA+6
pWM4MfH8bkCnDRIRKCMcCm0Mxl091POmgggMuKDHUpqgX9GEsq7Yklo1+WR1QuyXHdhBkYWbZW9A
XAb4rSxzo0yF3FUzN7NgyXGn6Zt2EuTgLq8knBUx1oAqlPUpa1OzU4yxC27kbKpmBUwXYaG4pQDO
wR9qPkQBXn0ZhDZRBzBwPI9xLQvcb56rQJFhhl2a/CyUGOSXAhg4w7fWGGP/5yRA2TPeciIyf+NW
SvqGbzxoFSO2HLs5BUoE2khaqkCGEBRpdfk4Ga0UGQfEDPAwWXM9RHx3NDDgyoNtWRHDRnRAJ6xV
8lOrodw5b1tMF9VPXVnI3PQIlkQZL7VIQtxSIWkRyncoL8hyC1GSYIrLnZ9P44TeM4hh35MMZHEd
et9FmOT2LINQsMTc26w2T52stcIevAsiQPfipMPHPT83+BpKYGJXy49zU3JcClGipNfwdOrVSCza
uyqKRd/fh3mVoaaIDdTCjpF9XD6n0PIl9FGYP8Ech0pdInNcaj60rULIOqFo2N20vKf2rMz58j4k
RjRAgnVCRE73mboZSYHmw0jQikVqNgGvHdNx5t3rV+LltAEhBlnYoV78Kg9q69CQSMmuMPekqQMV
DzLjoHn8rWgC0/pw3eJlXnxukHriIBZXoSTDYA4sRFSOIIr/rkaDgykSxne6rNaRtWHuEOBqEMlc
tEWavoHfzzBF5g0E9KUIXlDb827hDhuJVRskOeF5GndujUrjAi2KmixRCFIX2j0gRUicwFFtAWJg
YG+DWhgbPr66l4sFUtWhOihUpKRYIMSoisqK74f9uAG3Bgpe4GHAo2r+kCzIZXlMUQ2WZerYlHlm
pABBoPkKTSFBySzwsSC0ZZYesN43LFPUgdGDOpSKEJ7gp44iAYmZHKJNdOQcX4WCHd441ZYATksm
9GvVBRe7S72UM8UY5oDsroRiRpS9ccrIOqHrJkCbCL5KVExoXhmQ5qCymBJnmNy42RqQiyQz5JZh
xc+cigIUMJYOq/Gw7vPqp1Xq+RRD8xkNMOzoYIk1UHviNwIqf5MfjWP9Oj0mtrFtWGWHyxcV8Y5P
m8R7Fq9UdRog8JmcbNa3Y2aBVlHNHe1m3oCg0morCxQUjanoFv/0b97iMI6eG6jIDUGWJco1JyGF
CtfpS8q+GSav3PCutpMlpqwK9NpZBSgAo8iAC6oXHFwdxLQnJPNwiwhBR3uB+Fh4T8Aq9XfuGQhp
MHKCGs/Ca5IBC7q8k0CrKmikaqQBFU7Xiau2idqwQxGAK0uzqGek0RA/8n9dj92XFXY8DZdmKLeP
uLjswxZmNMHUM2dyukPngWvGRbwJMpf4ocaKq+Q0nsdV2ETipgG4t9aY1eS+x0wC6bV3DthmgHOH
lKfdP8/7iB1SLz3y3Bp1VGK+FwuNh7XGgfozWAyBKQHCe7RQmEIr9Km2cq/aMLb10jnOjVJxvEoM
sBc3MNraUFzDSM6vEUVo7abYo665g3xrzQPhnv6u9/+q+L3cXeqLEs1ZYIVP6+0gduZUqH2POxTh
EFS/cmetFRfAn85jLhhcDhdNcKnzgyg1YA8Ph23m9OifJV9oKK8WHpd2qBiXd51WVDrsoDPjaVD1
c/A2Q2kFM4f+aGO0ZUZVBQJboGR88F/m3INgvfYsvxT3+Y7Ns3rpnqAWRBZyauQgDlK9ZmmOMI0i
Ic6jkOZNY271aGWIxtP1c3R5dgmBIehUVdBwQhqFuimFvByaRIEVrROyn3kcNm7EZyIryK0lOksz
1L3od0aY4TFI+iXlFm+c4UBQV5qleTWomICBYt7El8BDXI1Lk+RULW4PvGYTvJiwMuWu3WpvIMmV
nWjHWW/GXrDUENckGYVi9fdO5aDz0LM0C2Kcc7MCx8/9FCHLIdVraBwWqhkiiO8GR3xuzEY2DWBg
CP0UcLOubwoQUfvOqsatXSmfS4fXnP+GHuLKaGpjtwPUH/IOOXMTWPHNKLCm9laC+/lqKZeRMQ8f
nDTgdVDKvPJOciPcGA6QVCh8OZmN/NX7+/OKAUTSfIOCIyqN50vTgLgZ4wxflZOJOPNB1RkOsZ7p
4OpA/k+4cOlrsYACp2hwgJM0jnGHytfs5va4qeD4I4S7bRLiAvDAXV8W0yoVU4UmNRIQqZOK/IR9
Sy3xA5/N8W0ZgotOkbnQGrP+TXcKWc5isZT7l42Osc4SZtHkzCGgjcHEKmDRBq7FGEAO8SzFxD9E
zag8LghBW2mQtWE6qHAkaCji74rf13fw8j7ESiBGixYJhPt0euYiliPULMhKajF29elHiEpL/62v
rEGL3eumVtfzaYpuKQqZWEc1WU9SoRPUCKgBMur7aw4MgTvwWRjQE7tokoCDU8AIKSzgz15HZatx
/L0KAb8pZbVHLzMlbJuCLAnwTB4VbipKSnhNVGF3Cle6V6hu6RZ71FXdzDdV/yvE5aub91kJoXEj
YlY1BCSLTsEWyYMWmZmD72V3dvoavEuIyhyT5HjduRY2qdunqycO2vKwyXvw5vv+MbX92DQOmqXf
QXYeNXo7uGMBPldj46Lmo1BbK/RZVOF2J3de8ZrodnPEKJyRmGhyCVb3Di3Z3GMRE695gSGr6AOD
ZUiWVSor7DipU1UfwSueJc0Tmz5JPUUanlQxhkBjL9wUMRgoGf6wetUurVLBK0M1NfdRW4SEMrDc
SJVu687EVLonI2oalVU8AVwNWirmFq/5ydIwFb74ucsmAdV+s32ZXRBHghCRQBB7B0L1290rmfBk
UiKSy5O+4Jc2qcMkSOVUSjFsqolJuuH+1phNoF3AXwndDlYlY80/QRenSQjA0gr1bxb3UHLGB23t
2YWcLKEE781+J+2SF/bExJpzLq2RP1/kTCha1Fk0wpoR8Zaa3QJ+al6Pnetf7HM91AFVwYUFJlBY
4NsRteE+K80AZ3Ook6yxs45j3KundvLl1/q0Rx3NQh5ACjTDXv8yfaAoik6SUtvQWidIWlCkiID8
tw96YXYY2IhAoCC7rfUFAM9aNr/cWeqkir1QqxgoJ78DlT79Y2pMbdMcEie0G4Li6VoHkaL9xnys
rUeEzw2gjiuXyZPUE3xlvOWfyQQbqRYFu2RfOhg5vg9+6C7ep/t/U4sGNcZJSQDNRbo3K3DdUOQh
vAQSaOYAORi/ZJSHVk8SSA5UHkkFsC/USYrjIkkV4vsc+mJ9eOi40ZmMTS4w7uJVn1jYoU5QxgWV
mmWwkxF1Z8Npm8C97hOr9xMIrIBZx1ahy0zl636TirlETCQfJYgBCAdwsgNXuqU+irU9bGMH1K5b
htG1J9nSKJW6ozcTCm2IHEPfA2ZjKxjVDgHQr51wEyG0/KsDsVgjlQQOTaWCOBCsLJWeb5T8XuB9
m7GiVR9bmKCiV6uIhSSSbYy30pvxJueg2IxdzeH24wd62Nyu9ybm2AHLKHUMxTRukizANvqacCPw
QW3Kg3ALde6CETlX8wnMTOhoaAGVd8Hv1ytSU8jkbidAywDwfx4PBAK0HGzxFD34DbPsu3pIFjap
w29w5dwBzUquHwxgtptuxr3OWYBauX3hoTLK1qRa94aFTSpUVsmk5DV5gNW2f6wOemJzwJk5ZPAB
qsT8HfmKvjWyShQrfk50FkSN8A4Dw0Id0HCehKGucXogxBXaIjDAVuCAXtlMXwvAo8zTa9b6+yN7
ZpQ6skIhol9Qwmi3m6zsFRf8dBiAp3a0Q2XLL3WE2Z/8N3NUZuWzwiwUH8Cmh2EZGoQlhG3fQPeZ
JOHNc/FA2N4gVrQtXzGgjduP5ftrCSLsIUgTKlaFp18ZQTf4aTwPJDsUJCSIwc3gNb+jb5EVHqqn
6k687T22SNJaLQYII3D+SXgnARNNnSSua4pYq7BMfsd1XgiK1NcakW2PacOnHGsmr2ufc2d+G003
f9SSWA/71VO1+AnU9av3wLVMZKcBQ43NPGyPadbbjFO0kpKerZN6aaRBnCkjNLVRPKhejRt/20Ij
BwQYBHvNKsCshaGlMbqVHQlNo8Z//GQsQBZ/Oz2TGcrIU46itlFFmz1BeclohEE9qITJULiF3tWF
hlcMHQ/ATxESjEc8GjFEeUCZCbp8juJJqMfIDUoj0l+3R85tUq4JZFOnpjo5PDx06YADsfhA9M2O
cFdc/34rVwjh4gedL6Q9dPSAzrPuISi0AmzRuBpriEOMmzGZofLEovdYPYkLK9R9r0oxjkiEPZQy
QClCxWq4p+vrYFmgIugISEIvRVgHXjK2n9/hUDJ2aq09f7ZV1Ecp+6DvM3IQ5OMIQvrUnn9FHgBJ
VvaDZ7bnxdUwCTgFbl0IUoJ39PzDtHo/iS3gv0iRym2zke6U1CWYAMI6GIC3+k5KTX+bPnJOMOCi
wJXh1vvhV1bY/2JjF7+DuoX7AVpHNYljUToAaQEZyh6QRMbekv8I9VJC+omJFE2EkAfIpc8X29Vt
h0oyEjQl+qaVuzjnzUm/j3lm52rtuMOFVbD7Y4jtooGtTEKFuT2sZgCpQ/IQ/6h2McCqFeCqAhhC
qg6gclYYpqQOCeJZBe0bBtnQz8Xf04PP8pwo05+aXSjP730V3+tzbwOTV9yMgz7v/bJozX5QvX7q
t6HKJ7+mpGucv/+OQJYQqQ/CIXQKrYvndZE2DcTcgAZVZ/8WYnYbcWIpOq2GZzTNeSBWMQt7oUok
Ga0adREGN7LnCC7iNB5BdYcHXrSVfzngAAHyT4N0RR71EBBWEoO9/0vKQZsc//0DDAYgQ0b0Z9HO
pW5xPSzGoMthIE4za5YTsxFH1gtszdOXNqhruufUHocSNiC2hVQPLy8rRAu3dfzOExweRUnWiVzz
AgyDA74Mwm7xQsrQwPAqah6wiEkbix+flP6brr5eP29rqTSZOP/HCBU4uFbT8oRsndaZY+jgRSSr
Znecb4B4tLXJTPWX8CazA5dZJVu7C5aWqY+GXoacZ2Q+q/kQXGA3kH65vVk6BUH4lweQLh6ZWS1r
S6mP2E3iwOk1sekAIhxshsSsc1P6DkJvL38NBlP+BWmHiEl/KJKrkw6dy8VSobMRilyNyLeUj9Vr
c8AsWGx2MRRkTchI+DYIQWsTg0az2d2FDhRNCtAjjffaPaseytgAg2qOCXHIo+qM35GOj2p164/3
EzNZWf+wkNfDXSAjsaUuea7Uq7blEMO4KrByFEA75muBZYL8+SJMCnKqp2VAttPjUjeEAu/pxtUf
U3DMHyQnefxbdZY/9wN45f9ZFtnahU3QSxbVFMJmW4jvUzts+7z2rnvj+tf5NEE5Y+iL3BBo2Ln2
pIXXPAEm+zMWM+e6mdVkebkUyvVKPea6mWzftANVqwL6FlD8uBCGJQW/3ivuARDbsZzv/+MDn6uj
nI8DUCvD0A9wt0cAxHq73Y5PKFKU0JMCMr+yhFvBPM0XvdSYkTQ8kD5Kuj1D05LlBcwNoNyxNnJw
5fn4KdJjj/KZ6BEiCMNq3PRVK8E0+ZUxv5WBVFyDEORAIw0I3As9LS7R5Gyc0EhTf6LMjId8/6S8
gN7EI00fSzrOA8jUpWeg7u8wyr69/s1Xj9bCOOUxSRbOQor5P1OWjG0nQTh6TBwlY6Xfa2agFob3
O9j5ARqhfD/l9U7PeJwscIJZqnzkxfdIZRmhMhjS9CQ3FihqRLTfRUwxn7tiWftxXQYqj5qTfgwa
M9oQwB/Y00No5JAqDOsqppoEJ4tQtgM5D/4HsgN6XX1Zz2E1gGcGMlcnFbY8tFsMcum2YEeIPa2p
Yo7J8p+i7eRG90ABALJSeiwfOjWOP++R0+/AaBD4idD6RQvvxLO3CEJ4COrJDEoRTO3PNl+IuYms
1TDBWWyH0oC8pMoqM+R4y29HLx5lxgvg/PP+MY+0lGgdg6ToIrTzTd3Gxazp4HuSzJmLrJobzFli
QmTOyxWXdqjT2kppPxoThJtRaYvM2c7tZETCVVnJN/5b5GgP6uNsBZBtNaNH3+lHzAUxKVGpl+Sf
H4F4BMEIICAVQ6eicR2o9VjwHUZwPMkVdBMH+ofiELsQqI1co2RsLhWV/hjE3D+a7ETf4iIxr3PM
cEgNDpm+173/I2Xs3PSAVAUYSDYr8/k1ejKIkITXHFG7lGDy3I/mtkrrEYHQlPvWFDBU5icsLaLz
tBkmVBAMCAokWfAX5APkRC0OrJZUCQSWOg44yx4sTg1mc6FY7IGCBdjccMfEy18sCZ1tGeQnUIjD
V5PpV5xozGWKIRoFpeFyWx2g0Agu3RoCeHg4Puk3X4DLX64QWiOyCMImUYLmB41dKZrOSCPon5nB
q+bflaDqim3DmXcz9BzQKQQG0L4eyukgANTqSToQ3ALgPYTeK3WRhk3ht7yclziY7Va6Ce3ezLaq
G++YlTzK3y8sUffknHW6GvINuHPeBlTVUNq3sTgrzrzs1jiSUS6cy/AbzzuMJZ7nywQ6ip2EjhQW
iGL7hTRqoxV8LCV+eeoqCHbmRA6ENj3Cy8f/Yi2TqgLDGkZuZEI+BrgYYbqiDqksiC0KeXyJKnD8
HgQmcLJggTYOqWammGIPn4UPDF8SOiXNnkFK2zK5vyiCVNTXgbBBRwOXGYQGwbtG/YQQQ5ti3MSQ
S3JGG1HP7nGQMKO7le3kt2wDERJYvJncGfcq9KdYkYeKtxfWqVA39emoyi1mdJJnoBABggw8/oXU
TdlXKR1WL2xRyecUyyWARtAyxXXVjzcteBbajXSU+D2Puzv/y7Huy52lvCWZy3wIR9jrBtHS4n2L
k8w4rVQI+LMkSC2gfQEKP1yQ50FOScqE0xqZqDygNqC5lWegSzohchMs4Beek6vfa2GQuh/HPObS
PI7QeYrM5qZ1JwcFCZxZL38MOhRzZLO6DSMkk+kGW7qvvnNb1pmheMz/d18Xv4E6sYqo1rya4zcM
ln+swZr5wdem8ZY8AE3a20JoRzNIr5QbwvCbfue3yRYDBFHoga+uTTb1Q/+KzWGDete/Be4aTYb2
Eqbpzr9FwMtRr0oKGhsvwlsNMHjm4aGtfeP2nAcJc5tn1dNIDFykZH8+PiSDIKsGnY8LUrksbtAV
rPDxCWV0A+GSwZXdLyyMDomIEKiuomCHmqiiYtjzfGFyGzUg0cHCiNJqv8X8YoaBuhHkf93dtAkZ
T1E64yXLgjlQeyE8QsFTovZRSkAEj8oUMNC2BloStB12GUbPUsFKGyvY55vgaT4A1DSZCMkbSLFq
klm1JgsNRBWoTsfs7HdQV1CuxC1adKff4XtIAT0f583ObxRvsitXslrPsBNWOZ3EO+qbLo2eJv4X
WYuSZRWn9BIeoKXuO4UCtC2ny5hqMuQt1HtT1nVHZS30ZsvE3xf2xgCZ9dzCXu/29pBuJCRJmGBS
TNCd6y/9MbH9v9S+/LOxRPEMGGaklRClPLc5Y3Yecl44t0ppRLd90cs3etFD1tqX+sfrAZIio7i0
RQXIMqlHUP+LgG5uug+omz4aL/JOecMsLwAK2kP/vTVbJ/gxov4gP1bbeAPoY/CCNjNjo9e+63LN
VNycul72wx5rzgvdinwJT6R4N6CPkeosWN7aJ12aosJjF6PJAE4j4j/hkwCAJ6b9joFT3gCu7U63
OvDaDiuRWbtbMajx+U2pezyUm7pHbYPEovCdAAHxLiWktfFpkoFVRiEhgPaSpTXqJm8VY/K1BEsc
m00zpiBJ6h1Z+zmjglvJuhkbDSMo0Q//k58sLVJBKZETzIjM+H6DNbsZqNZHyOpVt6ND8tAvKCmt
XCZn+0kFnybAIGWP5B/7Gasg1UpdsFI7SQONcJO3ATthlqZExhGleWejJIJMW4BPGOlWwjn1S9lZ
QgPSB3N+SqAIZOlgxMldUjPucJDs2rAU1I7nvTi54evoEMIlFsiH5b8aFZ+itE7w0EMQbsDLK2MG
2Th07mzPW7RXT9xxg03eOolL0rdm1zm8XVvsEiLxmSsHTqNCFvgIxCrpcODEnLvBQOSLpqJkLg4q
C+mzcqeD2hSjs0SzV0V0PI+NPcRQytyHocaJ/TuiBEFKPINgB6nb+6gBgMVk023A19XV5vELAk1r
l72Mnhmg9yI0mmi8nxY1TTVAPwoHfbQ1aL4ARDzdzbjs5/Er+HfiqvTO4v0BjTIUuiFhSR10Tgcv
c1/DngB1huE1t0MMX8noV88IyVC9xaw5gUqzsozVgIUJKBQKwe6GjINyaH0OuDICLM9sxdGZFcy3
lts68nLhu6I9S1JrjbLkqSnncM23Opw21++ltRiNSgFQt1DhIBUt6jN3WapkCa4lNUlfOUF8SADf
uG5ibWMVFAX0E2oT4KZzE8acgYFGgOeIsuqNDXSjshSDE0KlQFgMBMRp837d4JqPLA1SV5xSKX0m
BzAIku9jHvd3Q9F8n6P4+boZ1rqorQNFiRgP4EIy67nxighd3VFJHV6v9r0mflNGljDWalxcrou6
2rpOHMA8AoNENqmrMBXC/xxbJ63u6gYcH7ci0D7I9WU72wqofjpC/0vjwNSy6fHqaMBbDvpAEKqy
I/baLbj8YWSnFrnbUCVpXBU8flhSPgZqcRuGeEi3sbgZFM1LRwzaGkXnXN/+tQC1NEr5TSRjOyYZ
CWOUfMzi+5gbpgTN9nz4SHzhZ1H7zwhrjKi46i0C5EWIsjgp7J0v1J+guq1yM3TAuJ95BGEKqDlf
X9XqVi4sUM4iZ8WkVKKOrewEzE3lUXFXFJwna/29JBXxrksndGbk9u262dWzvDBLuYwvxWDfiRGE
+PlO9H/DhczEB9gkVqwsFRhrPIER6FCLcAM+XEzzI4RTodZPlLHwKxLybMEl+e8wAM3ZbmTwUgNI
sNG2kplb4Z5VGl1d5UkfGH0TBURl558vFcJoEhucUyAldBTthUOjcHu5mbegN/LSghXbVwORjmFs
PI15EWXgc3u9n3RyX6CJF4Z95E4dRkv1YLr35frX9c9HYUf/vC6UhSU6NDRCpIDnjFyW0SHI7brb
8c9/KpVggJQsxIHsCVxgbHr3tbId1D0xd45CLOkMURV0MFMks6adTPuZI7hRvM2Sje+VLlH5DI1H
qNcBlaxMDqmmRS4rBV/zyaV9KjGTh6CdDTCpmVpdgX0qsdte/csS/inpXtqg/L6vpaGMatjoX3hI
Gj0TlR1Cmq/Xmwlg4C9M4xE/p11kaZGKA3obyWkrYFdlbwYmBXSiCYA2YmH6L6QKyo7ha2cVxBqo
GKGtdjlDFQZ5DLDzgHdhJx0DodgaWu+Neb+9flLXcvulGSrQRM0Mfq0ZLjGJx2xCpjzUZgietjF7
uG6ItR7K92KljLlJgaEsgCyUvBdAyVbOrIbV6uFb7Brld2qMCmSbw0qggNdC5lxFZkZLlg3qdlWT
luurETYIFJDAOZOfYWLpdo8UnLcLt/vCJNZapFx+JupynTA4CfZCnAYy0lDeTwc+vUnfiJ6V4mX3
wuuI8ua34lFEG8C7/t1WQ9nSNBWkyxb4gB5EzuTh8SRb9d2MxzWoe8g4heTEgSVhZp790F3dZRHZ
P+I0QeBTu6wNcSJEEzkvTW7LvP+tHXjWdMrq4V/YoHYVzIqCNvbEx7LuZ6MrpjLkj6D0MHtjsk7b
+F9v438Hv4v7P6Gi+c//4J/finKqoyBsqX/8zz56q4um+Gj/h/xr//zfzv+l/9yVv/PH/8fdlSw3
jiTZX6HVZbrNBmpsxHKoNhMX7VQqk8qs5UIDRRT2fcfY/ML8xJz6MLc5zq1+bF6QRCUDZEpKIawz
u2RtbSWR6QhEeHh4uD9/nqemmS+MuP9N6h9C/v75MyM3qF/mYe7kzfvCTJsPZlb4+fYhGCn55ms/
HJlbKY9NbP74w1NUhDmRZjlR+MP+o+vNjz8g/HugUUT+/sN7I8C/m2eVgd6IztE/MY0s//EHSTwT
ACvV0Y5EFCTk1mDKK3P7CX8GaAqq4lE8hDQY7kQ/jMClmds//gCG1DMVzWCRFkN8GT2BFGhPFhW7
z9QzCdXhcAdllLvjGBR/6F6eWqbPyzYKi+ABF4I8+/EHgactPxpW8LxOUu4YjCDqKNWnnQbJQtA1
rlccaJwASExE3JiuWhEJ2Akqt8JrLi2rCSgpvUlSBoU40Syw+k2FsLAmBSes1qs80X/jx255OeYq
N7iRQl2ZOVXrXVdBm+HrYjjPx2jzjeCuNynafO0VZTNVYrueFIUm3mWWh06TKz2fKmmug0W1sR6a
MlumtihOG96OlOsEHDD6JyHiY+/RDcTVJnUE7FFHBuPmUolsR7yLQDm7GPutO+G5sYWynYpP4JgA
xlk7af7Apy3gf63ljsN3pRUHWjXlrIAPFiLyrc4GSP8ouiFKj5IFDoyZEzBccWOUhZf6Kp0BeiYs
IltI7nJlxRUz3pMc6Zcmt1zr0vFEYuljiw/ngetpNtqPjKtFCxJTaZLGUrWaSeM24q5aQU+Ke9Fp
M2leZlX4oKdZ9SGQFfdiVYBtLc2UMfB7K1xVwQwy4UsV4Q+ey67UJipuwra9iGo/niVh/MBFqX4t
J3YKB1YVEWkUg2WNHijvq0SVbyWJu26VHG3IbXGulm17CaYeAGdB7H7h4Nf3UqQjuiJLgTupdU+H
bQsUMZzlsMLxFIC7VPhJSzk9+AhqWN4FFwqHKb3nQllKvDeYjX89g4At9Lduzx0ZhF+NYO0YtDnA
P9ibA+kMOCrYA2S9ATtB4rszB6J4xqP6CzkQREXg1srY8p050M4AdwD6Cj8SAjdo3/TZHAjaGdL2
IloeoCQCh8lY+RpzIOvEtfzsCCLLhX7EMjE7aGcLArJ+MDSPG67gZJSYp34pZ1e2JDn+RWFXrRSi
nY82bq2JqnD8RhDLSOZBlZrLpTTTQkFc3bhaaCU3esDztYBOw6poJeg8ZAX2fR4ovjwNU2+lfXT0
lZb5s1JtneA3Rw/G8Z0sZXp0lQZu01yVFchXQa3siCB0VhMfydZYDIRZXEqqPQd3kIXQtxb5q7lm
+UHSogRYVsBnUEmgtZ1ZyHSnt2HJ2+4Fv8KgwbkVRnqwzPww09eo6osgXEmDbL7K9DJcVDl4+ieh
Zzk/1YUklrOm4LnwOsrkqLxIixWaxItlqlXvq3GgptO0qBpwFAt+jVZCmsvn2B0a75S3bZy6YfC+
iVLCZb5q2iB9v1JLL0M7XZjEJLz0/KoE3lkQbU3OL3SvKsAQBpD+eE0KB6orIM8T/z4cK1wy15Qi
Xs1rRc3sqdKmhIhYl8fwTHje5t9ZiZciEA2m6IkuunkzcS0kWSYcBCYzXH+lRZW4vnaVtHGS3iLr
VPzqomb7fSuHoTrlXFQYX5ctX2qTOCw9DS6r5/0i2kUkXAhFygf3SlJJLSxzEjk3YuZ46p3soGPZ
le3GWnpTRjjWplUbRL+orS3zxQRsxVmFFs8tMNWrMAJ6K2400gCgKsRp2vi+dKVGgsPPoP0hKAKV
VNCqScEXVTULbZX/pdGyFTivLSFQr7PG5a33ih0jI+UJZZTehFHg2h8bLV6594UStKuplHKxhWKV
Rs7Fi5yTrXgqoKivvbeKvPpUSU45Bvd14QUTWVgpwdPKIXY7Cvgym/qihiZNjiyG6Ty2K8W70rkg
xp0VplB+xKxqaAWUolRmUldV4d4IaFmd37srvcgWqc5b1jTwON1UNXAhTtywCZB89/xYBV2fr8bX
Yyn26nmgOnkN/nM3CqH2oY6TMxZaR5/oSpgHyNXLcbRQ4kzNbzx77ItT16p134OHJtbIUvmxdhsp
XDgDeeX4Q1RUtgD+f0EU55Zj+c50pYQrtKXjw7q4FsaASM/z2nWtCxtuSJxMqqCs00lbAnHsYtdy
OTcRV40O3F4SSPVFrGbN+KNaxraIPg22o1w0OHK8y0zyffEmWFU+GMurSkh/Flei1VxGpddiPhUc
MUYGhmzuwl5Fdn0ZO2FUzNA9B3Vx1ZiT0CmqDrS517iVdK2nOWCoYhpowEkoSqKCBT9owPDgwh8B
mZuVxOk68cQqQD8cXyiS+7J1wnG54PQKNHm6FgDNYHtCnaNBqdZoc1uv4Kdf8nZZJA9j7Al/Vo1T
SZ97ceRFD6qlOzXIwHOhxj2v9Wyl/QnUu1I99UrXz9c26MiLSejIVTzVfC5GggevK89kWy7ginAF
FqHOMTSMWXDbmxrTl70TVoELOrDSkjIkhxBbam/lSImqKYjluWzSZl5ULjRL4MoLC3lzbiZUmVPM
qxy/XFhcEwTo+lSL2VUz1pGkk6KxaOaOteInRVz51qUAlCtAXW2zKu0FjuiCnyZBxHFTrsoKsHlr
/Cr8FVVJPDiQXY8vAVMGfXs5T7QqauaCkPHroLB1bEGnFuuJx3HChs9tzl+oBchd33mq23hzwVNa
8NcDu4HuhXnhO0kDdcxd0BTWab3W+EgpHms/LP2ZHEu6a018Oy75K2COg3dyxYO3WHBV8Wbl5607
b9JxGNwGINF+36pKA3uQ6FeNHtjO3I1WWGLBRgmo7fITJebEZh7yWQHoBB+ExTtUv2RZ8AuSLTFx
K+UG/S11iPqQANsfT7KVvsqmQiW20FjFtdSZNbbrR6+yJX6S4EKDHvaBXSIMKtniOLtAL+LxL6Vb
cGh9Ag/YnUqWGqJ3DBdH/JXQgmB/apcu2K/rYFw4H2zdakwvW41RgcK74DlCu3BNerKTOFKnDlhW
WgBlajd6kNVWBul95mk8MGG2w8sXTiUE8aJAkw7twbNlVIX6sgVKnVXDtdxUbCohmoVp0vhXybhp
k0ltRZ6zsb3U9t7ZqVo9qK5QgwI/cINP6NxU/+qPU0e+FSwwhd+mGg8wQE1oju+4WK0foyRQ6gv4
D1J7jarX3L/UGkSnp3XWiuKsTkQhus1wpi7ToEX/XrCTe+gPz3FKhuxzpa1uEilWZeihYqMFUy3K
1aWO6DE45V3k3mbjXLcmMAtaPOXUtvnV8khUH5cEF0YlXrXXclpBmetVjJn1aizTBDEcrbzmSynG
kcI76DyU2yvHmovxWJLmahAnd37G+9ICZz1ai0YanF+DK+Vxet9q1Up+4BoQloONX5KAarSCJtZv
FBH06TO3qZXgQmijoFgUop4p1w6XacCWV+hYscACpekNlydC9XOOw9HU0SFOuI5dyymmra0E9V2g
8MTZ5srcBX24AnVNnJbzZgKvAzHu4BR6UO0oG0+rKszmCYr95Ik8jpx0ndWtKM9FLxjjKNTiRWx7
cX4fuZVTTfVVISmP0PUa1AYrVNjMVkUERpoGt5YGp8gYHHBcgqVZVJbUoCUo6OLaiYZrnHgVoA1l
ukCTyAAFmzALzaQWkKCfr3Dpl6+TpNXRkAttZcR5OY5yZLY1K0L/WV5y1ZldN55w1SLIqMJfDwXo
JCeKaEihAfh6J3M5jIcfhvHPNUILKzRWjMeNwTWxW19ynpzBW5P1ZHwlFbJtXcq25MaffF3m5E3h
R6W6zptVJt166KwQzJWxsEpQlJ6k0SSQEq20Jg2asqiI+IvSKkScwJ1jm3uw0HKJ4SCvV7oT2a8z
/9HDytYejHMQFQi2yjzOnOwCgwd9kI3mNeMKZ2qiZlxx5/llZnpes+LuOR/4j6s0FzCRq8a3gbIU
Ezi9yoTzg7BcxrblcbPUje32p1XKj+MW3XdtoELTiG/RlFarAlA8afiC9M5tysLy4GjitLwsmgIH
rpAkmj5RItmJlA9CKidA94iiL85rxBvlTxJfK6hdsCxf/miB8h+NihI13axSKc3AroZeFKABc3hu
bQmW9HOAo9y9KCJPFID6i21+Ah8gVW+zVsvsq6TU/NWDV5Vlet9kYC20JitJan4aa16V/RzIch5c
NHYTizdty8GUqE5V46BbFclFJZOjKI3runpsnNZ2p3URZ8mycdCV4zfbkqpkLiVtUVz/qwVpDuI5
R1GaXThpH8PZxiseo7d96fBudizodWEfUntAXfK2grYRp+cE+AgG5cUGgSFBOkNoG547AkjbHyQK
/Ai9hnYfc8L4DABoIOcJQB9POpia4zEfB7ne9p3nhr6LhpGQF2C1A1+eE/QzVNCKEi6up95eks8I
gTegHrsnfUcvL2Odhi38+AzAVFQQkz6E5IdeeMwMidoBcg7t2H/8fS0/4IlDp+AMZz4CCZTGIxSK
hk0KPDKEHMnPLozyHS09iHeGvjjCveTNsPP13Q81BZwAvcfnSPB9d5teRihqkN7LUHvgpLHG+1fH
1j4weLCHqF5DjaKCVMd3pvBDzZ1+RqIqMOUgVNr+QI8OXh2KPwZ9B+61+493JuY70nwY6oGrr52p
GhQbXBD7d8TuPpgCAUYPRbiAJXy3U7A/h3cZLxLW/eoTHyFc8AUC200bPk44UzQNoVu0Btn9fHfr
T6ApgzY/otCIT5M8/n7zI3x9sPyYAn6rHvp3d97DXg98dwGZPHh5Ioo6ey+NDwhrHcnkdafB92X5
BEK/NmjhBeWMODIS0hJ/6PbhwsP24cSDSwGF+M7endSNDnt39UxFexiUTlLrDtcXaV2U5Hc/3912
Rwpp4KvrZ8SW4eW7I42eAvWM6DvJYe/n4LtbfWTMBk4BfDkZVc+oGqdPe+LkyfAHQHvfeUKvV/1X
+AR/3JOntuNvtjdkx8wOsBAvfqG7Hx8L2N8PySUQWHhB+COXuP0qQUrshO/uiuT3v1PAie0t9uDD
7lZ7+M/3r3j88JPD6v545ZipkT7ZCBcT6Md+oDsMxsSwU8OhUBsEA/p5HEfwjj+2/XNip02cFlkn
h8wJSdcOlXpptMYIABgn7mRtr9ykuHCo6OvUoCeBgJ0GC81Sw/Q7OduxsphcjDWhhIqwkkPHehOl
m94UEFT7ULG3RWU4eSdnOwUSA7F35tpAZ1RaLgMNexf05oDAh4bOwXs4xGknZjsFpC3RUKlLo9g4
o/PU6EMmyJE6WDhgakYnhgwZzSO7X0+Cvl5lFT6GTm5utmMezQMnNXKTshGo7hz+kJ8AERtNjNDr
RG2HT4IGQyflFzMwKZUDjcZwqZeRb4SjK3MLCxwti/XGyWDinqhNg9sxCwP6WITr0XWGB26oiRd4
HFhAsQ1/m/N1MVoUGaU7e+kMFOg/PsyX8w+f5rP/HJFlNtNwtOxrqiqCnAIoHAGlFwoA/QiVvvRa
p47VP6LKx4ctHVH++s/3ikj0klCw8K/yFHB0h1DgIy8Bd+7Pev336Mk0whe+Q3kd2dGXDydj77Uc
/mlOfIjOaeo8DGoOuj8+5x+c/wYNp5QEAaD+Mu1f+cDXfFZkCCv7lPfEkojaQLlZzxIC6jlM4rxA
d3uzk7E9EHiAzbs/dPb1617/nuBfR+eB2Z9YEZfogbLPC1gkw+/NA+7nAydiSXC5p8YMyjIST/6s
2MQL/br5eEd2Aj1itJxBfQ/YgMeg9QMpmHJ8DH/dMx5wsFtR/yky2neQVm4AFGqqLj5vf2CGX3V0
QmeMniICb4iu2BqegIZaggYqqaMz7uteZ2FmEWiBjYCeNhhUJB40cBujXSW5tB+rU/EZ//3aF1oY
lp2a626RyS4AVR0yO1gatKhFKTP48o709g0Pmhqps15DGUb3Zm6b6dHhh3CDDgZvoETRKopAQQkH
KK16R489ZRH/OScGsZOdhd2a3b2Nps8BysYfmfhnvvutzgPfguGiDgQGruB5aMG56haTqNiRwTpY
2VfuxEmUo24hpMSSSrsvasxr5ZohfQ8nHEaDhRZpEW6cTtDW5WAgdmobm0OZx4fX18/rBzMu1r7z
NIp+G2GfjqZI+EfUQ57blq+c5JkZRE+4d+AxLz+PgQZOUeiSRvRF9WV/dJdHec7ZmUZBhIKhw+kh
vKJD1WUKATjoRzv3LPxjjjrJRH9Y3KSmRmyOPpnphvKCSEB96BvMXGcNr4LSeFL7PVTu3Gpi6kZG
UrGDhSaFkUewe/7osoB7T9kU0mJs8ANSB+VilFhVYCA2t50ops01yQgMHe4jtv3lUQ0IgRMNlXxp
rOlNSPJNg4XavWPg2B8uPjtGr7RQx4qwzbINHev09//NzdHm365LYDOpXYeeScOn4tYMG0rNTlyS
vn4u7px13ysAFcHw0d7B0c1t6nABSwQDuc66Nwsyg8N2YWwMy8ieejFEFsfIwmiiPKfV4Vnv95VK
vDB8o6JsMGBbw+cXYntCGeziBQ7SpydaGVjE2hZGAevbv4MKLA6jRdQSK5kU9MoR6OFQO3HvwBHv
xJDjHmC77tcuMPH1G3krlT4vtnnUoaPdGUtugpoHo+iGuR31cfjg60f9AW7+hrJqIknFDx300mye
bNP3e7FvnsHq7QMqR8E1NEJiMe7QtAwqnbXNBA+eD6QnU2N0Z0Yhpc8o+mYw6Cg4ClyxSO0ti162
DHGD4aN9jOgrzxZbNnh+f//vaPQYBb//YwR9Hj2kv/9P+OTQAUiQgTMYfRE6vRgV+kIxkGuEbd+O
iqTmf+jMfLSONjjB7w4VOylSzwmN0YWRUccK6LKHC0fa3uln/MYMJvnLZAwIIubN223/l4q6h4p1
grWxrmiLwSJbu7Ohx/tbZeDAnK8bk/JgAH7TUMyuo2sDGsfBnL58hfh2ocdtLuVPGHs8mTgCOuml
zfrtVkJE7mV4GPhw/Pso8uGf5mSHDs70TUzfaeldysBaTaMMZDIfesk+JnbQHy0NvzQ2EeUGE/KZ
oefCJaI9JtwRyqU8Tk8WXx0zuIrCDckPdUPcesAv6+/LYcZ7THBqWAU1YvRh7B709lPhAaGTgBZL
+DSen+JT2vnPyboI2wTtn9D2+cBR0RezF83ey2pzHmL3pNTqMrjcbLPQ9FhJU6LnVeblwcJAodw5
6ASRvcMCTzeJMkzs1uO+MtPWtKISPiH1FAbeIAZv9ICWx+iErzcok8K3kDalhisxGO7MDAMjpZBZ
LCBU1ymmIdwcTi6LWMg8y/vJfcLpM1Thpq35ZNNzSzDlQ8VeOGF/ElQG4bELI43MU5ixZ1EAr4wT
XgB1+0Q5BxqDHX3prJHE6mEuCTnb0Cm+BGlemJlNJ4nYipdPrZdN0KWZAndKi2UxD2AKpGeXlBAN
nYRpGiF/SpkGXFuGy70qQtgcahJAMjFc7vXTkXFAazcGcnPDp0dLemgOnd0bM+0pGAihGIgF/AXB
fhq+uu3bNXTAd0Ze9rSBRQzlzsntou+agLZx+FQsQdVheP0hM5jjOwd2PTdD4FJpIAf6MQ4f9l1R
mwFS26nVydp6+TIDE7+I/A3mhJI7ftEZf9msLaLQ6CdWGGwRZIFyerAKg9X7AjhMYBH2ATazMmhb
weJoBmdpz+sRWEC4H4AkLXqBfoG0ghhqKj4gFt+7bKCkebhcsqMBnqJ0Au1dGAjeWs0UVGydrN3t
gMHZvIx7VVfAHnYPefutelkauNCllCcskgaSQ5duWZkb+vAQWVySlpWTtztIZjfG7QyzOPI+eqSw
jXIugZTtHvP2Od4XsdyiS8gmoq+NLLAJnwg4DXo3RdC9G+x2Tpjk5QGiNpHFS2mFZnGrWZppPy3B
AmqEYhWTIAIXvbqsMXoLdtPz9rXcgeYXxpO56d/0QGjCwp+7Bat3Sc22Dvaebcui5/fkt4x1gVAb
pAuDYcaHr0DWCPWvh3+aM4kvn6fFmrL8DLb4OUaGoOc2eDMx0jVyvZ2ubbdi98vbFQ/I5MLx6Ugw
aSb5vE687HKR0SJ0nXWSyHBZqDFB5qFUGCFbSjSLosCp0cAtOBVhYOHbTnvawQKGBLJbsNbT5Uss
XNBO7mncrcJAPS5TMwSa7FA7WHiMSGxsTD8qaEwBCwjOFYqHncPhbkn4h+6SG+hxb/0EFqWnCyMl
/Qz6uCwWyGzcpfKM4GRyajZYgLEfENXKI5JMo84pkUVZ/RIuWD66dfI821rTe7N0aAvCs3B7t0+5
K576dwAGt81HuP/Oxthsh/8YrVHwdbgCIukUNVQfHwEY2c3PFHoZZaeMocgirr9bjk8Ogq5YFlwe
t5UWO6sAX5leGRbY1QkgkE5mjz45qeWcNPKo1h0+gR+Xzz6BwVVwglhGDzgtssgJo+Wm8WTQKsUC
cbk0aK8IZJLDp3lJNvMcxaC4oxS0srDIYOy0Ey5Mbv/+D98MqPvPmEXMdvsCCwNPoC+zhF+MmR3a
nQKjv+ySG3/tpp24YqQpBINry+//hUvRxhz5xujeKI0sM0d/2/+Xsbcdo7/MnCwuCN2CgQqQ0cfl
OXd1fv14TY0H1fGKjv+hdQaq//VdL7HnrdkpD/4Zv55hrfyukPnPl4OfAgpB+2QssI0w6uZRQpBF
FG9h1j1PAcyknZK//Ua02/wPBAtsbk+mBfGjQIfWid7evFjsnn0AZwkr1j/xGNjIP0roTlTib1Fb
X/YWYFFfVQv+R0Xz4dSgSmh3a39J/jfcwKQo6M+3f89/s1AIBtIWOkQldavz9j1xjtjo2nBcWjAD
h/M8BZMN7SwzOP5AumP5uAlmdvfq2z3LYCIWjUGAI5RYFgO2i/6iMbAAE5Rc0yhf0qHw+VP15cgO
KonX0YZeMxaJ1mXqjO7AlkQFBVgEskFOQOOdWGRBgXS0Rrfk/5bnH7pJ3Qa5WFTmXAO3hlsQPckC
qPwGrx4k96Uy2BY3RkybBnQxGj7W2ya1mrZvzoBSHy56F2+/jXo1yYLEYIp3uP0Tshls6VsQD3r2
8ZQw2Nd3Ri9aS2j9hxoLZDSM6GiLjBnMMuJQ4NTo6TIL3DWy+hunpB0ygUXME4KNpr+nWdz27s2Y
roYTVAZL9wDANRBLp0JAgsZEvnfkqggswHEPoFR1YvQto9fweRKfV3q8uLdbRgyz0W2NrWPBImHy
aBtOH0Uhigz29aPhOsczjXKf7hXe7hY+Gg4qUzs5Ox+LxYgRhSRuYd/MgZC5e9bbx/yxXZsnpoNF
iueTY+YoJujGuJ0PFqbuHUjPonJ0nYNDJz6ULqCDMIP53su/LUJ0/nMo51ZQZRYJpWWMfIHfnLIl
aIzMwq9ZOJsNYlFzNGw+nKEdAfKXj7HX3nT3U7S0HQ+8ZJTKg9cPZGR699S3a+b2fDBGt6jW9/8t
84zGGF2mTS8ig5s7+jwzCHM8OiDu4UBAQbMuqCL62pKuLkNP/qUJV94ruiX/28wxIrTvMpzRexBB
0YFmXR2rosrgobPI20QIQT4aHi5/Dl3Xg84VMgjkhr/arVE4qUMVDwg8uEVVnYGH92BwvsM9AZfP
ZVnRDXZ3s9g+g8HaL3E/PiGZgSm5M+Lc7jkju6l50XR/w3DQlkDyTxgPOsWWyQKOiNvTb5Hv7ff2
oSah2aAIyI6uKAAXadu2Gd3HXzKM327dd+Sef8J1Ty1ivemgB4tDdoILVw9jzwL8NkmN1qHoPEgn
o6EH0BTXAMpNZ3FqTiM/6reGZ+HizZ+AXKELfVnkMi4As3myCacbUjvdlJKzhAWY/MLwPXJj6Y54
Sj6DYxbtPnujxinbPeRL1uTl+OUS/hW8dEo1BBY1ZOTCDLBe0w1xe2aTNlJDNfnBTGlHgAVn3Me0
6A9WZLFDPgHW2yJfRqkbOG1fmoZvdwycYmP+Ex4KuzQgeOqNIKIWhwWeYYLCwT44lUGYdknMbXQS
rsMiCjyJitLMT7gxLDqDTCMCoPrLrQneidD66ykryQLYtI1kk/4DQHsQK3/qOSxqqKZR1Dl8uDTv
TBqxcOMXHfuXTfKNkQKNd2IdWNDoXDiuczhgFrHRCxShkKYhGzQBIsn7bWGA85QeJ22AXh9s//en
OKqsmqOkEAsKjAluy+mJ2dcY3Mj3Y9/mRIiWEn8BqPZdgwSS76P7f7A4LgECpmJwx+T6xdcTm5go
ZtpP0Q4U8jQDEM/v/kZtCXB0DF/0q6g6cK46ebs4AIOLeoeH3OYDw9G2ScHoEZgXBzzAtAvDgtvi
JrJRjgpLfp5HPuXqCyxi3KQGimD3P5jmb9RUsbhI3CLYswbQkBbMYG9M7RQxblQynNh7AguWiwfD
DxowGh5PuswgUrXjFe3hLwWFgcG7N6vR1PBP1EKxKBC7d3p0pSzKwz4ZIUiVaDedBdL1HuSttFQW
JwqZ4F9N5CNprhKBhcV/cPInIJRPOm1oDtLtordf4B6MGCVR5BVOUFSzCcH6fRJXBgYd/lmG0Ojp
hCoL8q0dcPHK9FFa8++j8wzQ+syBySVHLooHSDZttDFG0yK0Kf8fPVuGL8pj5OHOR2mqyMJFf0Sa
nx4tC4jGY4H65N5gGWjmT1he+LFkwi+KHOm0bl7JsY22Nd2vb9f9n+CqnTgt0Jp8uOyji6HIIlmC
xBwoB/ZjptwkVMYzgXeRZD8pHOosTjcT29sJcO6qiq46aN6M7Ik8fpnu4BsGIk40bBoaiDh8G6J2
z5e+Hn57flgVyxA9f6pb1NC3xBXzc5CN7mb7jfoIXZoRCo0oA8ACNPOhyHoIIpFFsvbx9/8DU3Bj
Hm4dVDl0v37JXp1Sl39OCcapVmBDlejwbb6PrXKqD9mf7y1PtT37zt7yUDVO2MW9UX3yESX4+/8D
AAD//w==</cx:binary>
              </cx:geoCache>
            </cx:geography>
          </cx:layoutPr>
        </cx:series>
      </cx:plotAreaRegion>
    </cx:plotArea>
  </cx:chart>
</cx:chartSpace>
</file>

<file path=ppt/charts/chartEx10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K$3:$K$18</cx:f>
        <cx:lvl ptCount="16" formatCode="General">
          <cx:pt idx="0">2021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</cx:lvl>
      </cx:numDim>
    </cx:data>
  </cx:chartData>
  <cx:chart>
    <cx:title pos="t" align="ctr" overlay="0">
      <cx:tx>
        <cx:txData>
          <cx:v>2021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21</a:t>
          </a:r>
        </a:p>
      </cx:txPr>
    </cx:title>
    <cx:plotArea>
      <cx:plotAreaRegion>
        <cx:series layoutId="regionMap" uniqueId="{2668CA02-81D6-4506-A613-426179E1108E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1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L$3:$L$18</cx:f>
        <cx:lvl ptCount="16" formatCode="General">
          <cx:pt idx="0">2022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0">1</cx:pt>
          <cx:pt idx="11">1</cx:pt>
          <cx:pt idx="12">1</cx:pt>
          <cx:pt idx="13">1</cx:pt>
          <cx:pt idx="14">1</cx:pt>
          <cx:pt idx="15">1</cx:pt>
        </cx:lvl>
      </cx:numDim>
    </cx:data>
  </cx:chartData>
  <cx:chart>
    <cx:title pos="t" align="ctr" overlay="0">
      <cx:tx>
        <cx:txData>
          <cx:v>2022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22</a:t>
          </a:r>
        </a:p>
      </cx:txPr>
    </cx:title>
    <cx:plotArea>
      <cx:plotAreaRegion>
        <cx:series layoutId="regionMap" uniqueId="{027319A4-2760-4DBE-B7F9-9FA025234CF4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4:$A$18</cx:f>
        <cx:nf>'Time lapse'!$A$3</cx:nf>
        <cx:lvl ptCount="15" name="Country">
          <cx:pt idx="0">Benin</cx:pt>
          <cx:pt idx="1">Burkina Faso</cx:pt>
          <cx:pt idx="2">Cameroon</cx:pt>
          <cx:pt idx="3">Chad</cx:pt>
          <cx:pt idx="4">Gambia</cx:pt>
          <cx:pt idx="5">Ghana</cx:pt>
          <cx:pt idx="6">Guinea</cx:pt>
          <cx:pt idx="7">Guinea Bissau</cx:pt>
          <cx:pt idx="8">Mali</cx:pt>
          <cx:pt idx="9">Mozambique</cx:pt>
          <cx:pt idx="10">Niger</cx:pt>
          <cx:pt idx="11">Nigeria</cx:pt>
          <cx:pt idx="12">Senegal</cx:pt>
          <cx:pt idx="13">Togo</cx:pt>
          <cx:pt idx="14">Uganda</cx:pt>
        </cx:lvl>
      </cx:strDim>
      <cx:numDim type="colorVal">
        <cx:f>'Time lapse'!$C$4:$C$18</cx:f>
        <cx:nf>'Time lapse'!$C$3</cx:nf>
        <cx:lvl ptCount="15" formatCode="General" name="2013*">
          <cx:pt idx="3">1</cx:pt>
          <cx:pt idx="8">1</cx:pt>
          <cx:pt idx="10">1</cx:pt>
          <cx:pt idx="11">1</cx:pt>
          <cx:pt idx="12">1</cx:pt>
          <cx:pt idx="13">1</cx:pt>
        </cx:lvl>
      </cx:numDim>
    </cx:data>
  </cx:chartData>
  <cx:chart>
    <cx:title pos="t" align="ctr" overlay="0">
      <cx:tx>
        <cx:txData>
          <cx:v>2013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3</a:t>
          </a:r>
        </a:p>
      </cx:txPr>
    </cx:title>
    <cx:plotArea>
      <cx:plotAreaRegion>
        <cx:plotSurface>
          <cx:spPr>
            <a:effectLst>
              <a:outerShdw blurRad="50800" dist="50800" dir="5400000" algn="ctr" rotWithShape="0">
                <a:schemeClr val="accent1"/>
              </a:outerShdw>
            </a:effectLst>
          </cx:spPr>
        </cx:plotSurface>
        <cx:series layoutId="regionMap" uniqueId="{1C7C2209-AAE6-4581-AC62-58176FD22FD1}">
          <cx:tx>
            <cx:txData>
              <cx:f>'Time lapse'!$C$3</cx:f>
              <cx:v>2013*</cx:v>
            </cx:txData>
          </cx:tx>
          <cx:dataId val="0"/>
          <cx:layoutPr>
            <cx:geography cultureLanguage="en-US" cultureRegion="CH" attribution="Powered by Bing">
              <cx:geoCache provider="{E9337A44-BEBE-4D9F-B70C-5C5E7DAFC167}">
                <cx:binary>7HzZcty4su2vOPx8qSZAEgB37D4PAIeaS7NkvTBKgznP4Pj1J8uy3SW6rNr7tiPaEffqxdFFsRJY
mblyVP/7qf/XU/Kyqz70aZLV/3rq//wYSFn8648/6qfgJd3VZ2n4VOV1/lmePeXpH/nnz+HTyx/P
1a4LM/8PrCL9j6dgV8mX/uP//Bu+zX/JV/nTToZ5dtG8VMPlS90ksn7n2dFHH57yJpP71334pj8/
8pcszD5+eMlkKIfroXj58+Ob3/j44Y/p9/wg80MCx5LNM7xrnhnY1HSqY/X1h3z8kOSZ//UxPsMG
03XVpF8fo2+iN7sUXj95mi9n2T0/Vy91/eHrv99fe3Pw75+GdS5e7yzy/RH54sud/niL6f/8e/IB
3HLyyQHsU0hOPfoB9aaKw2z3wdnV+TcE/j74CJ+p1NBUyow3qCvojDCmaqpJfgL7f3icn6D/5u2p
Et48/EEXzj+vCwGWV+X5L3QC/YwgbBgYEfP1h71RB9LOkKEZTCX0m+5frf8/OclxFfz15gT+vx5M
oRfr3wD6YPf8DYJfYP4G4K7pSGPo1cyBXA64B5lnKjIIotpX8plwjzhxmJ8g/+WtKepfPpwifm39
84i7wS7b/TrI2RmwioqZpn21dP0N5EA8KoPnxAQPeA0xr5Z+8hjHwf762gTtr59O4XZnvwHcu/Qx
/IV4A3XoYL0E469M/tbEFWSc6aaqQvyFCHAI+HXw8sE9eZjjqB++O4H+8NEP+P8GBOM2Yfay+8DD
ut413xD5BUyDz/YUA3mO+tXuJ2avn4EWVIyMiRpez6OcPs9xTUxenyhj8vQHfdz9Bv7wRR+/UBHq
GQVfwJhBKD3gegXBA5VBkKXGdw0d+sMrVu8d5D0NfJzmc9++7gfMN/885utdEr530f8uwUfkbB8/
NQP9FUUPgYcMH0wf6ypEgkPAT53iONyvb03s/PXDKdTr1W8AdT7uObZsXr5d/u9zjQJ5i6ZirGGq
H0trNOAapOsm1SYxdv0fHeYnuB+8O0X/4NEPOnj453WwCf2X6tfBj+gZ1QyCVWDyAzsHnWCN6ZD8
fP2ZJJMnT3Ec96+vTSD/+ukU7Y39m6D9KzMc82yf2QDiX+llgjs929M5Rezb4wnNfIHq/fO8g/z+
xWPY7z//AX33n0f/6iV78XfJL7R2HfJLQyWq/rZvoyB4AJ0dAi2Eo/H0PzjJcdy/vzjB/fvnU9yv
foOQep37v7Btw87olyIJ+mKvP9obqoEaCoHJE/VbS21CNacOcxz317cmoL9+OEX8+jew9Bt/lz2D
F76mFH8/qqIzQ9O0fXp+QOoaJC+IEMM0jO+KOMxhTh/iONbf3pug/e3jKd43vwHek1ril8H+/wun
H1r4X2xm2t2fhqHDQvuXKeP/uWbCzxv632ca1k7u7C/DkIOe/vtPvylw8up7XPWqwvnznx8RgbT9
+4hl/xVvy6aDbHvy0suuln9+1NUzpplQcxHEmEl0BglR97J/oqnAZvtiDEHPU9cQgSdZXsngz4/7
8hh6Fwy6FxoxsKbva4c6b748w+SMEYZgAgWDHAalhfF9AHWeJ4OfZ9/h+PrfH7ImPc/DTNZ/foS8
oXj9rf3tDALNWIqhQME60xAzKdTpxdPuEmZc8Mvo/6DMiA2jUxRueOMsKWJe18iVeSIiqb828F7n
NEdEwX3eFQV3OhSFMVaMQQFR0YASTkhTc9aPywP4jwhB+wNPL6Sp0EXGMGrRVQbR+FCKFzRZLguq
8CIarkginxsSCI2YguL+Qhm6uR4pV6SRn1rVXCZ5ain5EHJFjzexImc4RE7RaOvBayHafbeLIwc7
dntNNcCeKKYYCsLJuWpSKKHnKZwlcpVIvI1J9xpofgowwkfv/l2Gob6VUTdxgMYQZEhLFaOVWJEj
Z7VjurnjO9r537qQMQFaZ5k0EtNUeBq2Oa/Lap179P59GWh/4h+1ySDhpSoCZU5Qy4eg6k0JN+ox
EZXZCD+gXEkWdRdwPcqsXGeOxG6iPL8v+Li2vsvFEyRNPxmGBoFcrCk3ZmeepyQ9YamQy7x3NTzB
DyYhChoGEEHjWmRZZcd1Oit6+jqS+7lRnJKzN5oDD69wU/cyBznx7WBnVl3yMLazwo5yqxWd5YvK
RZGlh1uv5u+DiPYe/YP2kKFTAsRHDQMS50PRMSubqEwYaM8hFe+tmtci9TmaeRbatAaXKY/nSFSi
1TmNeFO8VtT/5d0PDrBX88Hdja7KYzWAA3QX2Yq4/arYelbL2VY97xy6kCLcRqec8NSl9/o4kCnb
Sip5BjJru7eGjbcIRO0GV9k2FZL3IiK8ugxsP+O1yiNxAvGjdntw4T3dHwjvUF3EQQzCVVdaza0u
yEsd88hRBHLrOQ7t2PFOgXxK5iSEJNlo+LEJjNsJ5PjL1C6FIkK3sk23dArX35665RfXeM+uJpGk
HKO0jkO4ZTBPb5OWF8UW2/FFKqhoZ7HtWaFobVQKVdp+KzS7EopFrRNQH6UmzTQw0wk4K55Qk1Tw
4LGQgHEP6A4hxWmydj7qtBO5Njq0orlIdfOuZ6bVG+R1GPNTyz6KuQExDmv7ml+dkEecgZLjQgME
/HSW+aWgvXfClk6JmPJGYHhlFIAIlOYORjOtQbP3ITwWqnUNY6ieDROrZOIpmoxgOacdFT56Oyox
R3JF2AVrZqPnn6Ci/VdNLQYm+tA3ITCBhkzsrV+0CMu2yUCUwXorkleyDQXpT0REtOezd6SYk6iR
KqNPzQSk6G7icWyPM1Mkn6mLrWCROop1yhHQXs3vCZyYgWlWSuTFIFBavUVuIysV/oq6mj08nuS1
PUTvyZrYw5DVba2EIKtoBBns2qZcvS0fsB05zOqcBvMiFNlt3vLBqkTonLrsCRWa02CiBv1gViAf
aS9joQiaXTWQR75vkseEQIOTEKxTimEP6q2dFDlDgcokkLdyHvqfS7mQ/ilbPOZYhzIm7MXCbGTU
bBReFrHlkRtjZCduccyxDiVMrJ1Kb5SUgISq8oURLz3ktmlpUWrOVcN9H7Gjt0GU6VCmEM3UJoiR
glZBJGuw+XTTkZuWmicuc6xCgQrpu4AJXEGktYqWgEqUQr3JmQyAJ4rlmLS22gU371/maMZyKGyC
XIuZF/sFCCM3xSoKeZNwv+aqvQ8qvutlPLhN6SyfMydba+f+3fviT2CpT/hj9JuA5RpgWZQXGYp5
FvxNARO+IGOIDbkXEKGaY/OGhMUJbZ26An7rQN5QIjY0ICHG6Z7QfT8/IeEoyx7oSJ8QQU4KXPUG
iEjm4QwSyodg663oQ77S7MLVDIE+va+VvYFNie9Q3v7KBzlVSYM8TU2QZwaMs3RwW9Ozxl7ytlaF
p0iOgfveF4mO8hC0ByjTsIqhbnwrE5WDWoQMZLYOWxBRXI2PheTsurJHO7Wyzk6EsiKvrfifJhV4
r5wfbnogdZI9xkhmZChBajQfbEhbhSG56WhLv+d54WTKEkOS7vR26eClGvDYUtmFH3AzslN5AoGj
OR45OMuEVwxSN425N6R9Vslum5cg42wByWUJeFvEiueKaAV2oLT1V+2ahI5/Or4ei3n7UAD9EVOH
fcCJqWW6jytzrIAOCuHPGtezzEqglJNrbeQqgOHbo0Aisc05iflY8DybyU68bwzHbeGvQ0zsL9aN
yo97OESkeLzqnzuNCOpHJwA/JWVicdC1CFiK9lL6kiteYbW1xz1ywpeO0gNmyIClM2qq+oSA4lCt
9aEFKQrkCYw8qvUJhjt+jb8E7E38wFk9xfcjFYHZoKbkveqMUG+O+uvK8U8dZW97P/rJX0ImZqE0
2piXMQhh1VOk3ej9FjKRVTSsy8w8IeoUYBPlGyp0OtK9qCbv533TcNqcSvRPQTbRvKLXXdgZoJOu
u4ny+4be+IlxwrqOtuXIgeIn1NKholP7CO6hZDzdEJHHPI7tdib5l/TY7u7KK+wk9ukk+RSCEyKJ
dE2X9d7kqEQiZD7PmxO8eQxAE3q10MrFGNaKJxISAyVkoHC3Ijd4qRCus4HndXbCFNCxmxzKmWRC
ZduHg78PRJ1QBRbAAo+eFQvC42viVG7i6n/zYpNsyG+aRI88EEiqgY+p5jAt4YEiTxDc0Wh3cLFp
t61NkKJKH7Iuf9eI1lJvjcTBdgg5VyuGcl1e+yI+2ag55sSHQidU1CBF1v6eKWqcbxjNbUoSt6xV
OwhKC/6yw36fxU8o70vsPSCmqAgrr8MgLowl74aNNLNTMB7rSJgI5qb7lgDs1k0cmQW90bFsT+Fz
z82cfobcci5d32pOePPRuxwImjhzkgd5klcgqPVVR9cxz7VT4eiIdkwG/XsduocImitTnwqC0DOG
3OO5f9+SlKv4qpIJL1OTh/Lz+6o54r9vZE38yiCNnuFsLyu9w9lOL66pd1I5e0wmMeONkIkvQYMb
90oJQqQ1Ork9OjrkV8m257FIwAS5LyLbt/4vuP1AKqxDvQ2HJPG7tg1AKqUxl2zkKYTFtmv/e4N4
I2biS2gsR0MrQEyPz2l8X0A/930VvY8e7Nu9vYePfS/VKAgIeyrMJLGpYtiEVSL2sfu+qPetQVMn
wZ0N/ShhJQBSrepCDTU+sFmHT6W3xwpNk8EfWsHoD9pRqjaRAnOLtCyyzONs3dmjZTqJlXZ21jq+
ixbVLrcK0akcJgPDLHlQXncrf5q/HKlo3gjf+/cBFyFfMVBlgvBeu039K2RAWoG2nuZm9bpJuhO6
OwoogT+p0TAMQfE052t9vSB5kHrcxEjkLOFtcK808/e1ho5ayIGUiYW0RpwXaQJSslUgbS2w5Dnk
GJ617/STnKNRjLfVorw6XSV8CU8/uDY1MKXIoIh+KVgP4PSZp0cmijyOEE8Cy3NLuwh5Ua2RFdup
q7khudSg+d/5drLroX4LT3ajYdl0bzGHp9BNBqtfmGoIykXjy18YHCrVCKNobGnng3sEfrbrCVNM
7msl666SvPaAQzWqmKY9sBJpBZdBF2ROVMa+55ot1amokgA6HkWbFUQYXj1gG+upP/IojotEpEh6
tVthQ0NCa5pMLhKFkvEatuy9eyXNa6iDhyJIrxVwHs2WQ6irdo7qLut5SaMaVzYKGo+UswDG5KHO
C1a0lWa1xIjwDgbjDVqo2iiNS3Mc0pFZZVelbcINVAz5k6cHuIY0RKndmnRdZ2ujn8W8SiLFPO8L
GnYFN8OgCJx2JFosCiwptWmdYtCKzKBIh9xpWCheZmpuB2vpcwVpmS+6vr8YFXRfKtDVNHNjC3/A
1LoD8kxHyRK2MrOOiDaNn9uASLtJY9XJy2ZwFAkt6m4ktUB9ey8TWnK/Uu7MyrRQmZc8w/glNtp5
MWY3CcIuFJhzKIrOq7DeBkYVcyPqHiijVlgRN2bDjVbly6EJrDSPXM+jF6piiliLl4WBVxkY8qDf
VeZN2EZQfqJVGkvhK61FB8lJbO6aIueZkrk4jZ1u6HkduLVxFUePpFQuUCNhGH4b0MQaDGR1pC25
EbZW1rc9D0FzfGyUZYWvswKvUyLnXWjypk7tsCnnTcCHbINKSJOCQRSxORs0yy963iKdB/3OMy9K
85IFIVTlwlRukdfzqnY0Y4NURzYIfGKO8NKkQiu5BJ8sLxS6Krundky40tl+PR/ptZQPOm551rt9
bOnVOkvdvnkMk4aHnYiHz7KsuVcgaxhrmP5a4+CJZBzE0DLoBsZzPVsn1U0VByIFKuti6AuoFU/R
rRdD3U5vYn1G8Cpsa1Hrq47t9PB8rKUYjYXXL8fRVaI5oquw8GEKWXGClqY+M8aMD2k9G7uRe95l
GY189D+phse7ROVetRjoLG4CJ2JLz1wXJJtpaCubwlHGnEdGyeNBqMHS7F0DWgOJ6XFNWoq6zbtg
HtefWu8yUgvRq5RXXrPsvRWrGlctpSDtvdd/JgXUlKLMI8HKmQxmKZs3OXRAcA6/ICRbNfQxbdYK
9YQW9EDkTl8/KjK3w7yxh35DvMyuCOVDuMQYWjfnTCmFkT8VwRLGOR5aZ+iR1gsVpiH6rEtcH4JN
shggP5WB49VzJdrWvaPgZdbAE3xepavcuwxTkUbnQ/vQpp8j3a2xM0bIwsFzFz344z1pr/rhGVWi
YyXvvFtWRZwVAxjTztATGPNAW3AcbaO+ptA8qZI11SQMRG9QPs/beQ1ONMQq970WEC94MGLewm5G
6s+iqrJa4NSSQX8F2bFKRaFcaFpsgVsLo4XWWJtZI9Vyrtb1agjdMBNmcYNDWE9IRJ099p5NIkvr
oZtkUBHUV7781GlWB0RkBI6PgW42tH7IqhfVWKQDE6PP0yjgZXyu4o2Ol4gVHJD3QogtrRgLl+Kb
3gzBOheyXGZDy5GHODFy0WQLBjRonPeeIkhc8Kq97BRmFUQTtTbAqH2H4W/I202l3yXSqevaCSEB
NNp12XLd89wUW96AeVzMunCbJ9sEP0fjVia2TnkIoMggF1huFMUBh8He9ah+7lVf+M0jhXS8fuzq
tRLcKNU17ldp5HTqTDNWRQCbLi5TBSpDTssZDtZh6CpyFeTXGosENGx4Hq/2CbbZRTzTHvpsSTrB
pEtrh+ZOlLnSB+HhNeRGebQhiQgjDKs1F4HULiuUiFG6KfB2M5P+JipAASjceKrTeLrGzXrT+fNQ
vyPlJdBKMkKDqXJL+djjinvpI6yTvBTEpjDYGdlGwkaJWUYcAZWkhSkK/6EpakvxxoXfwwJIek78
yC1gDFXVjwl5NvJYpCO2aZS6RjFrTZWH+EEbMqGpN/EIuvFz4ae6yILSQfWaVpiz6FYNLgLvqksS
SLSo7aN1gROw2/VADDfTKkvzfJFWBZwoFyWl1hAlVm0CacapqEhqZ2TV9esCKC+MOyvLE84gaavL
+cBSS+97PiQbxbQTyFmTAJoPybgdDbLx1U1Up1ep1kBOrsXnmXeL/Gip+MxKAa8ujuyRYAGNLFtH
uQjIPQxALiq9WyjDIALQEI1oJeDvIi678VaDIKnLxIk6b9P3jfDSUsT9faMOwge6bIHRdG3O+rtq
BDrAye2oXEb9XWYyToPQJnSDvZ2uJYLk+N70n2tvHpXyjubLPvEvDCXgVbBWB4+r6LxpA54SaDwk
nwKm8tTUmjsWVd4M2KW39d7EMZB6n8xrQ4HGsFLWA2eept9qnQFVfTMGS6ZgmXF9iC8b5apL00VY
qhckp9yo2qdGtuscY1FLyQOD9NxTs3JB4nLRjugqVrsN89i2assbRWKHteWslP6DovnP0gSe6tsw
tcYyaUSijKBnRAVTOgiySbExTG0JLyrCbKud1o1u0PlbEmSLyFOJVerA9H2+gBZAi3XBOskrLTtP
832kG0bfzvIRqLmPVmU58qoxl7pZP3eN7xoZ8FuEoV2a26VX7UbAtRszofTa3YiLBdKiVassWi1z
y3GL0TJOvRskAReazLyBwJBHBw31/nOsasuIFJA8jP6iqld1uJElQBBtVLXgcbmrMyyq8FOGb2Rh
x4qTlKmFG96wGaz3CNwuciq5WtWionYGix7NS6F1vEgfgfVM43zU7rIXJZgzPYDh6QtGK4/cFgGn
4aNJ4dq3fWNwvRSS2PC/bFCz3dg6ZuMEBtRADePmYCnGhX5P64hHSScG41JhVxDwihYylUXe3dQX
SnihFFco3MaDi5+yh84QoeKE+QjavIHAMqauSZYBdczBTVMnuR1SiwHvQGsztDA9T0anAdVXAKEh
vOwSGeeBbsVXDFrR8UNGlzrjASyC9cuCbaNmkRMRz3RXobZu8ApbYH5t42BYeSlyWGzywDd5UC2I
rcVunInhHmecVrxmnEhhsCu/XHvQ7b4NPZ6o9ggcOnAJFXIYzdJ8QYk9aiFHOYcQDh3Lihd6YUNW
jQw7w5dGcjMSKNkCEZY8ha5YgC48/TloONHsxAL/wyoc9QqjxdDbbZWKyLAgoxd6BtuPL4rOu1qU
6FNQXGR0l1fL0i941H0qqpuuTy2ZPRZg596lns6j2o4UZrcdMDbEuLEJIZiG3ABOxJ38VJeGo4Qz
BrO2Igb7gZPCpxKQRPgm0h0awY5IAUmLra6BQYqOU+/Fb3adJ5phFZfQrYTR6rCLMpjZNYLWV1g6
bXPep4jDQlo4XOHxwWxmnbJM6vtSqiKjL3kQioRkooEZIkkH4CTfyqNYlBH4sgmplB/YBI9c8WHy
jCCZapc1FUZzgfVFl/mW0kIzuAktSIYh9asjt0fCQE6ZcHPpGU63Jg9tXfBGccvcaWLLyO3uluS2
N1pMS6EuIBzRkMvB33sPzxmENSjXZWNY1Ey5wjDHKeUxTGp0/ZpVEABYacURdFuCxs6NS5aqwO46
ECrkZo2TNY8qZMoQUoO05SlkN9VoQ5ttrlLXV9ZBh2bl1m8dvXJ1ZEfmsh/d/m6IOQo2BXQqx1Ws
W7UewFUYdH9tP8p521ugBJ25uNVEwM6l8syiBdSnMRPewAOXLPVqRior6qwUarIeqiIrBXqEna1L
7SG40pNzOVpUFQG1zOKW0Vn5rI5PbSJQy+E7oeIMSq53TnIDKWcGfg7d4cquW0eldgmtEpU3PbDa
+ZhCTrWGnTvqc8gh8/6Cpp+LzC6Ci67YpuYs3oI+PPCGLrcy5TaBNhFskLVOEAYcBmwJTJ5461le
A8iKoLVCSLXGjQ8+L3TFVjDw5a2qbNIOhoJCye4lhIoCCyUFV3TRA4JNQ43HV/lnL4CZXZM7+rhp
PgUBJyWInQ2j05IlWbXGJRi1mXE1m/kJx599g7ctx+PcvO828Y2HXsyRE2qz2NaZhYqtrNc+msP2
srHKkB36toGvkxqCFg/uQii0oApNIbY5Sr3QQjeKeQdbh+Q+SHcGJPLE2+SmzRo76i3dSi/ADsNi
VXVumcz8Qki61tESa/PWXHXDKsmsJLMjVYT5HPokkXoOjtKVl70u+oAnhRV+DuQ9A8Ki4DguwA7x
BtZl1iSwdQBPvc6jOyOEI2wy/zwMRXeZdVBsbbxPWD5kQDkPQcSDq6TeeOEyKhZVDqGUD+YnXXcb
vNWTxZjYGlR5gQbyxo26pCuYuUMZVUPUUXkR6E6SXCPFCnsxdBx+syyuS+nWamMZ4xrYsXrWumV+
SeM1zp3wLiLCzxeRL8b8vL0oIq5nyxACRLxUK5E0ljksymUa3WGIbNddD9buImxVqlP78yqbNfD6
un4ZPjf5HCnzFni9sof6Om6gV7sOdB4bi7pf6fFVgK8036apwOELfDlelDpQtgg0K3JNGC0MEQeP
h06lbmveLFZnEGhhyGyMW92bqeo52nj5Sp238Zxl95Q4bWozvKG9Xa/2Qc0fRB1fR63O84oIWexI
6SYQB6HfNBJwcJWj+nNaNOBk29HcJnRVf94v+qQ9VzXe15Ap2BgWYguYMNv1oIgILatqTqBRAU24
bhaDjaUOpANd45SBaJXELrMZ0q0B6WKk9ggOUaUph5Vl11Qinu6YD40S1++sPFgHBLwhaiB4zcf8
AfeLsuP+KPRcZFAmQ3HzHBVzFVZD5RLrlnerICuveHLeqiup30joGkO2hi2EhFSuMWTliaXEN0x5
aYL52H3O5U3TPOnNFngWPdS458awrQo3A0diUqj0MiydoThPepcZD4pq1e2uVTeJ/qJXTuWDbYrx
xgc2zUNLGjCHkaJ8zKQrU2AYR5XcV59L+C4CDVcCBbbdX9YvSbSqR6tedLdFxv0NEKyUWy25ZMlC
abZaqrn5CIG4TqH0n1FvpoWR8L27pnaG8lJW6wD4YLhGfulkwy0pbozuJaxv4uZTG1wr3SjyaJmk
a035VBIrqq9D/y5SXDN5iNgM5wNMkK9Ra8flFQUGzQOesed6XXTPvbLM00tdWp6/kAh8DXKAxkzF
ACGkdBvooCh1z9PWMtVzExyj5j17MbuL2tuUGWQ2M/2KDlZruEpu62DALLANXyTxU53CrK28y4aK
41kFFNOwJ6Ldjl3C03GpxNZgOqHhNsQCE0bmY0FnJNhW6iq3VQMKarvHHc9v1ZEb8QanNxoEY3SV
h4DqJwJV0JDP4nqpwoJTOloKhW2jJRktOWxb6mj93B8uovaWYcjRoLkx4FXdXWVmY8WYl60I/cga
hpoPZGH4kkMKDNos/XmUz6KOa8qLATNJUi3jYmmOtmdynayM4rbdRAxqqG1K9qR6waBMHaBrEBbz
qhIyg+2nuOP62rwvKVh0Gm88FzodMr9Mgd4BiNR3yKXuwUhh1jYXIxS48drTHZPqsDvi+n4gINaG
o4hCq4GSw4aiO4Yo/wzFQRPaaTZHlTVeRRBOHiWkWSsvtQPgVd3KSkHYDCpmLZoZCW9GqzKB+SHG
qRbO7LFbFv5TWSe8UJeR3EcAowD6q+eydbXnCr6wFFG6hfmSnY4i82eo3cKSSuC7cbsiBvcxLAjz
KrJaVUAhamz0ZNU0bhSAEfNEud5n3OlDQ168RjSR05ebbNfVi7y+TiB96/rzFnpTphXGkGxvmGH3
lbNfCYE2WQ/RSoNuXCta5OZyRhvwG5+Hu9K/rpN12p9DOyrXZrgd4PfvB8bcAN+Zw3ndhE6eR9Bm
irlJ5nllQzyH1eZmdHWyVOR9EF8akbPvXIUxBDZTs1t9bsBSGssek/5chwi2b5jqz5HviQxD56SE
5RxdlNgFf8HN/3J2ZcuR40jyh5ZmJMALrzzz0H2VSi+0KqmKJMD7AsGvX6dmbFui0pTW+9Jj1lXT
kQADgQgPD0fE8zepQpVc0WHXkXDkOOy46F6rCZEoEGWAyF69zE/LArzM61kkrAjglbnLfrSgrMMS
UuTMPGjaj0IG+bTDzulzzEblVe0QddhRu/VTO6hFsKQBYbdmc63dIBHqQA0VIUVZ1B3yat8ALrov
CXKladcC1tP2ghzdybcyH1vo0IexCtIX5ZK9PVyOgEJp85RnsYsCnl2YACsL41jOyX7qHvsDkY6v
tXv3aGHgpfcygm1+SY17lyqvS6/bBDcqEKJeu6RZh7z5ymqBp46hxXda59P+TrGYFzc2C7jO8bEt
cBRww6UH0d+vOPBK/PI6K7C7uE7iZgqkO/rA4rCmGhSp2kdCZJFofkrSYM52zRLmr9NoekhfEnLb
p5eFHZXJnsK1Zo+TiC+HwrqtxA3AL5ALkfMCqrOOUxEaY1ia+z4PEvyO0pucfc0fpl/mjYnqvIz6
3Jv0eMn2fXGsgbz6qPZtpLP5TvGgdgBZerb0GAMjyqcW6By+yOIRmH4rrowUl+3VUj0DBGXT26LH
rH2Spk+0gNSBna/nEgvK23C2r/I+UJ1PSj8xniSqKoB1qrS88k1jBsZVnlQfy+VYdpcaoeGygIgL
nM1JXG8BVoog1KmfFkA8oPMIM3+H6YUvu6y9GVFY4tglf0E+zK1w+GNVIS4WDQm1GbpVvJa32ZVE
wvcgkKclgz/n2AczzBweJMi3+tHTcZGO5YMBCMwdjyiojHLxcgzPkJ38AfeZm2hsqwvXQsX0PNW7
MUVljkiGsu+yLgEqxfKlm7ylDQyknneGCJdr7r5qyUOujx7Qd0/8rXWPvrLmGrFpFHHRBgioVnc5
NUdNBrN4KvtQn+JJC817k4d9FnRFgO5A2t0aqLXkvtTBNfGzWzBB9MJH9GpZpOqg7fYmfNAJJblW
VuwgQUvxFSIUoRV4I9abPd8p41W0AJ0aByWCFXBE3ywz/XwQ/gJEd6GVN4kq4IA3G35NUL33qA3T
9GmuCdy39OYxA9plVA/jlO9og+SRqBJYQxct2hBWJr8y+Pzb7IYgHecbiX/v6ksZtHn7K11bPh1E
BnZmbx2YcH6jhyP9ccDeWnJMYktMj7nLnZA4uh1Z9cj9ycqJHuh2uWS+EIuxz0VXxop3/K5OC1QF
k94AyrV0d0o9Xunlda40dagGjv8XQ/ukGlGiFJqpH7pOZpeLxdPrPjFRmpnCVAt+fV71e6r3E1Ah
nsjIsrg4mLLeW/oEqD69x5yfeyWKaUfS8gYSn1NcGzY5mjoQ+wQj5gjo2oNVtUHNJp+btRYMUg+t
WoV60UbCVh7G+686SzmeWbuPDs6LM2WHuczvNYfsi7ILBMV1QIDm9yX8shP6paZVIPsBmu9Te1eI
iUSl4A+lIYaLcrGvMbz5c6TmI+/7Q0WTfVez23EBSCkW5L1c7jPbPea682egazYhOisqs7kKDAfk
u4Fqr2M6/c21FuEqzQHRM/3AlI4/T4ZyN8/d68i6IiqZRJOapddOP/Y/HNYWz2ZrVxdGhopSTpUb
YaSM3/UlLqKOJ6i6pLJ3HH/xMdPgFXYu5TUdGi0LmrEdH9zcNNZ7Au3DoFR6LT23rwv+WkstTy9k
ukjnUFKbm0+Ypqinu3k28J0M4PYITCTBr1WFJMZ9JcY5iWdWpOOx1vTGeATFrBipX5htV9+ITqE+
SaRQKcZW3Ok3WgQjLn3NSGExm8Whc5JO94tCdLkH4mPJfJ0L8/dUcII6xehxWTForf2uHaqNx1Sv
8zwq+wzI6uRYDZokS95fDPlUPOflyObdMuiV2k+Qoio8alXgT5q1JfS/XVFx9FO6JUW9pItaHnqb
aGPI0JOswTyqR3kt07mv4IxrHK0MCbCrMERj4GaZxgatkES6cc6wT8i5Egdgfz5T67AOpxZHmXaL
WYaj6joAk2M9pPbsL1Sv11o9aSS5oSSr5FNWVSWqLYfNJbvuinlK9s4CV9kJRyV3bpuR/DeG6eYC
PTvp2N6Adm3mcYZ2JgjJ82g2IMdX2WT4mcq7OSwYrdc0JEnwJXBJNQIgS9boYOEBk51p2QLcKJbS
2DsJq7Q0LDVXoJ7SaGllP40mr+Y7mZOk+5E6ZlJ0qI2avnfDKum7t7oTRhJneQ1gtcoH2e5KPvWv
y1T0c9xVZv5nMvj0t59ydAjB7VEVDtmsVyi1przme8o0jXNv0FxWA2ykw9S/GUtGp30yGAl9c4iw
tIDNjWZHjZ41PE5HpkXDTJ3c16bcHH1JTOn6haM7Ehl35+SROWu8OdLaMnuvmLTa2ne20eyMrkiv
pxwjSJHjDmA12hJZmC5Br47cfrCz0iM5A6Cg4NFVZGCKcfFV3UyJ36bYIODUKlNBYcITwqqc5ixe
BqmqIxsWwh+s2WFm1JWc4FrrOckjO+fJS5kb1AlaZSUvrj4ab620cPOXeUXmqCh79OAbw6VuPGcJ
b3Z00FtyXVW9e6AD7u9Z1cSvyzk/jGXO+DHJhVaGpC0kWgHlMOT+ok0O8rwkJ2PY2EkC0oiUSOD5
bKomnGqSBADT8+e2ounvhqpi9pie5LU/pYVN3mTlDu2vpiFoFEAEtU58ng6gyeoT/jdk01IVt2zk
qnhldEF6vZgcMT1zDO1XXSFUA2DQ9Luei9z0i45a+a7Mi8wKylaWHSjRMkfjpmzbH70ai+lY2TMQ
VXvuZxXXWFAf1nDA+mak1cKxtaNIg2oZSzAWCszztMYA+DbFz8B4eGGgBBkToxg8bWgGFlhpAaCl
49owR1mb26/JSHvTK3tpGTtZ60kGhLVGXKSDMz3rWVc2QVPw5GDPNUW92XULep2ZVWJBXY0ZEjTu
hr2wp+5yzpRxhQ6XNIOups0Yzu0CYNcqW/h1zcE6iPtSqS4oO2Np/GLKFY27hQHHMxBA6E1h9jzd
OaSfl8BSZv5gaaWNzKudgCprY1e1uHVMq4T6oG5xP9HLTvMRthoVkL5cW94Ny58LDT1sgOugnj8Q
bWrGeDDEgdTZtKdjMy47MYOJ8dQtLQEk1KsCHX0H0tHVZAS2ENot44l6SXm2XIFGNSR/3J5hyr2c
KTViJxWZ7luzZTaBMidjiFiFq31nVuZIbu1+rqpbq3bntg3swlra8mAuytJ+pp3S5799itvgehA0
aToPzTWcJ1HalkRvkdm/Z+rW8wUm/dq1GE+XwfDadkQaW5ud24LrZjozSlELf8u+YWXWljuMKOXj
i4V5fevObmmuB1apMy3McXamZycd+/w4pb3oop7RpIbnLtIIrdEx6qCwOX8gk3AAl2A7bY+YA3KE
pWElLusiqVFRl7OWzqFO2AxGJJnHlU1aJ3+GQbF6V9m6MvxJ1FPtd9UMmGJM9IL5hM9oRox6I0ED
nfLC8VpqMeUVw1DOoWaQQoW8Egx4E00cuqOuBOhqaAuvAL8xauxqu9XnXTok1AUaXspbkZq9OCia
p3k4185SR6B/GA3YyCXCoqIsB62BK5Bsq1GWqTq6rrBc4GHlytNQKQiSb0PqlgP1WoW/B8hipA6u
gJS0SrvAtPrqxBi0zt+wrenwy7V5Or11DvLIXcUZKWsQ/6pE/ZEJ2lrSd5QjqtvaSmZ9iUotd819
3S64ny4IVbn12skCcHRVktZJA0t0PG3RpMnc/mdltZMC6QIMIPmSaU39lgpbX275Mkzo/IiZN2E6
DJ0TzLQaBp/JOtefTE75fJsmOWAv0bqUR3XVoRXeOmRkP9GYNOAYKQhM3KtrrQQYX1hceWWX2Cro
037kqI1KqqLBMG0O7sPUy2c7r9gPfZwB0TFdMCvs4WY6+o9FU91LlzXoHOkCjCYKAkpd5bPybadv
0qjC9DDGRvALssB2oCTqs5Si8WVIWiT+3Lp2FY6W0/xuFkcnXinnpUAHokisQDfUpHzNtAaUkEPH
xF5mcupjM1mARg+q5TyoKtoPR0pcVd0NLRVsX9A6dT3Oce4vKperIUyymSy+PeLj+LUSkxssdsGL
EN6IZh1IW1oWglTkLoes1yULtTkbQRllC5ouU1bO0wXYsZUVuypzyhDk/Vn39GGYO0BqLWCfJQeL
67rVat7upFu32n2zCNP13Uq6LogNRpahfT8wY0ShbncHkkh4PkiWjq/cKUNTilfa4+hmE9agT2z8
XfVanUZLATy3SbMOXXd96YOUE/A7koGvCQBi3nXedTT92xtjIpELOSAGB4kQlYw0Y9SqkIjMqYPF
tWQedazu0/HCoXLUAIVUQk9l2OfzYJCwT3kv3xx90az+lqklmY0LzPDOAF6XRuaBBj2I9DonqUQP
ZOpceWvzRk8e62F2XTSGpW3AY1J9uB+HaqZ3/ZA7TahDCwStOJFy1HKubTflg2tTfQqRk5TsTpiF
dH+QpXdueWNpV06ZmB1yBmXwyyXjTfPasJZ1aKxivjLAtJRXUJzgu8YlmG72VINkKo3SurOccBwa
U4TjrFEUi7qpTwFfSGXuXRyw/pCmEJfYw41VclSaZTKQzlM3LwArqKTYG0LNPBK4BPp4aXhiXDe6
GLTr0ZknY9+YVGu8RhrmXZO6zZtCTaZALjD/ciLvF8UtP8sHsL4JUA8kXlExWrq1wyyVIfyxTVNn
N/J6fGBFLQ2wX/J2+JsJ5JJRraYRPXCRtHY4plmGQjObNfNZIsKIHSaAl/oS1ZbTxcuo50NQpx3c
xqJ4WSHEWEC27GvX6uxdqQxAwqOdDxWqPIfeKI1W3dGBKoqK56VBuqThM5vH3C1s58JwBwE6kHRM
CHqkEwpuhlyX7kddoJPKmDurEKNyHQAsA7/Wg3Objc840mnAcGb3Kp2Go93cc9DQ8t4i3V4fRwdF
DA5oFxhzJkZ89N762U+tSWIiNct9IWXRUHDflKgACw99McQgSuss6Nx+bpAOGEV1QArF8h0ruY3r
rKJctKEqc5F5syiU9RvZP5auWSO4MguOH0pzIYpKzQBiC9NWu9EsZySwyaDlQ9xYamSFL9qFAN5f
lqx7bYqely8zWDfdXZ82y5h6La/z4UHYRgs4GjWCrT2PkzZM99Sl+M/4opPa9FgxuwGqaHR0BNyp
25W9dzOjSvypSlx2EEwAGm4mBmiRc1Yv10oj+hjVxQixjzpXfLpTfcPrezhe08Z6rTfiQa8dPqO8
SDLSBL01KqTattuD/kH0GZXP/zRIyxKxdhXWgK5CrFkle1e17kWn46/GrmYqcvs/uOOTrgMM4cGp
W4YevI1DW8qyGPzJLCnz87yxJy9HbNWCM0zgr0RYMGEhOmwjxELnf5Xa/kiEzSUdpSgw/Tw9uzFQ
8N5Pw3VWMCde/kACEQEm+f+YhFSTA1km4thbcZ9iVhjcXae0CjCNI9uvuljzk2jxoTFyi47Fn3PD
8NsJDBNev2pD/dfgVukHARWVSgOD4JSmwvHbSfPPrGk7TfJuwqKOZeiOwcytZIJhGD21V0Igdxxg
+dA1N4FNV8WokNTk2j1mnkYN0JdpXJEOL4x4bUW6n6NViiX6/qdsqd2QtzBN/ADobDAoKFkbuvoA
TkxRTkjzF/CutET9bAcbZZpyqacD6Dv3Mbd7+27OhqKHbVqrnOaGmq8aHYd9NQd+5gpAQL3BBzs/
ngBew2CsAgDw0blJjZNWHQbhVGBS0KnYeK0sJzENcw2rAKmlcUzst+938cv42Pu6PlhYt/kDTb1H
AmlJvTG92Qrzsvlt6Bmm7zIwu1LuBEtZIrLy8VeXZFcp6S+Wnu6pth/AKJb5uT1eB0I+k9Xhv/84
11YpYyyWnskMzqUf8l39Ara+Z8XsAA2J2L77ft3bYQf4MdOhzWysr0tALmUzeMNrnVYtYqaHZl/d
NAeMal6xrIo1je5lmxyIe06DbDu79B+LuM3w3IWu4z2Lzxstm5lrSJMhHlUMAQMvRemXC9hh9Mle
2jNn4324YLOTWN4/xjbDS+DCU302YAy9ooskJjNmDhJQGcagBU0TXazICb7f0K2nbpe32dDFBEEX
GBXYO810UQ3gfcp/OywHfU8Q7S1MxrjrJzM2O5hzVVss56AL946zp0KUF7i0uzMDldvvtFqBeI9r
GrqJuYXtRSFnOo9FNUKpZTFeEvUr158zIlAvYqIS/ervd207BbM1tjl9pDYAQDAYk6Ae5MCuU2Ce
Eo3h7818UUzb2tls3TC4gF0U7ExE83sCergOsEZa+wrEFfQidPsOqntxNshznnhuhVtPbGpDOegT
eFkfateA630erLpTINe494af+mgIX+vn1FS+iBZgwYS5uKMI1P7s97eVPoa1pGq6dmxBHFlF71ar
oHosO/CLsy6sYzOAZsN6DpKHydcjEtjmfuWe7c+divX7fTyH25+x+b7UERnXhUzQxu8xcl65yZvu
DHpsVsII0sRw4jMf+sR2Q+fQResESYeLJ14+RxkdxaGlFVh3H9JnO8PgludELfKOwsOgZG+F3I6Q
8YBd873h7alZrxGo3ZuuDoV1BxfkZ7tAo/IOfwPMHre8n4vkQZ+6P07my6Ha9/Txe2NfRoPfrWGw
ynRchq9rbVZZIiFIul43PX7hhnacQ4QBc8Fv00FF2a7z9eP5ea5tfNuaXP/8wz2pma7M0hwmk372
O4CRpDHOJFcnTbiY0bJctIJca3NIFTMbq+CLCX0Z0IYW2wT1sL7/fuu29977df8ha9rsnGktptCa
wUQ6XzXIugt2kKSMxISmPhK+2U9kdVda7MzStufg3eyHLGOztGmwOHXXPAZj1eB+3rTDT2ZhOsk9
M8NItynEuyG4BJwROTe28fNn6ps8YeOINC0tAxmWVwQ4xGV5dO6TGIM0h+4BvCS0QgOA3Hvtcmj9
pvdK4E54Z0oFAJoTI5hDDJYHlX8ulyMn9t7GbLmhU3xb296OPIoC9W+nJdQr/9JX96Be7L/Ocx+q
kITqT/Zq7NBxC+e/YEQWd6CbN1eAYULQhJFZZmESqjNHdhsqsFWOjgsOp8jCsOl2mHpY1JwNE3jc
Vd/9TlwejBK1Y2maZ/QCvlw+W0ObK6BOEtdwBAwNLeb3BT/UlF3zit67WXcsbbZD4xf0p5bZnmu4
56yfOFWflrmJTOnaRqwxiOypgwwhDRSDEZT+gdCbt4rmgL3FAufh+0P2vUlAhZ+dMEGVhM4RTHbk
Jrd+9NpyJlP+Gm0Jih6HQeyXQolmG+VVbpuJhooBWplAFsFMmDCdmYHwUBtQfMNgzffr+eopeLkK
XS5monxen8j7vJ4lzQzuYiTTm1N9lwqxswbuWcDG/70ZHA4HD48B88EY9GczZdehYkSXFcya2Cn7
KCG/9SwLvjdyouBZMQBqO5Dk0E1mbxaDgjIbGZksb+kwUgW2wc/R7o8tupdauVRHU5AiMDD6xCby
I5cMaH/xutT5TZPzvzWbf33/c74Gxs+/hnxe8zCYQlAXIxYzeJDCmT2wMyIyYcADw1/fm/oyDI3H
CD6tfBP759yyO2B52F9wz2KQbP1Vk5PuwNUO6j3/Rf0ySCP3zFf9ehiIbaPpivFj4kILZfNVW6FV
Y2s1WOEkUsyQdA8Occ9JDZzYRrBLkOvZQHaQ8W0+KgaS0W0dcCCEsI5kcjAgAPL/nF1r6pzMzylT
xGWGCyvAgbeZjjnbjHYWCJe1qWOGcPZp/TpMF0Z+8/3n+nrGkU7ZOiWAOXCXfTkNQ5VYRWqZ6EI3
h2kAZJUYBK3REXT6HAnzUoKh/L3JL8qRqzlMjBsYV8fXItsMZLDQYE8nCpvms9KeGveJVyBYaRcz
DV000VWWoviqIyp/fm/5q5NQpOvAcoz1JUh3+/24rcyhEqbp0QQNWYzEVR6xtPnM+siJPX1PC1aE
DHIoW190tMGse6ZMLxgCkO33EDvACG66s6IOlBfP3dPYOrjPaFWPF5av9uaxvSmDJk4gFft2Rul5
9fuPpQH2GjISOrwFIkH4x+Y0dlyXciH4LXODgRZSYXJxBC0WvfTalwqkcjnynXRajHym9r8V5FuN
E4Ohj2VjHwC5fA47fZrSrHFbpOsY29SGX8lw//0H/SJl8W7BxCuTeJmGgtm73ikf8uV5sJoSg3Lm
SjqGUAAmsEnmgyfsr8KgmBBrg/a57QI9olB6Pi998A4GbLcX8eD/7K/H+IN9mdNKEIEV0hHdLx+t
gWrvRKv0eZVFovDJK4vBpQ/zgO3b3ZnFn/AzBCKo7uADw5m3fjYYCqEjK5BzoLvYefmuCLJoOLoy
no/iEvMRgeFjGOBe03YYVPre+NfLGneb4ZhwKYIXAbb3Gzqh0ky5RTyqoLpy7YyP7jmd4a8hEGEP
dD7UKlgfHGizt0XfOALcAK8yQdNlcGH7QPruMJj8zG190hKUK8gq+mN/eYhgGHnWGjosicXyOWv2
oCFBMeOltekZ7eQTeQFdtw0Kr+/iQvrGYYmTNFOXLti3e92fA5C5eJBBMxozWFAO8CAZEJxTTDrx
qSDVTCA8bKBsBqL1eR9bnMt5mnDR6ymGPQ1tl6NuLs6VlSf28JMV8tmKK5Fm2w2sgEDx09FV1GKq
abKLgKEl9q9975OpTUyD0MhcuilMWYph5rLzLPKLaGX8vZWvkRNMNpwqpNEMx2sLikOPxCw1VhJM
8h1Udcj0CynmvTWjeuPXtLlU3b/fwtUibnzIqLgW6pnPWwjwm4hyKQjuYuhS285l5/DYXO5AmDjj
8F9kY2yg0kjsLYOhSKBfgJSKiIKPSEKB3GYPBcYFnpNHdj3se7/2jfHGDTDcGSkN/GUPbaSrIT6H
5Hy9ij/9AGdTvBSVZa8tOTAcFhoXEIfXoVzy/Qc8kWd8trHZT1I5Si/WRfbhBGJttEpio1fkxGhS
h2dVw77W3c6KCOBhb5xsgIKbcNUB6M1tA2N9ovxrdzeIHb6oHkECDQyQgtBEPbe8rydu/YIuKnzX
wvMu28q60vTeBdMJPGWomICUtushAqFLJDb5sYKmR74mdVe2Xf1xrFunwKjwmD84ECKYwNkcmXHm
vHzpBsCnEK7RhIQWEMClLfAAEtHUDwu4gGZMIyZ8FyItEfNXeMEGPR9CBWf1/09tAcX7DoBhEd2c
7Qsy8J0JUnDrlK1T/14ANaVj97ZMoCOiG3/Gm76GUXxVEAYcdAWQPL6nAh+vejb1SljgayaP5gGq
WZoPwDMk19ql66U/5xhgTuudvePPWd2gGk6laaPhwCqJ5wAt150FqQHUUurGildc2/zBMYN7tqn8
dWNdlOImvidIc1/zqt4qZNOnMGvG9oFNno55E0zTXk+7LpxDkGEHKFNnnn5x/pt+jbufTa8/7cM+
F5XrVqmEXJwZD3tjZ+9XtLWJ+3PZ03pLfE7dXB1SsOgw23iE6ItiIQQRjdwwVt+J0x0ycx4w376G
Kd+vLs+Fu1OL+mhssyhIXJgVULL/LuqYx0NoR/runJkT+fC6KLgpA/YH/eZNyMOTI2mfTbCj/CWq
Lsjf5md9m0V2AMXyYIhHsHz2gw8CC/Rjw+8PyOkl/mN6kwD0aGSVEipa7/spDnksI6jlRM7+ezNf
L47PK9xc/qMNcYvKhBkXkj1TfRR9d+6knzOx/vkHD2w6ITFcABNTRKPMV4/I7+09LsmQ+m40Xcrf
5Fw6feJC/rysNQ58sInxhoKOCjbb0IimG4GhPbVfAwxI+z4JiqsCHQdxPz+ix9XflPfn9LdPrpmi
W00B1VJ7i/XNjSxzvqxrxuiFMm7E/Pf77/Y1kGGBHwxsNrVwemMW6wLnXrvt5mrXDdCLAbH/ezMn
EuzPdjYbaVc0k9yGHfE0B5gzjNPDKuW6rD1A34wwdHsmkJzbuc3R5qLDkOD7wihyeLS+MRt5Zk1f
C73Pa1r//INztFUp+4ViTWuo0i/zW6uDPBcmFLz/OCUPtZ8JhmR7XzoeQNPvzZ882B++3OYKsusU
dLUE1kdVYUIguyirJ4KSrMZspEFv6QBvffne5Ik9dS0LQI29Mpq+0qhAnaZGNi8ecy5zaHoQDMl8
b+GEO36ysPlqYsZzEmBnYn5PpFNQgKcfddx0jxWR9hmQYv1PbS4aVK+AYNCwBO61rb8MSOnpjtYv
XmpiINDN/bK9HDBVMBnnru1T2/bR0iYEF90iucUHzAI3b4LeM/cMWHiiI4pC6MNStsFXIkVyMxjo
Au0+3VUBXiXQ9zwq/TaQAcbdZg8i1/YZ/z+9gQhL+CaITFucw1JuAoFPbGDSvpECuA5EFkf6x8ib
M05xwtNd20AnBZ0qPLi7LflWegMmglaRpdnGnDN9nPXk1sGQKaaqrUcyToDvsiGwZfnwvTfS9ct8
8RHDcR08uoBn+raln56YI1jsDRweGoKYr2F490M9Tvtqv76ug0YibgIwpy4BFEQyoE/ukey02Lyu
jtkTCoz1aa07J9CP58LpicjjOnhiipgAvnEaN9G0WHJlQ0188SQX2k6v3Oa+hE7Yq7KG6jrLQDGF
JEu1+N9vx6kPDrFWHV2n9enKLU6bAlADrTPDXcHs4ZYZWnu19HK6bFwdQ8/SxZju9wbXELbdfig+
UxO1FLxsq149DayRqQ690dxiUNPA4CuDkJCD0Qo7Atv4CnMZ0fcWT20syjaU3nhOmOANr88hPbX1
OUt1+HTJFajpS+Ych1kfrvrK1P9m1JQXHUG/+P9hFB0prJABX9he8lNJ0Ru1x8UzJshSQQ2xM48j
1H1MTH4KwF/fWzsZLdwP5tZw9eHagsiYpk81zK2a8Utg+zN5fx8NChArHMtfisfs8lywOBXYXeys
S/HGAwO5/LNRjCtarYHxKegeSIj5tY6XynGKzQlCAd+v76SXfrC0/vmH5Q2LRWRDYGmVgmrIHC7o
6Y3FSyFvvzf0nrVv3ROvuIL8hvCHF+43YTfPLasZC0QH97J9yndtKK7qHI01HrFw7SVoBwZMI/cp
RqPece5zpIJTF8vHH7D5kh1487m9hicO0bjU3eXSPrOZJ5B0AJQf1rj5biaVOH8lTDj3UOOgz+IO
AmW+FkKJ0QwgoBwOt6h4w+4sEnXSTT9a3nxHvGOWJe+7OwQG0v0imo7k5+B5kMhBiaYFGIs8l1Kd
ctKPJjcJXSaWsdYaLLaApIAGJbnBqiAv/va935xd2SZzYw1Nl6KFGYmXDSCX44sDOCtaOPmul3h8
1xyay7OE9FOX6PoSAJp76Augxf75WIgK00/FuraOtD9HoNqp0z+1TvmKubwogd5x4ZaQLT2n0n4q
hLO14Y4zT9FX3JyRdAQ5XK4u2mRamNaPU85vreqJl+SYghmfn3vw9gv3zwYo/NHg5kw01bKUo4LB
KWrBIsh8+2C7Pnu1QITLgjYYn5Nr9newAaDKZ+22fEN74Swf9lQM+vgjNqeG5osaxIwfkSlrZw9Z
kKk91Lta50zf4uRH/bC7mzMypWBUyHWxgFIvqqiMx/UJ07O11KnqDZuKyWxgqKC/b/GLaeF5X1Tv
dgwItYUt6NnCx5hLTH9Zjwkk8vx/O87wn+/4j0ny2V/zsWsSpUEmkplQf1Q7LsiZa/f0Ofywqo1v
GnM5uLTHqtaLkGZh9zDd0CN6dV4BkWQoB0GF1oeqb3Dm/K8u+OXe+GB346IYOoUo6XpvrEx3vfaL
e3aXxhizi5orfsxCSIW19Rmj5LSr/LOfG5dMRyvveAejZqygTsX8/s4MJ+gK/rGgX4C2LDTaam+4
gt7jCqisbdnCV3FzaR/JhXbbPswvUGg49wnObcXGgUmvEgaAeP1V7dXaAH/34eGpuaJPkA7AGy/n
2NCnj+Y/+7CJ8ejF8Vk48KtR+1E5l8SZLsQ4hTzvzuz4CeB9jUT/WNqE+VFhilmuHpxc2gdxzA8s
JHt6S547b/CLS0CpZ/zq3CfehHjXljUtMNiFlwqTF+gsx2K37MHKhcReCDXWC3pZXxh/tQMkoNKA
vX1v/aRxNGstwwTSCej283kFwQMqLiWMT1OdRRW1yA4jhw+pXO7yqftf0s5sOXLk6NKvItM9NNiX
sV+6AHLnziJZyw2MxWJh33c8/Xwo9agzkWmEqn8ztZnaqovOCHh4eLgfP+d7ZzEJVlV3hV8vxEB5
OqZnx2l6HoD7pDQxx634Sk/hEfgWQRASCie/8+9ggdzBmwBJUfLFvxVX0UpYMRkE49MOANSd9gRp
31LB6QLSke999HvMvveIvIIsG/we6hbiT4SsaPRs4ILY+gsrvvRIOTY0+87QPshNJGJo9Du4Z7zx
sW/ABEUSSkWjKOzkYkkd5HKo/HNt+qwviCx54yfTHrdfstf6R7yCP8Ip19o36aAdwqtoE9+IS9jN
KcJ/8F3P3mKmnDaBjM2St/YkXe+t9X21Ebbxutsp+4/d9/JpPVrh7L4Z5Uw2SYGmjo5HLYg0N3PU
PdSw3cq1tedgMUe4bBGNkKnZC0LOmF0/+pi4XRBjEXar1TSlUDjZTQJWf1LrzZ+XagYX+q5k8ry9
6GUzmXeGm28jJdCNPB6ZipA2+b2ygwBMvBsP+oYyxbAU/S5Edksk0dRoP9J/nc8KDmEF9g/GGk5l
v3IPMDtMgUhwesQRu6cE3svDb8uOkzNQKRcZTQShAlfULAbljVRF9VQvaDfRo2R/79GS6xGEXGv0
Vhh7WLi9LjwXTszNXEZjKDpNUuoheVI+WF63a9z3UVgSu5UunIMTMzM/UUET++gO8KBtJDtx4RXV
EQLJbnpzI4q3fv/VML7EaClImI6sJanJC/fl1H1g5p3Qap1V+Vy/ipmYxmskhExSZJa0onR0CcgK
lJkLZ/DiSqfpFVoSmkTL/vQOybNIMtJJX0beUtxZSztjnVzDEkw28vs6WL+c5U9jc6hDJYVczwRP
m6PisnFUC8IKwL2mff14WRdPwpGhmVfKchcYYJsJ11W4RhsCUqiFw3bREY8szBxxbEujqyIswNAE
AUgHwfPV6H363y1j5oadpw4pPE2D3UE3rkvwgS+E4Ev1FGZ3pkuctZzjEq0gzhQvZhnBTxkJD28N
HW4cXQ/Cvf5T2yVbSABInYxVzHsO8ufBCeWDmKEtHh+a3ceL/VVzm10+J7/L7DIfetXXtGlLDaBg
8iqHj3eldqt2A1HbwQBBGuZ3qraZZKCnX2z8mSHGgoyV0/6sXzzG2JGKgOn0Nn5tWtK9aLM8UnL5
q/+5XbPToreDN5TTB/ELlFEoMlX0PxlVXjiVl933P2bU2dUPt1eEuh87UUD372fv1vD68V5fNGCQ
MtIYpzbxK/c4Ktj5sgEuOQlGeF4YPA6S4LPfZwvJxMUodmRj9s6YOP7CPMLGIHXXcI2tayn5ReVb
m0tF6yVTsweGkUFBZlaYErTks64zipdEW8/86Zbd2/9u42Y+GjbFEJsyluCUu8mC6Lbul5La6Uec
HYOjfZv5GBz1g94UmOhoC6tita7hDdKiatPColjIkLVJCyfvUq0BRKQlQ5DCxcMU7uklYMZGDWsY
bq2hGmH3YE0SJ72S73RbO8Dx9GDcLyExL2W3JyZn3gFYuVd5qg3kDTLzLZt4w7i0rd/FtzIwF3Gl
PPvrxSrAJT85XufMT9LaagNxMsowwQtAODfaARWmZ0fB+KFJHCY2IRdgLGMRq3GpqHuy3pnjtHXc
lFY7rVddl/t00+6Ca7htbidhvPw2fwEVT8IUPpeLMwZTsJj70/GiZ/7EIy5IpBjLUZB8Y1QOAuwQ
yjjar+usiuH/Kd8h8v4i6HTVxr/Qv5pwlboGhZ0KOmt2gylVYMFNiHGvKp2GNm8wIvck3AlLnYGL
qfaxpSnkHYU0Q4KyxwyggdMQ5fGb9LocgcB71yJsvh2i4BB8w4PeSuMqkYylA3TpXjg2PjtAY4Hk
WGJi3I1sUduoP4tHhLB26Wf5Tfa26au0hmXnL0z6APU72tzZGfLHtBus6dj2wURT/NDCC/xxuLv0
YLKwAG+DpVka3/F0V80e+Y3Aw4Qud9+ErN4oVbLXRfjzY9qttbqCQOaQR+Y2DKJPccgaIcpyIHT4
/QEK1qqBNrSYb5ji1OkvkpplB8Ub7Omjp31Ng3Y/iuHzX1kskxNUVMi6cddTG5wTUWxUFgtr87q/
bvcTJJ33Lw1940XeLQX6yy57ZG8WE/RRrpj9wV64b17zDUTagHPGF8iPF8fFL8yi/YKFWir0Gzx8
533dRIGhyDKwNb0Nm8fsob2LGMwH6MdrW3qRbuJv+fNSwL0Ybw3GGP8wOnPQXvRHkBgY7aMMSYZ4
VaR3rvfd7JYgqdNOncW4I0OzLweDlhuWHgkTNJwHGZSmG3SrMT+E8lMip442LHBWXHwggrL9z8pm
n86KzJLRLgwKRvpUQqQ7wC9vSYcRHRUt3pYwaVnNayENcDNbO6u6W3DVSwncsf3ZcUhKMYjl6XP2
dyTkaxDND2iK3pMVO+EuXKfbJVTc5Qv7zxXPuWL8sGbyKPzlQO4WmZNn78EWnNr+mjI9bW7Sm8XB
msvnw4SllQkRxri1WfDJVcGMoXMafoG9ssPU/5gan+pueTLkUiWREUMVa1RTpwrR6dk34Nhr0deE
eHkLuzzXc7Up9pOl6C+F1CNLs5djUUqWB+cO0mM3qCMom2YbPaMi5BgP3n12/9e6uidLm93BQsGQ
4TB9OXXbrVUn/DLVhFDUsPPbKdOKEMKVHxf88+KBPFrk7DbuTDUQwxybwWAbjZ3v8423Nn/Uh/7g
XvcO7IXriQZkIKjqS2H8YtQ5sj1zG0mstSKZPqXIa/CHzyj/Vtm5q+6rf6t/gSGdx+u6vo02i9W+
aSPPotCR4Vm4Y7luXQUYrqeXq5OilMi8b89Ek+a079Vnf/vxLk9R7SN7s6g31Gpt+dNCG6ABjfE5
TWBxMhK7hN8zaZcQb9MJ+MjaLOSlviIBesJauE8ek7W7f2tW8SNsMotjWkvOMwtuoGV8LU6xVJWP
alzDlY5clFGsQ3XYdjC1d260/3gnL0c3E6QVFGvTDMns+KdSZoWxRgInojuhrhHUvCbCrWXGVdD4
wGcCW3uBTu5rt4R3vmgaSgGmfwFGMnE3+4pxNKYtBCWoZKxQEGXaiKfrmhuMocVCZXCGSlydQZpg
7T5e86VdVnnr8fpneprprtOIB7xPQiYA4n2z5N5EL0NJtVVv+bc9qJMATQ7dXZjAnQ7e3IMMCJ4Y
wZUZ1plD+0whivuw1civ6jRFniyhj26HRcPEZCMb5urj9V26IuF1gVmKWvj5DFnitZKVQzdrj7KA
wobnXvkRSjUfG7mYIJsK1F9Uahn7mYOsXLmKAz3g64kHVEuR2oAX5xfIWvvZ7N3Py/3bS5sIootR
H01VGJ+cfTa0MRojl1EIMAt3rY6kOTHSjcESsculIMpJmG5CaM3Ih0+9o/UrWUB2k9NuIZmuPrXm
0xBVUBYvZFKXlgPKUGFUTAIhN39gVEKseroFe22eoo2umck+yfNPyrCU3J+vh0aMyCQhrxmmTued
H+B3OWSw2AldHSG1Jn9yU6+975VOfTWydLPgFufBEnPwMNCLFsFvzHGbg+sysegiSgr9uQNObavc
Wg8T34O//n2+B0xBH0a7gLE7GDZOv5TkKZEEFyimfHE3xArahsL3j5dzfpQsmWokmGNTlfG72Y1a
ZVrr9iOSu3457v1hPNRluxCNLnwfTODYsIXqOqip01XIDFzobQsDgStTcfYMGKpFNIAqHZprmKlj
5/dXpE+Nc4aqAdfMQ1GIckdiJmi0B0WzNzv9Hi7NeiE2nF/PQBEIQHToLVY1P0JllNRpA+kP/Evf
xfYhitHr0c2V2D6P6V/4QNM8Hs6my3jDbPcaqGktvYDFRFF/WsPPol9ysgslQhZzZGGW0OVyOUhJ
ioXp/ZjCH7AZ0UYm1lVQu4mIy1nr5QG4C1n5qdWZ42Wa1OTpxM5C5+shk3dJk19NokRxDZdQ5B7E
FAhR+QmdwY/dY3G5k7seVZMiI6ldngSIbTL4ZCoblzngbbSdcjnE+VBs0t5hIlmsCJxHw9P1znIB
WambSgn/2OWBoRIZnNC/zQKNUl4QzoWOeDnjuuiqR193yhWOlpvmg4byCrqSmZdct22LbG6CuOWw
zhA2UHJ9gTXswvOZdU6Ej7qqMB87P36lYPge/DHIOP7CQ8NRaNoR5MAWQINBXBzIu1D9OLUnn65P
H8feKLymh5PPUQ/yJFs66ofS3LxNvXEPtnnbz65zA0bZpRrIr+L5adZzant2NqsoMCNLxzYc2JvO
vEKEr6W8/kNEyQ5lqjUqLFNDa5omteJdD7SZUXDkOCuuXqeizWQwo730W1128KMvMDvPamxWQm/w
BSYHL1HuMu9LfS/9mseU1qN5H+iv/4XZabEfbcbsQKdwmsO+zWZMNGwSWvKRE6ynGft+Ddu5ASR3
GfB24S4+cbbZWU7LPHdrk6XG+2CHBpm3BmyyLzb9e+osxclL1xjgi6lCKRkyo9injhaqUi3LZcbH
juRgFSEs1diWWcnbumjia69FCGghUk2uO9tRBWItkkEJCpSzo1QEMBVJCfqp5WYi3UspI/qf0WLY
tttlZ750cLHG0eXZoPC/eYDq5BF2NKRsQtN7bz3zIQhLR0oVJBtNhHvR22zz6IdH5r2ShVxbRYL4
NCAR+PGiL4RJhjM13krMCJ2DFrIMIhitDwFECUi456UvrvIE0hlEfOqF/b1kigEooDsqLObiHOmm
NNpQKYi1MUefmQiqJM+65D8D+FkqcF8IwXCu/GloFoIr0l/TdTGkQe5iVJ5Tmc11ixxvpXWObKQL
ycmFZ6c1DfmQe4v8c54QS21XDa3HmNo3y7IRjCzvo6txJ967n2jwo7QS/eDFdFAfP/50lwKPQiap
/ZqjgolpFg7zuEnzLAxIVSiyCzYcRdG9v5kKl2C+3gfjsHy7XTiUCpgo2HnI/9UzUu92jBiQk4XO
boX2To4gaI5MhMC14TmvenUhkb2QK0+Lgyl9GhTDD08jQJoFwiRfRv6aihAuolsZVl3wF7yS9yaD
SwDD5bN8r1SkokwlBJa0VHtSmuSgtIpdJQugx0u+j4mJrlI3GX6bBbM0kMwYuonOzuvSlltGejr0
YPX44WOXWDAzRwWN9JjioGQxTYTCvWiXYu8U6Jx/bGU6P/M4ebQYY7oljlKcPsihRA2w0pdfoupF
qNRbK6iB7jx6wedusaxzyed0hfhE5cHAHWZ7h3aj62WN1tmCD89gKdg9goRtnG25HBac4ZLH0aRj
GIr3DEOCM1NaUsVKWZI0uqYJRQ8Cioq1+njzLn2iIxPz4j8yUnqni5iwBGRooxseGzYkPZuPrSws
ZF6E61A+a4ya5MA3QYlL+bbRhKXE/rwbbinHK5mu0yM38HiBxmXLSpDv2qpN+20U0zsGDLd5pW/M
iLir19Wb0eX7Os8WjF/yiWPbs9A3NnrZWKiUQCx4iHB0QSmdkpQ+VdqFnbwY3S24yH7VM5mqnN3T
ZZGWRQ1zMhQtWuxIG9VJdtKV4HQUit/0t+qpuPM21tNf+X5/Gp1dYXqppUKYkGi5vYVO8Q6emIXg
eimRp5YHExWDor/ur9PP13RanxhoM9riQ71SvsT3FWJddulDDmmbP6Lrfs2Ero7gieQsUsFccM8T
2zPXaaARGvt0so2cTdq/ZsMS8PPSZzsxMfMQGZKtss0wMaEx+xVqzpOMgOW4n/qfJli3B1CZn35/
PMM6MTqt++hISI0vSHoy5XQoE/kqDZvqUa9QaRMX7v6LG0gwpCYCj9hZGUkOXJQBTVIcRAdXnX4N
/HUhyF/ewCMT0xE8Wgs6tcAVNEzUK1hf7oMr/21CFqW7bjOskjfpvbv6K08pctE/lzU7a5EGB3bl
RxQptC+o4r3WXvneC/LNMGZXgw4Ohf6PjxKAUt32WbrN9OdOLlH+Fta/ffz4PaDv0XlWn5fQQsEo
kyFj7ZL1ZpGfxu3Xjw1MF8nsCj0xMHMUoR7zVh8mA6hgwYdsRy1Q7yTYZ2K1UmrUbuufproEFbvk
NehxTRBVqMTOWIrdqI6jukGarvNhBUQN2v39IVSeNAaNOwXO5alcO7tBc7+KzDaHojhz0Sjo6BzQ
TvO+j1rqLzjo2WKwRLVb47mmMg/+a2TsyD8bBAHpbNUITTcJMolyjti3az59/J3Oy2bwJ1Dc5LUC
cQAkerMwYlhUnnUzA8YSqZ9CTXDk4mcryrmjI4bdd8q6Gzp6FTzyfWW1YHv62SdOgm06LhRxIZMS
9Xk2IuVGimgpOuWdulEP6pq276ocVt2baZd2evA22eePLZ4ldsDKgK3BU61M8MW5QdFDHMwLC832
w9dA+2YIN4X/PnjGpI5oF+ZCsnp2BrBhapCBkRIzEDSvU6tqCUFQFkEthxTdJvA6Fc6xapXq7nPj
GYe0RX9yCHJGgzQgwh+vVDo3jkYuzQvaChSWz5pN44iUX5IPJgzB3b2EZlc/+kjqNrsk9g5CK7Nc
Rhl1Y21E9TaFowbev5XiPtZGtjVyxMerchXU7TrxriR3ybXPHrDARy1oIqehsIksfeZ0wmBqXpX0
pl34in8Q8xyBDwH15EIt3Y3Ze+1W0o1mIeadpVQyEhiw0E09Aygy5h8/UsLRU7WI6mGd/ZBF94Am
3aH3UK3tY6twPt7/syx4MsZLWTc1ih9nvaq8VPKWLolhl42UbtRKdNEGjZRdgh7qwhG+sJkTxwp7
qSgUE84QuWbiRTBhoHpa+L1/oEk6rAM1jn3bytumdhqd2SlGSlVzCVkkz88vA3MqOi4oJ8jMHs8t
tyEKzTk8ijAVh6P1bEW5le3p2xaPFrRcECdbwoigQ5K0OTqWCQinqkeLxAl0IcodbdQyqOoRRREX
Ulr5LHOf1LrhM5/imXxOTQt8dlKaSxS7teBTVYV2pyXSk+uHvRPkgWgrWgWDAF2JQgXay1jLHeCI
Qxcy5pVnh9S3VlJh6Fs/Mr61geD4sffFiKKV1479QpZ67pSnv+ksD651Kwy0kd+0kp/CWEWmUON9
gRZOrQcLu3LZFPc9XSYC4Lwzh4AnegshpjxZ6Nd9OG41F8mASTd20IqFXu2F8AMHIvk9SQb597xX
q8ZDIkAQDNm7HJBf+zE9gmE4KIWr2qnQbkJfBHjSC9usyxa29Nw0fLA0o3WNIMGdNnu902GtfLkH
nCEl/l2n+6jAacV1KmubVgw/F1lxNRTlHSiOTx8f+fMHB3UqBmNg3kG6TDnjMm10TcbDBs1Oi5Ca
fPNN0pVHretvY7dcmY3olKF11VR0Ko0fqVk9tTTomUQpEGLt7xsCk2QsNE/OP/nEVwsFCmGIiuEc
pYokYSyaTDrDzPOtZS5IUeGg9GIHNMXCfXOWrEzyQtMjkhFGpnznwXXsKdWlXYn2avQ5F74E6ZeP
N/f850+crWRcCgPMU+P3NFlXFD9qFTcB9u8qEtGsUJpmL0nhX7glTg1NMe8o6xpBnbjSwBORtNxf
Wc1w2/Tds5xp4VrpxYUr6fyWwBjagXwkQNN8p1NjXTTEbYo2qp1IWnw1Srp7X8PQszVSdYlh4LyY
isAmmgXkBPTSqIfPdrDxS2sIOviKwn33IjGvC93Gs7t60xhn1aZmytL85fm9hCAJFX54wfSJnmt2
yZdam6Pwm8u2oKtOUee+rfZ+ZlPh3KsCDAqq2y9xRkzR8iSh/BX34YKm1IhYyTzjSvQkDbKGjCsP
rFstb+9z0BAA+fNrLdXffST9kqpcArudHzJCOMgoCaIv3qvzdbaBqYNeJq4aQ97Zal2s1bRc+R4s
0Pko7/0igo7afwwjdZ2ryDfHSbpWSQXaNHVakadQa+l3glov5LrnvmVoEAqTVyscGz74qW8NgVv2
kwQ3qkEhKAlR2GSJm28k2a0WYv35S5ptn5QaEXYCJUaF4NSU2SjegDSzYq8Iupg5KKt+F0GY4f0Q
/XXtiHb+vkjaenF9R0anz3J0UItg4OqKMep+k77IB283lT8CR7Ts8FZyoK0UVovP9/OE53Shsz3V
xjgLehmb9cqwxRdqIN46glxO3VSTDtSSvUueNY0XIG0Kbc5ZZc7QekQ/Js8SK/lR9dLCKVKU7s2k
V5wh14fNxzH2fMJz+o5H9mbJSDd4BSIc2KvW/j2A9X7cZLnj9jslWMcbYQ374jr07D5bW9FKg6Nn
dKRxnT4st2EuRKvpV2H8gAM1YaNmLiUFppTXASoNE2tEPTGPTIQNpt2+NvfFffwgLMoBnt8wpxZn
/qS3iVx3MRbFnGFtolVR/n6CcGpi5j5xWHlCnWBCEjbmLY3efU5hZD1RSwHS0wan/jmui41/WIQb
X/akP7dz9mUDOW/KssDyxGnlu9uyfpjsBo50UH4qyiZXDrUz2Onz0iWwtKuzG05WtaGVXSKymiCo
TuuEgsnqY7e9ZAI+QNj/xekKnXcJ3SrvQmEKBE3Q+nbq95HtS2K5/tjKeTubw3FsZvo1juJNXESi
kk2HEdT/A1ppB33VH7qVuPpvJFImT5hfZBPbILkMw3AgX06N+RRaq3Fk27yGca1OQxrzJh99W3Ov
9VFbmL69FEmPjc1WJhatpkYDxrL2NRruo+B9Evr6ePvOHJASPBUmCj4TUfJZOcJoYg0dSvqDHa/i
2zqM3DdX65W9BgH2wRsN11wweLaoXwaJnCqal3R0Zzvo8axUhhSDptHuTFDuYRU74m+/NWZWZlsn
+YmVVDlW1G25n1BfynailFm87Kbf9sQfZnZm4TARtSEooPCcIHWBrTAvGDnUUQ/y5t96iEvYlLMz
NbM3C4aN2kUoMGNPMusrAdnLwlukIDlL1iYbMukshYMJxjlbEwmj17Y+NryXZp09+okjrSZEtPCi
5c7wI7sWV/LOdaQf5WLycNE5JsoMEJAqUgizqER3d7AyCJlsUxHG58DykytPbfLQUfLY852PXf/i
XhoS04gkY5MK2ulZ9hp3aIdAxfXTwEZ91Qee97GF84lhthJdPng5eOXBmDxzdh2agTREtIo7yw5b
u3gd0SRpr+LvarrRUfIFXn6VR4ABla/u68e2Lx1siptMWwIx4Lk9e1akadR3ok6NeGhUOdhrdek5
gmmU1SZKqI7a0I0G2e/vKO9MCuMqiB5Ujmafr3Hh5olkznSnlt5K1mJ1ayHLtf94ZRechOIW6QdY
2Smvn62sElNhjALoOsRcOABTetSDcT9a6fPHZi64h0qNZGIxhvvxDM08jnIg9AFSbuA0XtsuueOt
sUTOf+GoYYOoDQ4ElMHc39Hg4PtlvE7SSs8bx5PCxFa6FhbLHMhlAEc58IbSzNo7Kc3BzH68wksb
ydtzIv7hnzOOGuZzgl7w4s7OCiYsxrp8qsYa5VctCpfKEOc1GIRkePFMPMhUAM/UNwMv9j0w2i1z
uYxxjyt1PQ1Xl5+51qCqsX5CJ7lyb/ulcvuFJTL9INFEAb593kNvLSgYS4gD7aDN1mJRrHtDc5R2
CYp+lhawOpnRQ9DvJCNnqU6WSoMiF5gxJYZkYf3xhe+hrNhYX41LIocX9/LY2uxyo0baUg7FWrsp
r2Un2jUPyUHaCevmi4S6gnSTPiR3f1x1/+et/7/ee3b/70ut+tf/8O9vWT6UgefXs3/9103wVmZV
9rP+n+mv/ec/O/1L/7rL39NPdfn+Xt+85vP/8uQv8vP/sL96rV9P/mWd1kE9PDTv5fD4XjVx/csI
v+n0X/63f/i3918/5WnI3//597esSevpp3lBlv79jz/a//jn38l1j87N9PP/+MPb14S/ZzdlFKSv
f9u8VtnZX3t/rWp+wj+Qz0SzCLVXaVLuEwnG3fv0J4L2j6nPMOmIoCNKyUXnj9KsrP1//l3S/kFR
Ah1D/mC6gnT573+rsmb6I+sfUzHIYNqF+R0qdxQJ/v/6T77Un1/ub2mT3GdBWlf//DsQuZM0xeDA
ESsnbDg3AgUYbeYxceQnUlPIjtFlsRPEcSLeun7NSzGw1OQ2aLhHQB31lmzHGvoPjiJPBNNG2NMM
NmP/taks/cqUogzIPmcNUctWrdaJ1U2JYl9JTklNly7l0Goo6yTWXTfq8hcplzXPFoRc4Wf1RR1S
8C3lfak1hehkUNTVDqMV2oOiZOEekvCkdxB86hPbrFXtLh2AN6JCFNLAVb1EcNpSlb9WTGduzbj0
arp3Tdis9DiLYyRMCxHij7EtvretakirqKn0B6lV4oOp9S1S9n0ko66SoDkh+PkXqy+YaFXE1l15
XqIgaZkn3tcMlK9nK3lqPCaq5N37bhZRDW9ScZt0OVMgDIy7ryXtO1vzDGVfaWZX3A+6ldUvpVKE
WcYYZyvUG1XJLRfxvdTUnaaCvNdR0o7/KzRCCZAgkL4ZPlQTL1JXiNdV5ZFcVYV4xy4KPaywOuOL
bunq1b72emSSyiH/2ssealzAZpKD2EXevSYV/cGrg/FOrjM/twslpaBN38UWimQ4jJ7xYnQoox1g
eohXZSQJTl500spVyAbUqiJQSdlYXPWJlGzdzLSey2jUv9a0lL5r9IFiHmtCDzQnNIaNnKbBdeyK
GjmuFmb3jRAzSNnV3j6UpeguzgVzM6apfBWWqntAF11yjKAqPnsjY7yO3A3ud0Xrmhejl/y9n9d1
y/iHKe/7Xit2+SBb/Ig4rdmaVF6pRR7e97rn/+xQNB7As3RNuQ+bTHtRfSPX1Q0qnJkjt0G06XnU
OJEfm3eaJJSu3XhWX/0YikGsUhsiPetx6HtLX/edLH+RIdfYJIGQQuAi+HeRANseeFLRpH7iN5pM
wa/Qr6WxQpQqa4vrwnU7NGrL/ipPQnMTjmCUY7mEAUkO2i9FK2UOstWNA3YbSitZdh87IYUd0MtH
4z3souCG4kX7oIZdvmmMmPmAwIquqqLr38KyS36Egsq1p0YMUGi14LgKzTcpVIRPXR5k17Xoimu1
TLV1qrU1cuu99lppCqpog1UbryVCLV81cJbXYWd5+3gw5JXoe8E2ijXza1ZE6aYUVHHfJ6XvpENW
b1s5kjciMqZOXg7RWquC9nsJFsvOlET8XqfmcCsXevI51Gr3fohKcdVkanGwIld5H5NKehzVpFxl
uhnvfKC4zF3FbnIN4XBxbY6CdFNa7IWbyfqutMJsPRRGc20K8k/y/YL7t1S+l74f3am51h3cQQNZ
W8nqmhgIpiHUonWotMFVzhIY7dDabe6G0rYQR2kTkEI9CVFE/T1muDbUu3DtG0q6iYW6eUqoSUES
o4b7yMu1nwKOtILNsNkHcW5t9JgJBdGocqcew/wmTMd4LXQB4wqel9+LTdbdZLHa3rX56K510S8+
a2Un7BKjoRBu5NleAdd6U1tNd/CzSgVy7EruVy/TxTF02k7qb6xcz7qNp4RZvJZVV1lRHQx+yGbS
rM3KtFZhqafbgVxy39VK+eal1riqQ894p90dvnS1ONyooxtsJDHM7oRWoZCXtkV4m1ultTO1BohC
U0Qa7G0tKofQwyRRqtyqguZusiqqbi1rSG7jWq42VVPHh54n4gpIsZIQGpFSzcou/BYUWrYes1q6
FmRrfGuTEUkmoxebmyIZK2j3IfFEiENoRAk2jCDJVp6oMvbuydnnNvfzlrsg7W6jUGnu1EhSg11T
ZinI26rxCtuTSj9YSY3bZeuKkpZ0nWWR2BXbNBKazNqFWd+YK7k0fe/z2CcyKaBBV2rXWHn/qtex
BXoy8h6tzky+510bJfaQdkzMNC50hvQRIzvshmLj5VbxnhaWtjflckQAiSchEFbeArWt5YVBZbk1
vGwN7aPUotCnh3RtfXAs6O5IRu6osaDvZAVdSl4NPVZcK+19W/LUAYa2WNU3XZTk+04CCdXHYb3T
wyBXb+sh7zPH0PVQXwla3D5aTWw9ZYlcPVaKLqTriRY5ccTCCxtbbOKgsv1e0XfwCAh01C3Bt2P+
cNd4XD5l4Gtbwde1Vy1xi28CT6YSNG5sglUt6vJzYbjUYOysCqgi5ElcOYgTuJ4zWFKw770wVGjP
J/QNijTzlQ2S9i9FW6IVbIVy0W983wq/eqPIATEMl3Eph2l1QXoz5TAS90BIQjijM0MraXMIreBf
i6EoI9LCZSLlNzhf6vHWN92u37vMo8bEll5kpqmUxtYRw1GikFcYvVHexgN0Y/t4NPT+U9hosfTu
M8hnvGtuo4zXYpekwnMtjJUDQ113jWQ7YwkgFAkQfd85fWkGOyEVfbiVxzEUN23sAbQTS71YuWbl
qtu0DmN3q9VmGdgF/Y03I2ibr0FqNpzDMLwxo0x+Nq2suPcaq/1Sh53wIots/Fovhmzt+rnHI6qO
RpQBoiG/Hb1S/mFFwlg6LXrn3zP6sugNhlUuPNZ6McbQHI/lVakpvuvEsjwOW0/JTMEeai2U7Cj2
y8c87et4pSp+8DL0pfXUa6N3wz88eDUwz7QmG8XfVgBfDzlSIV9zSaKy0EfU0vajNtRoMfRevzHE
0NtEJInxNpXH4pGOEEO/bjh8Cl3X9VdmMeowXfVeudHpauzTATfQCj/4ElCpvmr7mLy5opCqip0B
jaFXF4A5RkG57cRCfozjAnIX1ON34uj3h9jqvE9FYGY3gh8XX6Sia77EkRE/jFAhRyupauPvNUJL
D0XayYHTS0mF1GfcS7UdUSKq7GQIh4OeJDk6CxVqtY6XJeq6d/P6WkQ0K3OUJpC2xPdCo4XWdQ9Z
XqCXWdYWAy+B4qefyFqTwvGzPllVRoSQZiLlMFCNwxjjCSLapYi2y5+iuLS+WCbK7aGUeZ/curQS
R+0qy7Qbbu69ZlQ1yjlq+tkIPYsY0VKDTQI3tFaD23uvVjVQ40MvZh2S3ryxRthdNdPXnqRaTzem
5AmKbVq++5hS3H3LUh5A3NWmRrNfkIR9340tbErKmMdbo0Sn4Cr08uYxLBKAi0rlqV9rQ68/Rb2q
X2udnxSfazaO6AwZGQKFEM7mdtZQirELrQcwmtZ+99wZcvSeNIn7SbJKz1YL1V/DROD/DFTXfKRZ
Hm/IhIcruStlR+YSXreR0TyJWuahFBCZniMPXDKGlOovbpc0u4JTdFD0UdlEylDum1JPnjUtVm5G
qTffe0ktV4YVGLJtCqa/r/pwcBI+1sHzTPUTZTXRTvkPbT3GLaqubZ5iuTIfxTGq7qLKR/SqHgNn
/H/sndlu3kbWrm+l0efM5jwcbn78Js2TZUknhCXLLE5FFmfy6vdDJ+nYstvq/P/RBhoNBI04FkWy
WLXWu94ht+cLw1ExwFvtkAU+ajtn8IpDHDTtR3Kk1EdaW+2k6hNxkK6TRWWgGcgcnXiTCAfZ46AH
z9QgxYUoRb7LGEPuADfSjUMIMd2xY5/UqYZQ1Ic0kEzjSRlbh7lNL+Rgyy1mtvckoVOiAzf5USxT
tXfzDB7uRMVqN7Nz4QxF8WrGnf5xoe0rdlmQMm30pjINZ181z36v+ecZB8Wrr0zK1l5v/FNVm/lD
Uc3zK7RLBJz+JJptI2OKfHxDvOZA+p2+HY2uY+pOysFZ7xpuH1rm4r4WEgZCZBlNKY6WlljPdhvY
Geab43iia4n7OZFVzMVrxYmgmfZd5sblk1sFePK3upVA22+1T0lDVRTZlVc9GoshM95SMFwGVtJX
GzH47De+3rmcgs54LN2GwBZwxUM3T8vrLNlI3UXMPfOadFTh0iO3VGPWX86drCN7EFhIFbAFs3EZ
T/DurC7nrG7ODQr5C+LNy4fY1Gs+DrvDAXnGo7ushXtZ6irfBk6tnXmBNj/TEfqvFQyOfZsb8xn5
WJRnLciXlnUBJcKAeQvHRXpGJSpfMJwjv5HvfWu7XnaZmSTAjOSsh4zl6Tq0zNqvo4BLt6p9igjX
FjujNfy9I0vvXs7l/IHuKfvSsTlESeune7tzKMftIHduvVirzjFG0K8xLqguylk6J3MjYIQ6ACBQ
+NXcfygdNey9xOoeh7hRO6+Kh/sgqIM0DFQfHBytT6+MvhjuzYTYcAhxzWBvLODJx4Y6dGun7bQ1
E4coxSIrdksczOjE9fQDJhRB6HWZfscMg417HqHBzo3/odLMdt9ynJ75+OrRTVMZ7dphaU+TKkH7
TPTPps+MZKfPlXZaUjc/BkFrHGcSubaJjXooUHkairG7pa7S6bLM6RoqkPzspaN/2Q6+9hRTWG6H
wqz3DreytxrH3DpFUZxWHkYhluzmyEWPFPWT4z3qhalXkVkYbhKWwu1ezUbD528q9QeEROMtVqft
g2+K8l6bCYNnWEaFObipeJCmaK612F1OhtQIbhdpoLcAv2vPqeHS2yKY8l3OevDCFN3qY+ml1m2W
Nc6NJ9vmyYqn5kp00o4qCpADLYv7qJqetzebHfdlCdfYtLE/PsxTMJ/Eto5nZtU3fHVa/tgVy3hY
NJcgOGG1m2bpxGVl9u02Kfv+MAmzvZ9ozz6OceLS3hemFOxKnn4GWILM0C/cWyFFP0dJXUPFls7i
RpaZyRxYwFK3tcIEdKJMfMw1TeBWZ+U3MByJVdZHqW8lm8DWn1XMVjcEBSzX2EvscJzJAcCnVWrH
UsYdDER/Cu7d1qwZcCvNd2GIjdl9p3napTX78hEN/PBo+nyaYTBl2Mfx0/Ab8mu90TbrZjvwZSXB
uVPrnghjz5M7gysZoS2Ltmcwarl7K25RNCLei/xa6OewZHMahCZL1yRkkyOaL6JxN35hJMmpKQYk
rIMRNwdT1M6daFPAnbCjgdqmessX+hXq+i/q98/VdOf//Amq/QD6bcSnz9+Cfet//QfWZ/0GZEcw
JCQemOoIN//E+gzrt5XWjWrcAm3W17/yB9Jn8ifo+tYAAdQJKxr3L6TP+41hCaZRyM3XGYDuu38H
6UOf/j3Sh7ML4xfqMlTB/A/G4/dDrWpxe5sS4aTSKj67rZ8N8+yFbh/Y8blq0x4MroJudt/5hmZt
iTaoS1ZtLyf9NMPuqd3ZqEOMC5FQtDKWEC6IwkKpb+VhHSdeUO75SbpGN8BAY7EOmYGs496S69G6
9bWO/hJ1JqX9BdQnI2Yw6gN63I36rKPN0JZCG/TLOnaFxbmfa1ax/kuwm4+0lob9oVz02j1ve7My
nprGjYmdN2avmwmElaZ3qVlDJTWAB8fuL3R80rD1Ui1KiPsSx8jlS7nEcniVadJYVVTK3J4idiF9
uiuGcWqvE+WZwuA895x9bU3jZ+g9ZGZHjaygG8MxEUm2kdakDOYvWWrejXhFLxfMB3NKHNGN+vCU
thbU4FDYk5x2c0VhdqtR03Z3bIx0cKGhY4+7a3pVNI9O7Pkk1OcVJ/lNCiJUP2ocWgiLp8ErM9Sy
tj3ZbFlgUuPHGBjGTICBqqDFVYJOpDJCZ+DIIJ+99wzNDhd9zoNzzXPjcW9LUbhPSWHU40OWzl6y
9329dk6MwvFyjCw1XW8OajTHcSfMYMRM16sCdYQIIAZ3U0xzXTxVsVsQfVp5yrskEatk/zfoi6ge
O5yK8i9mq3I33jaDqeK2OzaqTCU4K5RPm7LFmIdlwfEp0VDUDU868KbMn1UKZNs7a8DKAig8Lxak
urBMkrGuRlYcwvFKhqOeB4W5h8ceW9N+NmYj07bCGJPlCclNO5qnzlQU3YtImRNbmzrRMnPZcuQs
VXkstDTwpy95acFnRiGxNDUWvf3CZyu+4Eo9NeqcpQhqt5ksUQzNSbvkihLLd9VUqhDYpqNVkA19
edioxoYrRq1CZZFViSy3s2vEunFhjej2WVoI3mb6bsTmDbYeozG6+xq4NR23VVJ0qI2k6Y6A5D5M
WA+dDm/jwlr6QNzknjDEuQST8ommQxu1Hxp/ip+rsZf9FSXt2nunkwvwk9vLcqGmeJEP4HT1aIVF
7/W12JRG2ySrQQPf/BTx/MaRwNhsGNTnRNdp2LcG4dOi22Q5vyII/qQUDyWDjzJkm0YSYbcDArfz
YFO6viIly3PUJI9N7oByRtm0lFQrrEZp2ZHfIpcho9CrtK47991Ziz959IXDR99M/Pm8XWTTsvq7
nnHEf4+abl4HTOzpvzhq7sTrP/afyuf007cHzvp3fj9wNM6VNYgYezALHiec3X+dOJrh/oZyBq2H
jnlIAJmXwc6f0yWLP8LEAK4eUx9U8wy5/pgu8QPZnQMbSjx/rENR+DtnDr/Hd2cOfHoE0YaP8dc6
XXIgD3x/5ogBaTkl4DVtzt04krjSjA6gmzLZnM1UbU1jKkIr0R71pjnmDfsI5fSG9lVjJ6meibyh
pTQvdB9VVOJ0H0y7jYxBO8njArdvj+5NM7otfdxBOMl5YvpmCF7IKJl9JwxS/LqdlJPGL9Nn5a50
5lnSiXeVIqwsvS0z9bkzKY6DxGSA0lgbOfrPk1E850hHHHv85Nrd59ynjNJG+msHzzdCKoy0C+7K
qbM2iaP8krGWYZ+il9D3aSbtu9ztIFw6gfHcw1n5KOyivxxbtAROnsuPrphiol4YfV1rdRYcyeON
H+POci/HOA42qki7ZVMV2rSx2bs2aRcPFwJsmriYYLBrbmpelsjx6iwagOj7jckMZNwsqZfuUr8B
pKtLkW5JX0k+iCGwroLG5ID25+5TMjpgDdmM8VoaF+kQ8cV3yQEE2HmoXJAvfF34LVM9yENryrS9
shTg85A0+2lKgtOyyD/0HJ9nzdBMe8+biksikVUZKjOAJT5yWt97szI+pl5tdaHfVygtBTjic9Jp
4iI1NXntIp67TZZRxzgnaDBUtBc//0STWoqwpkRpQuqO+VSAjZKpBhfoAhOT7jJpk+HUnWgF0aEZ
kmmhln6suPjBGP3kxFYz+elmFx+DiXgRVy+qA1Q9Ixpm+0OGGO7op73/OJrgVmE/jUxiXKtczu1W
R+QCqh95QzYeK092dugw0szCemRwNaLEe6ydWV21onUjF5LcHZEtw3Go+IeiEtr3DV13nIw9LQGz
o49jwuRztr0xyhy3uwQrEsdMTG7U60txIp0SuLnVRX30GzHshwTAlpRUHJ2Tyuc9iVrti7onZY5z
6TwrOB+zEosYyIX4t7hZ9giLWvtYAyVGvZPRnsuMpzpXhYhax6EpMrWPjpEyvcw49bYaI4ijbc7J
1eS75kdzKeI2BCFVV2Npq49zprAVKkT8WFqz82gF0qlDJ3OHY7DoLueB8pgGlnhsAlXb1kxcBOXS
F89vPM5ATDCoBgI5hH1mT4/+kA3eejd2ElaBM1xYwlsOM/OQLV2auopnMNg2qP39rHdtvxstAQvP
ylmPXikI0AtyL5zHLL4oAQscOqHBfsmnPkBOTvbV/dhQVw0VsFAjPeMsQzUVWaqcbqbW6m7ZidpH
YQ20jU2Ngozh5AdsvMWpi9PgLm1qeaVbpXnZ1218nleTd1WkmY0Fmv3UzN5yOaBREIc27dKTseFQ
9704i+2zrEjsnTHGh1h2Hg7gZiE3CQUQWFmsDnXfG0erleW+a7z5gGraIPmrXB6mdLyYVd2wnBJg
Hw047JXxyYOtF/ej8E+drvxSKYPNL+YrR+DzXAxluW3rwd9NAIVn5WpfIpRu3Vp1zsP2FUYjcDv2
UxyMO1DQ7lDNlv7SxiaDs5Kqmpa/5/Oo45NcYzxuF+VzYiSvwgBW47JONDvEMpbMJvfuWMBOj90s
ym39utcnXL6lXp8pR3pM8GcV7Fq3m6+QD6yupxOPZWBxdm0WNd4Aszydjc1UTHGoJ573RbRNzAaY
tdtvTrs/2ArfshPeEHi/Hh94CdADrXzaHxmhcTcPTRzP16SkmCGehFAoCRKtQjCZ/0QrsJLQ/qJs
/ni5N1wIPhAmZMly3UT5smke5hvrZTkjzRtv4ijYdlvnBPTdh2mPWd/mfcroe5d/c1jOmlXZLnc7
DUFUd/bW645MFNhoj0PvHWvX2td6tf/1I15v6Ve3TG3xLUW6qcpeTMZ8bXmX8ZBvXD957x2uP+FX
V1gJUt+QsOMgBo7nrlYaO3sTxtmPasPzhAybY2b6QRzMkGCJdy773n29Yc+LdO4SWyzXGSNjlMLu
EvxOaPwv/PHPlWr4C/gD5lNTfU+TWv/G7xUpVSd6fQ+9frCyxlfM4g+6k/+bHcA3RcaNGbYP5YhS
9a969KvqF2REx/IYY4G/6tHfkIQCCq9qSAh0gCh/px6Fi//dYkSEaOLOwGB4tYwGVQneLMYMR1eo
3+ZO1bpwIotyKdvU+SytQ7BwBk3hNNkMczPbhXtLXsmUMVRN4mHfjIV7SdVZGsy7axxRTddzdYVl
nLLmfT5lTnZOibGIL5qKfWez+FVTEUEUDANeYXYuhhvdNQpjOwK+xxctFy7MTTa1LXIdb0xTsPO2
EXggRIO+dF88oTFFo/MUBM8VpjFs3cyavIPWysE6Se0sr6PSnsb5jhl3jiVOvBiV92Q6zQSYDtuW
8olOPMl2LpNAsAeTwOmjp7m9+1yW1OXXrp6Uxc0SD5QlsaiSTyrQHAYlswu2Pru5kEeSsCbxITWx
VNo1MxiWDNvc1pCpd1XrlRfEubUYm3eZLVEizIvMbuMpr+NQ8ysdPlHdDv1GL2BGpeGg57V3OuJz
lVCn+rW17cchfhnjicJqMAAGxlD0pfTZ2dPF6z/Oys/VYfAytWAMQi8Nhapoys58HZMZI6KN2QSy
O036YZSXLkU/TE4EbcMeUKS+7ZfCyMK4T1w9cmNDT4ZIUxYDfEZG1KHHUh9n+1yzJfxWY7LtmMO1
cnFsqhPIJvB7kqb+FJQ4L56Icujomu0SnAxJuUpEKGiXMYr1Z8OZH80kLeYz32vM4mxUVjvuu68t
uM0kRhabDl4Spipz4hvqOsVdkYRZ2VS2tu+quAUmY47pXk9iYapHzEn5uajdhRhpZsGT2iEiiN3H
GRILTojx5JVRY7c+tcVSJmjlG71qryy/dpIXMST2R00OzRJlXSzdiywVMbphQIwCMp3wCdgYs6q5
aZd0MjZBE1N9M9dpk0hZuoIWUHZDTXWcKzfC6AFEpnQrV5wZpCoxmBsT93o2pRY/TTGJYjvgK/VB
r3U7PQONI6Y4q4zSBeD2zHirFRXDocWrjGCzdHPuHEmgkx9nWOfo/RI7hoJEUWUcVog7PwVu6acb
lVoOhReTQleXMOhit9tCQfGnbZpWKfpsZr1jByepMfrryk8ywEWv6XZG0Po61SL15VfPhOToz1j8
hubCfwNtcZzTzWhWAf/sbas6jwOzIL/YneLLvKebOkly7vHKjwvNCR1AOufINjH3bqi1QwIHy2iD
nv5wgd75xcBLt9uCFiILVRXe0Fg5TqM9bmaN8TjvBTeL07lr9GA/lb1JRqU9eeMJGj3D3TupX6RH
0Rod2H2Xtyghq0mf76rW7zxelQ2rEHm5SaMsUl8fwizJ8pdgsHINLqqm8LG1nJI1kMIE2PSGoYqt
nRhrwrjNIpehcIa52hjGUiyfA5hstLx9O7ftVhPSjw+jQPF9RW/qzltG8yWzp0DG7jWAYJ2dDKMK
rK3qPL7dWl9m8yqvu9o+HWvDS4+x1zVm1Mbt+IA9hUeyiMketakR7tun2tBpd83MIG0LzBsgkveL
PrldkUZ5qlGGdsfBk/gdyzGRbCP1Mmneowv/Tm7bZjK9bW0WhXPBx1KKLdPOMX2RkB9zqDl5wsAk
1fr5lHFl7m20xZXeJrNqDI1LWCbZoStsNUZQfJSMbCmdJuogEz3rsgCh1HKEtixfPlKmy5NJ46m1
nh4mFYXtCePEBLdTA1RMxawTq9cIMmoy2fTRQu9z1wZt4e8NS85fMhiW7SYxY3nZlgF/BepDkW0M
xJ2QFtMKxxa0HpiwKMctsE5a5s46x5PQmj8orcImxUggcRwLCKfBveQ/qe9bI8ZkKbFrEHVhZLp+
ObNCzR1zWmJpfT3zaZGqJPb7XY49SLEZXasnLiNz4tNCW3oglDwAaYU9MM3FfilyBTAy1ZlG8h2Y
0XSyqIw5PwPiwSRPIHPxVcsKNRBcNGjlwesbTztmsxVnpwpTjfJk8OyhPDeB/MhTE1Y8BiLELjpl
LfajEPvOCCY6saQ5axuwyqhwsTTj56sgvUhy3I+iGOpANGs5JPe68lIISGnX7pa6BYfwMXS5n9yp
Y4JVVK1JktOc+4wJzWIhB6PSmDwXTJgPsTHStrRYK58Jr23PNaxILsYiMHcMs1NoHZwY27yx+ygp
VHWicm4bX07ttK+LNvJGRXs8NCQcunNz26dO8yVv7eHBEV13MhpZ9snubHWuKs1lMj4bt/CUpvM6
HexbfelJJ6VS4Vxw0i1Bs/X5MAskTl0CM6lxsruqA6qnVEjM63ae6tPCU7oZ9hV9cpQLzzqXCvi0
dAIA6Lx/tZKEaXxq6xD+GNzCU5t3jsiKi6bQkvs2LpFfC7dKLWyFY3mBv4mLCYdew26WfAp4RBcF
hm2u2alzVAvWp0Xa+EDOoMqXbR9bl37TKtqtIYUyl8Q7qVufgVkeSqss9m6pqV2NweOJHc/xo4+y
80ZjUnhRKTN3DjA6r5VVGWe8xuXFsRKO4ayrRgEDgIQN+IWeddMI3z1CxHfQI7Wp85wWw7yZrdmC
KBe7ats79nzoEsjfgxevhOXY3eaDk0eFYWcnUnPTbWsM9ZlmNOYI/WfSXwtziGG7AT/lUhrPVVap
k8Ho5SFrhhpqFUyag2bG9rFXtYrIhlM+TKqs3zJDMxARSXUQiUcXmqq+Pi8oFSC+9WV2t4zmvNcr
X3+QNP7X0td4VbKf5vPCMuDzqCFbdg5wI5bgRh4FFpSkUMcUjHsxSvsmGaTLB9a7w52J51pEPdjx
bbbwPTaQotMrd4YbERbKagiqW6Zb2KvQkOYJO29tyebI0OLJ3XbSc/HdXfgctwJC7pWva7xUL8gu
VRZkx1Z6Jl+obMNO4fLEVxeEi+VyLAjlfnA7yD+xS49PTbVEUl/kjlsq7jS38WA/BNRbCmrFvDGt
jJLU1YRqtpltqoNVZ/3J0MDaBBO0hy/LEixXcNmWY1oH9k6C+jJ7LxzjxF2AwSxI6XjYyh6/Ia2c
nKjVUncP+9KDsKQ3p920xGz1zBu22iDhdTUq5UtLXEiSUpX6nTS05kPTiJqnnFQQdDyvopVMGHRJ
MQahVTWQJp3cqHY5u50XeUBFp7KMtQk6bIqrleEZuXzt085rwqBzgVZiDdZ0vRjMYxIzbVZOnSZj
jJmyrILkrKV5fCiSOT+m+gBPgpgUoj31aSDdtC0HNLdT0Dw0ypQ1ryRJkIZXNvjkuE6bLKsWKfmu
7fwZOn571dmzdZ67qbXcuEmbU0SafnLI5m7It0Qj2kdNNQEMlFGop1Ea5YsombBsqPPIbQWn0qJW
D4ZNOXjBfQvXYJ/FDix4nvqmUkV7uoxJWof1pB6CONdvx9QqztJOmw+e5RhfPDuZIIosOjNNxJWX
CxyRhzmph9tFIPsfbwjvbSqikSv7s2Vqznldy04eY3tYrgyoPF3d6WpLvZm+FpbqX/0KZsyXpUXU
HjFAbLJzPZmY621GaBH5TZ/BStjCWoRerMDmy9W+sOpfZluY+iF3Wrjm1lB2zZYVovl3scri9ijT
ulKRaw6LF7ZSy6eNheBFbGpNzHdu0SW1vBODIPwiXdyOdiYArNrLqXTbJ2OCwjEUnRbsHaE6Y++m
WHuUYs4hgzCRvSvz3Hwu+mF5yEsKoH3vNhMkFGjCn5cW8JgtcCXSG0uMAoxfyoliyE3JTiYSOng+
iPkJgqP26g9tycQOSUi2U03mv5ipxxfnqjJrdylWs84NPYnVfLLKmbi0cMIvkEp8qcCxPwwZyoid
KJ2m/x0m+E4a9S2EZb6duq9DFqQ9zP5Jv6YnXEGfb+APEce1Dtoe2Xt1UYjTBYUsZ8HGvYdjSiaJ
2gdbFek75wujCNICxrNERdmpfngPEFnBo79gGI9mFz0rk9nVQg8J5lvjajVpYloKXuN8OSVVGBdV
iDznHdng96jLjxd5gyalsgEi5iJpcyXj03h6/QZp4ICa2SC+fZjv3cOb7t0Q1mI3uYpGwft3sp1W
Aswn3u3/7ipvoaPJaemuVGSPl1p3L8ZLvb//9RXeRB9+fU6YL1l4ZKzhNIgP3yyKxEsS2yIR7MTZ
wTNfHUn8S3H4j8I/1gX25sUDeOh4VGOc4zhvPf1VbzX1qLCs2fkn1mGVu4O4vbu8fvLmbTLOXJwP
uMYPDl5tU9p9pRdRzcOLpiZ5MgOmYL9+bN8jiV+fGiiw6TG58Ukwf2uNpUQrp8qjqhiRMvWpfUUo
8I7q/lqU2t2vL2V8L7/941p4oJFctZqZBOv9fvPZ+hk6FrMuonab3XGU3fY3+Ym2rZuQDjdMHsXN
GiNdnMsH9fHXV/7pTXrEERCH+5Ow7goIA7lWHtV4VWtFcFN606dJfFzSd9LafvbCsFkw4ATx2oK3
lmtWAXWBqjmKuy4MYEMX4j0/xTc+pX88w28usW6N3zzDHGrgAFefrW8mmDI9sY/OHiXS6btWCz/Z
Y+1v7wVo8dsLxVnmZTn3ssbNJOiEQhF14ZoBIp/e97n5yff03cXerAwkYLULeMddUbue5HsH+4js
ffuX9+7pzRbRlfWUlVyGuOWtEbkg5qTKHLy93Iqt8zu/4t8eUm/coL6+Kc4F9Mmeix0Un9b3D9Au
zDmvhvzrAyyLw2pW4Uajv69PvX1FqBltr3b1nlXSG8OgH6/6Zn1MQW0DxvI9H/MpWiLimHfmwIXX
m4TWaGLV9H5czE+eawApwlzzPggneps0XbnmGNRM94NbEDVnhzZ6kxw1sVlNYf6DdJof9xGfy5kW
VLKAgJGv8ttvvoFpmTrYNhKXrSFCGvUKdqrZxMWtiRjzWbcZPhQqVNRCN9aVcfy7WwnXNgHifSgi
pv72E3cx17GzoY7iJWZcpawTip0vgL4LlPb3IgTe+FmsLxM/GjTJ0Bz9n6RwrNRCsaAsW290iQTB
VtpFfYk38VWzdThy6r2hhePze2ZFP6mvvr/um5IDMLPwMq7bbo2d2PTn+njo8It9MswP6dPv0UPZ
abGtLlNzi+pKvmrZBa3Ee7/Hz94zKZv4xprkbf7gyWxiDtn4TRn5VR5D1bCt5HTxrPIpsOLus5nQ
JnA+AgnSPbwT4/HjfsQDME2oEIbn4iPypiiCQDC1dl1x5bgrHlL6KLDsWQ1385L0rxUH9sWYydbm
l5rn8zLxCusdM7kfjxJ+A6h2kECBPVEdfL97tIWE8+5XkcYGEzIbMZiWBN07F/nJacIhtbpu4JiC
b8nb0791lT7qyA+lTaCp9KR3QN/SRbRh0znU/y8y680dQG0BJd3Lm400343i+LH+hESgs74xrgLF
fPtBxaORVsJFz7jUgISLO7Vq7/ljDytl8YJ89+vP92dXWz8lDFmpE2FQvXms05gLaEzRGJgKhnuS
zRdpMA1Ql5BRjOGvL/Zj2QEl+CtrGZ6Wj4359xdLshZ9AOtX1Z15bmtxej7qE0lBFUbYTz00mutf
X++nN0f9S08C2gwv+fvrQUCzwP+4uayGqdJM86mCXH/uIxh95zH+uDq5M8x21vKXqtF/c7aJ2EcC
ZpYRRbLcqyBIqbjL8R3X1p/ezjpeXHc/FA9vjrIG+WXQaWVk9cC5XV7KnZdbKBYgB+//Bw+ODDLU
bibb+jpg/bbWAbiovW4so5qQo9NRaPqdFjfzF1nOzjtXWl/B940DD44ELkgeZJ0S0v7mSj5cPD/I
ogq78l2z6KrbVF0eJJETePUpwssujSzh1O/sZz95lFxPdzzgOPQ/3pvLikQFIqih/GDvrLKXbCFT
s6q3v36KP1kU311k/SW+OZZ1DXJ6UMkoz+PI91/gCL/T9793F29eE+TAZPITGRU6CWr4EbgHa0ys
KAA1fec1/eTL5VYoadibvk7dv7+VwtfF4jcySsdy2wsC90rnmCbPXXzz60f28zv66zpvlnjVa45L
BxYNKQzygRH057J5x538p28F0gDahDVx2X+jUMjjVfHEW+lUlcEdD5r6hNblvePqpw/sm6u82RBG
ZHpTz1UCU9sNY7ovTGcDdeGsaZ6+PrH/UkT+uWYfrlIWJCsYhptoITjz/z1n5P8+z6/ptxTmn/79
P0Q0/KTxq0GO6f1G2bra42CQAbNSp+b6kzGi/7YmULAJ2vjlAmaxWP/lj2Ot7RmKcUpStkdkMH9K
ef5AmH63Lvq5P84bQ6X199RdevEAz52AM+ltoseUOPEIE+NpllPtbu2hcFWzgXWvW3it5p6HUXrl
ypqZbhyHoF/NiaUMu0g3+AU0/k2bO0kRh1YzFHXzhIFSU8XhSDC7F/ExD3MSSVB/7+XvL7z/36yW
bDaDf7+Coteyemk+denLP25e6/654P9UX/7RQZDfVMwVvl1c60/6fS1Zxm8r5AXV2mElOfh1/7m2
DPM3E6t5LA7Aqkz8j1l1f6wt5zcSxAIWj7m6ePospn+trZVvv4ZfWDQ7HPMQ5//W4rLdtYT764il
3SaCfcWEifjD+IxD/fu9e/Al05eJCatpM0vft30619UXQZHnnS6Z0rQTTxvSF9FNqnqxDeiZJ1Va
Bp9mh6xRuDGjkzLsGLLW60LEtCUTOH2dfTqMxeLUtuFotnV95ne2LS8dnfnG2ZLCH32Cxd1kn6Yu
NcwQ7lKrfSHKMG/mjVGgZDpDzbLkBxTiQsDwzdGBJKFjUteosPSrCpvsLNE8wiRbjBCOQAc+ni/F
nJtShUNr2BOmBEltVXgj+U7NEN80OmtgkN2mYPZmN6orEnt7+bEX5uhokZYOjh92Q+XV4yvce6Qw
zPhyldFPDC1pGZtV5Y4sWdc1VCah5ijLEJtRJS4jf03T+6TeqqnXcyM05NJPkKmorNMixL+3w19a
FmaQfIIhW+LIoCkXoj4695JZYYgZQW6/ipEW7kqOUw7bKDCEZsDtytzCJXgdTauUoY47xXgxoLuZ
PjuIwjR+YU745EZAmJdnSJgaaW9MLZmnXaUhyfnsuBj4b2aU1fiqKPqndNv1eek/eYPe1S+T5i+o
Wg0FsWjbCSw47u1q6pbL3EmH4CxPMI/52Keexait12fPeinjPtVe4jT2nBeIYzGWG6lbaQyZOtfo
ruN+7IeEMSanm0DlY+L0HMA7MR69pUOdEyKqbrz7xRFBewYNI+8e0gaLqShXFeI9a/SNq6CqvBHO
gdTo9M4GE035GQS50tuP/pJiJpWkJqpbvc/T+QC/prJO7WLpl4MDSyR4GGN4+2Zo11ZZ5gzqMr3A
SR2+eYEXit+ugzWhs7L6rKl33v9j70yW40bSLf0uvUca4Ji3gUDMwXkQtYGJFIV5csf89P1BWX2v
UlXV2bVtuzvJksoggwH3fzjnOyNyjtCCQ+8ejN70MBx0sR/dz6NRIOwyCCo5G84iWT75vW+WwH/8
rrrrzGVCal0hydsnS8/Pvx38RiXPeTPE9q2WWgwe+SW3dX2Mk8qs7M3Stmb+dcp0qU5Lifzhh/T1
zP1S8lSqc2OOWOUCMiOZ4Wx6Qy7tBfcsSpJNHKd29VRj22xDQ7hLf9/67P8OI04Fkg0KN3I2QkU6
77BuTXttsHGUIRLz7a9dV3gTTClv9IvtVLEMCGlsPe0V9kPh3mm+7caPNTCCvIJno/LICmqkfxu7
nNzQqUry4QAwb2CWRcatPY+FfY7L+LvQtbI8t1WusuOEZN3eViK1raMPrScJEYqM5Md4YqmQieis
3fxbQ05dfT+IdMqekeKNY1A3kawvbYo67s4AWIRhJotxT5ySYkynE+gYt+oDKyo9Myws2fpbPmtd
dUntzq9CKO5kkwZmrLQIKtucV4+I1HKP8BpR4jpCSdNqZTAW0kSujLk+dvfJQDYc/QNU3PRWVyIa
D021ytFFoSmsLp1b5D/6bnH00C5Fhg06HvAYvKtxGGoRZjycGCxG9M8u4G1NM72jt2QKH7YHMISF
fcITi4uv6YXbfJSiKesQQ7xn9hv0LL177paoyR8mvwAjF1hx0pRPS1J1C0xeY26VxRGkz17IBy9x
dl3UzuO3rJ8ljn2t5vDGxB1VfHA23mgv8sZfFIoM/tI1ptqsMnXnXbaR7H/krErzr5pJVGICMaVI
83qfjrmfPqsicdNLrYDn+JvCsGNbbR1lLvprqxbHGlaNo4XZYhiQrMDcS1RSo8Iw2DG/JyZANnSd
VhM7KpiHZN1nlwKdCBIRQzpE42DRNFwUj0tZMlIte0dHPGWuR4U8GAyJChgtQM+WadPEuB+HTdfw
aSODfoh0iKyxkc7zS5abTlZjOgVshHKsaKrc28uotuwCo80y4u9zYiIgKwz0vpQv2ZJ7w1ulS1+d
fDEjxQRDh9sZV4w7Z3pg6E3raHyL/aR4O/hA6PGmzZrZP+Hy0ZcD/6uOPGv+DPtIb5T/WS5+iQoB
Mbp3B0+hK2SwjE10nzrlkPsbjLaT+1bmrL0PboM14j5O3N697ztVWWEPOQ8ewhSlB0dnp31QYm7y
7VTHInv2QGt59x1ClAETWaItq78CBOhOpVMHqNCJBkMjBdeTpsb5gPDpQfk1G6+dKvim8JM5fqQd
emNoZxFMnab128pbSFdPdK3V7QANhibldrY0gUKgS5m4u6ex9DsPmK9noQGogizpNHXy+skhjL0V
3Oarg21IJ+7NfqyDHkNF/sMftSSuNrmJVOxjal14TmI0s+aEmTrV93ah5HhqvZX5yMPsjnAuiO7A
qeDGnJS7STdTHqFVAh8fZmSQ0+2CxsLJIWwQxRsUyWx3+wTlNfcTyBSjDlmbayZkjDQ14qNVUVBh
+hoWXX6btW4UF3S0eXJ1+qocbzs3H7Q7vfYjizROs0SbuZkZAs7LeRK6aoAwlnoPMj/WIhEWiNIi
dKUDSWYhHLvR6z/4vRnZXVH3dvcBcDom5BNGltl+w6bDaGAD8FHDDUWmitV/TVOfOzJUuOf0j9kf
xgTTXpoh5Iu6PsrrgIGs/1PWN+Um5BbNLLnA+FdtcgWPQUHGd+dl4lhPSewg8kqn8rHicwrfbtBa
UJNkTpFQD5phfqbuab4Do8vavddyHfOBb3USOlvW9azQUUA0tp1DH3JGVac3+qhlBYzLorVmiEMy
bfWvUtd41pHWGtE9ipVR7ufBV+5BL+IBfckyO+7yHAHxAbs8OYiqL5YkqAdbtyzdglIlybN3Pl0S
uWeFFWz8OteyIe7PNtFzOMOEbIcEKsEGMuXk/7ZwJEXB3K8OYwshy/hlmpxFA2yTazl+6nYoyvrY
zq0uv/IoTQlgTkcZr+jQrVUy0eRoqIISjIl3MzRqZNmDQ244JhIJ2msd26MLUWUaZmyQcdIb3rGM
JLr5ciqBHEFC8erjJAoQqKvKHItQNrkZQEr+99HwaIPpExrRdfpgne2miu2znmi5e5YjvT5IoGyt
0iogVndNM1YcilmStv49cEK7unE14Wk3K+VyuePilm4boP3qx7vIK4V+7qrJZCc7j5KDcC5hMj/G
fmOy3eFj2R84g3qe79ZEBH21B0JQP1StZdnjf95u/X/Kv6X3+fdN2QZcwl9xuXz5PzqvPyAecx7y
S2f2ylSU4eKfXb3+B6MdOnf6et0nJNbzf2nrV1ouzRfQPQKpaLz/u613/hDooVDSWQ7Pgmu7/5Ex
+Weq0H83XmgETdYILuNgdnKM8gXfw6/zPxPteg1rdIMEg6Cdg3Eogw/aC3Zy2yKMd3/H5v99ebG+
HroIUpXY6lum8dPo9su80YDLiSqQtukYH+zDcM6P2r44/f1y+l/9YH95obXj/OWFao7RpOOF9Pvq
uGzXRa4W9Lvhh74tt0xut7/8vv8xLvlVkPP7eOSffq51ovfLy7l1qwHioyEzNvLSwLM4iM+aC2ZL
cGWg75LuYw07+H/4OX8bTv/TC6/Tyl9eePagsHnQxKwrxxn9M/lFxrnalXui4+4HIAjs/7ODOLvH
v/mJ/9qy//zk/OUN/m2w2yajuVQUfdlRHgs6M7XXQhlq+2UuNmKThH//s6LI4If566d1nbYxbmO5
JvDy//bDJn0ezR50BpCvJtF/DC1sYEQmAwLOb/ygbra37FLb+RmqffgZab6dZ/AeQRFr/viSNGnh
hxn8lx85YvS94VZQvwaUeXs0LlzeqJlNGlxQk3FQT0Tg0YSo+SVNfOvZaBrjNMIWuk7QpYjZ4avk
jTdVQA1nbXTJo0kz8+TNtfdIBzXeNswZbi0n1p1NDrOjCCBctOIsJwkArE/Zyh+A3qmHfLQWuIiq
B1ToI9/VN7Oy5yOs6nLeqN7MaIt8L7sO1jB3DwquxEfHNz2dMcMnN9mKZiLY3dun+VjvO4LCsL30
Nq6oOh2J+rV7fiF1JQQ6Wj07UilgqMSw84TWNT1llZkivWWnhng5mfYten4Mirap7J2d6c1WkSx5
p5U1ce6ziLy90zfz61Q7y9ny+wbZusJXFHcnE0/ReWnG4ZjaWflpezNMFa1swkJ2+VMJY/ZxIcU3
3RjQyuINJP00DfBoFaceDwffgTE81jih9vrQ+Vdds/tjAwjn4Lit/cNI0IW2sz9dsYDl12aM7K2R
9vOumQd9O2n6jINs6YPW6HHhJ07lH8DHucdxsRoGLKp80LtcXpdsmG4BJrjPs1caZ90p3eOUTl64
DChD62QNoYA0ciIrsz5F5ZAcZ9r4b4aV9EHj08O5RWG9UKpWfLhdOYQ5Csp7q6H/g65aj98UuOTs
mtXWjHulmBYj7CvbebVsoLtmZi1Qlb2e7Ye9YD3Y8/ZYNX4PwWc1K4e6vSyamr+si1zi6zlDH2jN
rQd+2IzavHHbd2PUWiMYYl2+9/aArQ7OZW7xtUte7pthiCtausUrwnahjKgskXlB2RhWt1HYscyQ
dU/x6UibklJgzja3IvfHYusnuH0x91CHB6ZmGe7OnyIXellWPMV6l+zTDnf3oFeCoL/Eas1bZOlk
z3ajAqrngH6ITw0umOFgQrG81+taPZWtm98vwlbltop05KuQj619V2rsGhYPfmWfgOGDG6eb4WRV
+Z7GNvrB+z2JvVnnxpFiujyTlNG6b3kjzPyTiqtbdo3eolOtXeC7uxwgWbPpBP1M0Ksa/Jyvp/7R
SMEwbGAiqbfWy5xjUw6kyuZi2FvNikTWtcl6wo4IazJNaDmCpiudhSJ6QI6u971Pz60bt6x9+9Dp
IAQHA9f7GYlx+6XS+/bsz451yJtGy7ZOYqTA/8yOEwORu38agWt7QaEn3nvvaGagUQUAJXJ0+B5Q
7WqYvXTb7muW6tWLZY3JCwzDPgBLsVVkDm4ap3s1O9UGnaEXd5nXl98AAeo5hPA2BRg9ppdp6Lqb
0TcaYwdPr962ZL2GzZi2L52B3RL/WS3fqzIlTKoaZzi0zrq3dBB74ABLLmYbK4pdm6iwCkrVp270
2o0zme7LMOTJCQZR8a2JuuRieZh6hnaZAnKC8k0LtuSkWbEKncElntyLqq1A5nF2uwRHmSrygyNh
5jGHLdGbtKUW5tgzruw2SaOfZvcQx3y1VVTWKYsT69Bpdb4rWHQfG0ZEOzhc/bVxpbyBn5Gfca6Z
l9F36+MoZAd8qCK8injbUFkgZnEt5Qx28ErJm3JFQQPHiwvoskt9MVdU9KjamS26ax3SHlGIrUbn
UyvhSo+ylh+WhMs+scbe83yu32yzhLLD0COhUwTGiqjm81cVYWPp1bjDYDmddIfHOw5sh9kp0bCg
5wMvqucblhzyCoekPgqTV3JWNja22uY16zUt9LoxCic4CU/5bOY3RWNp2yFeqrBfWdsAEEGbaPTh
SpX9PopkCVzZSle2NHp9c0V2Fyu8e8Zceu3FUO77yhwP8E6yLf5a68BOKHmyvbTYE8Np7o1F66An
OnjHhJWe43iJt0yTqy1DHSvUZpDioMDGU9WJ7LZsZfRe+OgEAW98zhnvXWb1STiPvn+IaK0DjJ/+
RarS3s8VDY0bNRk7nNy59B5WEj6sgM61OZHbqo2NB2/FoKeAkU5YgMgXWCHpZdyBSwcBchWu5r8z
Jynw6BnNh8hzGeIU5qYtJntX6EWz4zAjxngW83HCdRhWUHG+Db5f7BjlLAgXOvNoSXDuXcZsiSms
8a37SXu35tT+Vq8IeKtI7LBfsfBl5CYXDy7FUznEDDWjkpVtxmRBdROhDitc3l8S532CNHKOFdDJ
STTMnyla76EIJdd6zlxkQya3lYL6eT/Dg91NHvJKIyYUmowAbFR0+GG6Qu/91nN3Cbvtq9sb+Ht/
wvHNaMC4YXSXFgJ3s43nnts9dpOWsqkwkttqBe3XQz/dZuhpLgnLGGydfM8YrxuFyREN8DbxYhpa
Q2pwk/slQSNt2DkPnMuPVtgDf2z7UQdgDMdTHpdUJThYEritGy6OKD47kZhuvG6C87KDvUjCTJBX
S3SsPCmiW1XbqQCh5uF0cgsFQ3xMlHy3MxhhG8PLhR12UaLNocMJ+8qEzDJ3HuYZFWCxHLIt/fii
v/i1wOhV28aQH0pP8blUcGb1TVk3sIZLj65260OL5LjuizrHyOqB6MG7YObv2jRM6PBjw3key1a4
QG3i0bE+SiSajOXGaZovQ5ZjRotZc8Csx2c4fGBOmc1HuE3FuTd5fkwKpwaXrNIRq9v2BNyICa6I
cYVAAqzvNPSOcWiiGDl65Cp/aM6y3NKgjVeITQt0Ex/EGvsYdkStc2rwcbLZl/5G5NOn3Yj0zpxU
8+RO5GzHkbaEhHd0GyC37Y3Q0nSrQ6bazNYY7fOxGr7b/tB9EzBUcigds7N3u0nuZjE09/XiWbsl
tYfDbBkkDADI3VpxtOzSZuB2VYa/BYXa7pQAYzp0NqHHKp+3gqS7/WhNDhTkGdu+mgcGB0m0U3h3
QrQC8T6vspbS2IvbO6+o8Hj2xJJJMzHI2Kjmg4gSPlZp4r40OA63TlN337m81LknTDwmraRsr5gH
p9Ai+yrsGuY8qbScYG6LdrnBnWsHOlXa4X9GBn8SzYSJMOTfzwyeuJl/Xdb+/PI/ZwbGH6wrVgkL
0DCC4BEA/Z+Zgca6H5U6gwHfJkNmBYr917rWMP5gLGDzLxCRrape5Bzqz6gcWBQoMl2EryAvdYLF
/7OZwaoL+UsXhvYFwQNRObAj+EZ/041w4hKfASB3DNzNcrHP3nFNkV2u8d/GMP/uD2EZ/NeX+k1r
Y/LIzAsvReV49M9xSN5CYATdTXb6OznZ377UbwMD1r5QsX6+VHxY++eZcZwMxa7bF/uGgIRfftn/
YmCwLrT/b+/hb/OCfopVF+O4nnbdz+zFVTwv9+rPp+vf6tnRSP6L10E7CYsEJdG6+ue//zIe4FKS
npv90MVixweTSWY4u21HcUPzUOravF2oE5frzNQb4FFe18YBzilrcxmr5WbxPT1wJLGCaVTaoQkG
LNS02r8M/OawE1pSnSl8uu+GSyh2vh4uZEf0W7bY+cF3sT+3noVhtwAAmRPnfuvTl1BJDlLbxfOM
J53l7c5pUbh1Pm3HtB5w2VhYOw2R13Zcjz/lJc4mWo/EeT0cs/WYtNcDk6eEGige81Bfj9OVLrtb
1iN20EwJWqN19ux5KEhmzfhRrKdyW1nR3lhP6hJe+tZaT++hX9cf64kO40QEUrOaJ2c976kVPx06
SVZUVndide2clvV+0DiO99F6Z1RuPl1FJJLzOHV4uq31cuEPgjrdLdJbc718rFySQdSvN5K+Xk7i
5z1Vjun8BsSjWe4F42bz2WJmSzpwRcDJ1jO6ooNVD0496GPll98yeFcknQ9+ajFiWm9KiHnyh28W
4NVbEXcx6RDrtSpNCW+TqQEr/bD6efmaDRf3xqsoy47NzwvasdEsBD3kgeoL7xyXuI/jHB55o6Xz
3sk05Ag/r3w0JZJVRdQTCjCtVYFGl93urKgVPwCv+HhvY1yd90Q2zXEUQuQjp32bkxhCpWK0/aVE
cTJuZdRGw2Uqct28m9OmigKrhd/P6o/aRe+XNA4nqKn75c9IIlGXg/puxKyTMeMQW1TQbwVwOPPd
7BNqZCeARKxdG7tQDyMD1teQ0tpXEcnKVqd+xDlItTjtIyRJqqrvrK6Kz71T+j9sMAEnLsQ5XKIY
czUeiNIJbNpNfP4GNta2EuZzFtvzi5NYxsQkIWfprc01J9BQpC+OaGMvyAS95qatpX1HfeTb+2Jl
nfPrlcmNX42gzljp2o/lpA1wNQy274RlEDPT+FoWwjYYn/vBds7tkEdfujYqtyRu2AenNqYd4Fxi
qljSh91s5y+gTypWuaxtGzAunyi7x/e6LKLnRu/HMz53VClmzqJrEW1BZwBdArVJyx5uadIwoQMO
FhZ87WbyCJ5aMgHEplU4+l13zNVmRE+fUdym83tGNXdkzaTrAHTVKgpRnlZuwK2DW8vScnrrLBPZ
5jAXb+U4yQdHpdGWYqZm6yDa2djGaTVXQVrZU1g4mg4DuZkPKauxkEgTWWwQwLhvEicXMZ/kR4Uw
Ar2bsW2sw2gWS816acoIAnTHHV9JzT2asXfWRQYrXPfL5llfM8mkl+n30vGW59nQJvzaFDCPLfDo
lFY+a4N40foALI7ebfrILi5VNfWs4zOv/o4rtRmRoY55vdGIbjuMRe3exqUPVcbwtdcStMyXwikg
YtR5nJKq45FYBUQ59MzWOjhLXh/neRZ7N23TF3Tv2qNg6jeGVpQsn2T6SPZiuRbqYiriUGcX3m6Z
KOlwXBS6680Y1/q08dJu2KMpSR71ZkD6At3hI8sSwsq5vAfMbkKiRjLGu9ImCnPDKF1eZVRN23FI
6y2ZQOVd4dTW/VqNn2ub9rYyCozTsa7fL5qXBQqq32HsRbJH/jSFk4nJXJa2OkfplLy7swMgnVXR
u82m7n6otKL/4Zb2cGd37nhOM2Xf0P/nAR8d9tSijG+kt5AWQjTLZ44c4D72pLVFB0/lmSTj94US
YU/2ktr3UWbtc8AGj6h9/KNQY7pryQthMWYoYydY2G6A+HiP6zr/FQdO/1DGc+xw+Ebmiakm3kJg
w1/YWlpfU3rgcFrYpitkDzeszKLTnApxriffu1bwPLdlUeaHphTDA6yj8jqbU/PWVT7qsLIOalfr
Jt7ycjpmXkTT1awRypYczNDXRJkH9ez2VLmWxbwECLDzJDFubObMd4FhWeZNmlT1EyO7SA/8IWmv
AJl7DonW/5jZny1kqmgkCiBw7M6LH3FzV+aKGsxd5h+DzPJ9yQsg3Z74fOhe+hpXSNzgUbXuzuIR
OUwDrmv+XpQY+MuLFUU25OYqulqyIay+jVpKHeqRI2ipmLFWlsPf6mSz1zydUZRtE4EnUv9iG2UV
jn42goYauv5bBB5TbLTcZ1RF37iRyK2+2bKDvzMLewahMafTPVgB+TwuRGkoBsanam5TItkMTb3S
UzhImGJ1MOyyv7cGPQ3cpOp3HoOwm8nQl33U0u6mtZkGc+x+t5WhHXSiTN6w/ayThIZYjFmBc97w
uV8uBC0muwZE6oMnO3X0k1igK2ugoW/iUmHnq7yS/64nDwplTEAGcXoyp9h5VrGMz0kRtbdL7U1O
YNmVA1raqLSzNUT2J/kebB9oxZ1LbXCwQ72YUnZWuuLXQ8CZVId8TOQ62+jpZVrViRcEJunBlyqC
GGU46nuChlA7aCgn/D/ru/+RPP8vGpBfSt1/SgW4pO+f8q+c5p//4s/WRnP/QMXrYozQf248rVVU
+uc+VKOBwRfo2vjAHUSl7O3/q7fx/rBpelCn0rqgErVXnN0/ehvrDxNvMnxl9O9Y/EzrP1E5o1n5
S73Ms4MJBw8ZmTU0XqtP/K/1soW8jgy4JRgioKsUkWnvoC6AaMrdTVxGxH6gY+JMKN6mVaZ+RieU
vxBDwmKkdoYD/bP7w6uK9ilCjrePOjF8j5VoHvwE4U08t9kd00njUBBN1oYNzdUx6hd92FD4jke0
tmDQeCBeplQQdcwI+H4o+uk0LWl5iM3UvgGDM+xNd9bvxtiLdrHU1c2sF+ZRm5f6h5KZ+SHqrntT
5WTc49JDCFt6bjkEoNDcq98u2WNT60k4kZuWBdEytg9g3RnET4N49UmD/JwdH0QKIZU74vPmMAG2
sa/qVh6sYkJcIvBEXZueZL0uleap1N1623m6+KL1Bqd+XC2XBmkNCwy2NLe9MAE6xVGPq1Q3xq1y
EujMWFtQk9qlKQJv5IyrUfnsbNBBu3rUi0vh9YJBrCXPSH3E0avWNBJDRfduPOUnMnGrYEEy8Q2I
zPJYkDR6HbJaP7PI0e+KzsjOKcrPrd2NsRUw8ItDyyvzsGPgxJ6p0sdb3mb5lHWu+d1ZY4LgFVO+
GU4BdsUc3GCmvrh3UcqS0tmkQPzQVCZbwkWnUINKs8tB3r0X0hsPXm7RNVkgmVBjiO48+O6Kgp24
+qIORw1baGevHAJNBWX1rfSUOqIHrQFaacB6XDFcJ0Im7vPZ1XdpPizP+ErXULLRMs6lFNmRhOv5
EXAnnxNdIwu20NOzo83qde7deFWnpvO5i8x5q7GTOEZokw/ZpI2PywgS0BpsfyeilZ4TFw2hZAlc
P6005UOSW+NHYjTdwVhSlkbdgrws7UTPV7UpEQxZXyJ+aWRgWTK9GTJDP8MWkq9lXmiMX7vhLorn
5JzVnfgwFWUdq8uUNSrCvHDMPPs6CKfco8ybz7DnoveZqZ3k9Ibpt5mcOb2kbgvpOsax+cOVVkuN
NkaXPmFZSn6lCopGZaFgD3nJEyyUnqPTr3qRy8ornaqziAx6DBIAdqVf6Y+VLyHTJIV66RSk4w0A
qpFtoFaCEXJs7YGVWpNsJQX6g1G53tXU2uGDgE/xqNS0cFcLtcf2oH2FR2BD6/KX+rUBV/KcVMMS
1p7RH83GFlcuY+OmGfzk2HJzXzxjqPbxQgZnPqXJc+9O+lXgbLpmrBx3RPuROVckSzhp5qPjzNUe
gZFzLH1qwtjx6G76GJCMz9pVkCJacK7U4jiyAN/WZr4u8R6aRqmzPiWsgFurv61dWW5QFUVXwt66
0NVltRdIBLaT00Y7j+VMSDAGVHWbBSTnpQwyQun2E1yzjZ7X+Yvjl8OJ7LzqQ7XtEM5mPzI8bD0g
gMIN0EjLJ31mYkv6p31v5qhGLTFbWzhzaIAJzIyOUb40a3CdEaaJV7F7NQCgGVEDb16WhEloST8F
ucuMrATkzQOD0LIuYahz7Kqtx06FeC2nL17s3M6PiEXGmIAvr75T5Yzok2DNikClif2SIdWTje4R
Qagc+u9mxVviNph6fZEK1rWwvJvtSCmtb6JR9y9pKesv6QyQZ+Mvs3+mBwYbCZL+2NAC1ejJjJrV
d50USVj4Ntu/Ss319wRZX3QUjE+ufdRCEzR4Xm9kJqDhGA2FgZY5ivquax9ze0ku8Lwy62CDmtwI
Fp3s8B0t6PwaMLjNCv5mNCs6iNqGPm06AzuXqhHXRkYkNlmi2acG8LpKEgxqR1LcNnJenoirFKEx
uuMhygb/OXKj6gCElMjCcdSsM6Er0RYVQ3pnTOSXycnpt8r1o42KmnajEERvdMrA19mLRQ0nUPQH
vR+67QKLatsgNN+CYWQJoy83IhHxc9eaxgF4/xzA8gIJbMzF3WwrAhjJwA0YqIwECQzpkZ6YDzqa
/lfD9Sq1c2Ej4p+HBpZtFq9KLLCQNd59bP1ojD39EQltFnoIoXfE1flBjR0jjFGuPSDKiMOy65uD
42jRrTOAMsuo3xi2Fxr7n1b7rGJ90YOGjtXwoi3IMn1nKmdt3tCXh3A15XNFeMob+MD4OUWjzIJd
sVYGfTYWO0rBKmWk5EZfGkTM+85L2688WUXYlcty35cjGENOo3HctkMPq4Jx/7EasQnsfD2WxslL
OjhL3GGkN5O8UzEcM4uds/Tk8ZFNrbFviTwmK2mZNHfU4fVhjKTzoxis+lnmVc6vlNEV0Ldmawsb
IONiac0uYRnPqqebNMKb2/aha8v8LR7J96MXIetbGNCxxomWHuVlGhP6KofmlUjnck83rL9Hwq+h
MZlE1UWtR3aZcEIyr+1dnveswq2C8raknbvlltbvHc2prgh5u4tYzOGOnCBnIgeutW/Tuli+Nk3p
77Oqs1+zYuHTP/XyzasLovmaFTKBiSIK2qVi5KaRZXSslTmTfuBRqCfNWIP2L8TOs+m5LTYKBE2Y
8BZPftGl3xuML69eW3Ssg5rUoriOyvStLGhIMGzUxtaa4uhB+pH/NaWj3+ZZ3z7oOqfFkCxEOroO
T3qh6Z/+UIlDVAjrbRBGtBWDB5LTIGqGF83Ti2s5NMKN5YYiJZlpAbNwGQc/3gN6kkcg+5Bau7En
+bOzuLgUolWxDA6kGnQCN6Pl5tghxqV+agZJmw9ONA6G0mnPwyL7eyLwpjPq8mneynSgIWohdr9j
brcflKvqJwB/ixEsSyRoXdjy7lN/ic29L+LkW4e0uf/o67qnHKBoUDxV9rhXddKVG7IWOqYxUYuS
edGFQaeSd28z8pOtZyK84dhvXgl5j451CzcU+9J8mpFAbPTINn90NUvMuy4R1k1N+jNSDsrIN5Mf
pkTyxJPMRCe51T1OgQQ28Wp/quIAdQ1nA8DBgi7cRrwOu0x7kflQhiVt97BRScFsadT1aN8VrvGq
pFk+TINbr7Vog/wgq7KgF7PG+E4jUK9prX3WE2G/8QkLupEkuu3w2VBOJvUoNx257F/Q9ERfWFyR
DNnIYuuS+X3pPEve2olVPVqcjFeV+cT+afW4NzmGtv3ixMfZ1Rg4ERYGl2kYo88lKaNXwFATeLcx
Qw4F7+FT+E3sh4zX3Dws2jh+TavE/r7ikXgbSCV9oJLo5bUk9yl9qyIiojtsAkI1hFnkzcT1owGY
a9qkvhK4khwZx0wXvbDGi8vTTbhGBTRnnp5bP7NfzIEDcFdWlt0F7MDQa03ED6o7xuhc6Bvb12KU
Mq3M85e6aLKr7OhLCZ3OoqPDknNC9REP8UXBwPw6xb2LHcie9FM3JHH9kBcmUrPUHOBDu/4szB2K
HQoo+p6YzXTC6velaZL5OtXp1O9B+PpNQIEgQKJq0RJktkYOn2GRRbtjw2tsZ1JIvMs60twVJs42
4qPz/gzcuRiDMtJBOqdWMSDDGapQh4GXbzNkU0Ck60HsM7eMKJC9NP/meIMcNhJM17Yu1cIWGc8c
I1YTnX/YJsP45k5jNmxEn1ksSmBld8M5HuUOtX+HIUrPooaJjEZ6+ujV8avmgSUDhQxhzcvwtb4S
e1VPJ8l9e6X8UNoRmYx0N56w4ltH62K+XYWaLmms9X43GWTWZuuFoHZJGBUZMTBES0353yALxO/Z
PK7Dlk0Qw+lhtmdk9lvP580JZkMyb3K5GaazCIYnxqYH8lEv4ktxGO/6PtCu1q7eze/30cPfAVP+
N3vntRw5kqTrdzn3WIMWtwmkJAmqKharbmDFEtBa4+n3Q83udBKZhzjdc3vWxmzHrKfpGYEIjwj3
X8x//a9OEC9Oous89OjrGTNGeNF30jhCgkLRbNl0K/2XlPyaxq9nD/ArvaaLN60uzhICFkhflNrR
Enj/pp0EVJ61GKPtwd+GfAy/XgmwANv+GYMqAkhG2YfHPZvufQQvrgpFCn0nAAtanjDk2bQ7Y0/1
yY62id2u9M4ux4O6C/hhSkcqChMXQhaA0zihZuHoO7U94qy28vcpQSy+COaAALMRBNNRfvjTUzvr
mdU6JUNogk6Y0b5RTp382ff2xXDncbPWgmYl2qLxOE/ezB2fO76SRU13yawOBQrPFexNntVHZIdv
KF07wj77fwFFU6m5GNlZKGWhK0DnYzabypzyNy9qJzxhyR5tOtva51wmNqu6VmvhFguPt96YYlLk
GM8j9bdN4uAuV2zmZnHebkLnP443/56zD6dl+PZabeZUjrRTwV53B/lILt7LB4h7K63VC0uWf302
gy78LE2DQt77YG1cTUopZI7/0jk8+qE23rA2dKDz1oxw2qz1cv+Am98ninmd/BVwAbiWUJ2WJ+B+
YmEnR3HLQ8DcRI5g2ZiyOvJt94Li/35S1pbnvHc/CjsD0M8mlWI1lY4ZQHbyITnxPN9xMTtCHKPb
8krLbV2Z7Nr+Ox/o/M/PImoJGv0zuDA5mr/DEvfZTRPtwl/e7TxQVd5E2+IzXpvN9/EY71an+dqi
BREkoZUDxBZlnvfRyx7gHOwsB1bpbbvHz2iDyv2xsuMdgtD2x5l5ofw2730TgIMhWQZJE7TRIpif
jz0U99JpnOyYPFBqfGSLOIiSb9OfENO2pvtxwMvU+T7eYg0JSa+Pil46UvIt5MEaY8b5cYArRwEJ
U5VnuotpAGpZLJceTqYG2RCVTdEeHPTe3ryv6qzx5tT33EjXYBszquX98pypJEh6oqWLDJC5NDIx
OkvIsxGD6m/iCXCnGx9YOM/dl/6r2tt4qe/pP2/idjO+eVvzKfm2xoO49gNkTnDYeWhzzLXp9+vF
h0LK/Xnaqntvr+zqLcZxu5n2IZB1JBtheCgY4DJteZMNm/BH7GT593IlGf1ZlO826TzXuoz8CBaH
FHwWmRYDEbVSvHI302oiHl0DerqBE5Ia/BtS1El1mm30VO6Eo+xM29QZDzX209/6m7UVfXGbWfyQ
RQruqHb0nlHuEuxLDIGii3mTRquJ/j16hm1DFJX9gmrhnBBn0ZXzDJFFmNuOdbWbdS4BjEKo3Rfy
W11vMie4bw7qBij91oqRAtppwyca8msiwpfZf/4FJAmubohqqNpimbe9RpuyqXYqbVYb87S9saXE
JO54ee3/Lez5/7tJ/4crz1mCuegm7dsw+/Udt+K6/t6ew+X+/Hv/01NCjAQoKM69oo7CCYcky+F/
e0r6fxmSIXMB1kX+CxCof/eUUD7RTV1WLJmbNxy4+V72Pz0lSfwvU+duCfzBlMgrdLz+hnTOnFPP
9yasP+Rz5bmlRPVenv2ezher2SH6Qfv4ru/yPacLoPtHM48cnD1Wcu8yuf8JRCQFw228opb3Vgke
LRXl/I5uDeoNVvVD04UV8cH3bDO22zwWxI3nY0vjvbTYeLgkNmmV5ncUWN5yq/2kJ+pTmAtf/Aix
KrPen33rh3/N0Tmrji19Ze7AGGLgik8VV/7FNovxYEEYAhumsitoz6Nr4W9brxZfJTUWdvg8CjsN
TO/nsWitr1ExtAfckulM6xLGJJtKxTFRLsT4S10X7SPefay0sS3t1KqknYFbJ6iUzsOaMxxAnbTV
SffR+dj4jZZA1+7GZ7XNsk+lPGZPkHGjZ4gjpfyoUvbPDuI4NcZbHDViDBu9630ntQyKZZMXWC1F
fn+K917tg+2q1aRIbg1UlJ8SHDggx6kFVQRJxTZg09TF+NaHNRwgfDLqN1FOymMS6NFWVBO1sVsv
L9CZl3Aq3KRjmtcbXc41F7027WtrwYy2aG8fmyxMnXRUBFtqMhI89qzbkQbSvvBy0ZVYehEiJIa1
93IFb9JaC3+kAFRdTczVUwi9ww6NWNg0XpGHWF3UAjAzg3+zg8P0OqhC2G4bQQ1Up0trCiVanFsH
hPYidERTH/WVMQzkh7KAlNCk4vij6ZsMTTmEAL9NvYz+QYfAiaNQBwN5H6XWAfT0TJArccaWIKib
doFU4J0eauVtqNCTSGXPuouKRH8pJ+zMocd04lOe+P1tRON2F6VqeMd7V/yNHsd4sqpmou7U6I6l
YUEJMtBH/AAlmE/IwGSPEfqvP4RKAzuXYF39NQ51xU0FQ/2KXjbSElrthd/Yo9RJSoM6AB4vE4x0
jKexyBmUWV+oLZvKpuWHdwCEwSmk4mVoklYfWhVxfTDZcqiedIBAw85QYXg/h6oPS9yQUynYBTrU
FqdWs0K9Vzo/MDkZldZEO0VJnlP8m4ZD0GkyNEKL5tZOz8e0OMQUaYcNlqLmHmuoBKZ7PwS93XQt
ZiOpNMy2E8iEwBRpVHRouglMP9/P70vQZyoymd4oPqUx8I00roS9aWTVA7BdxCLqTLcLM5ZeSisp
n+VJmDZxFeDeFEK9woUHv6s2VXbZFFs/taGsnguhEU8wZMxNHIfWZ9/3pO6zEFXHFldYasQ4he6F
Kr8BKd6jSioBtImLe7GU3AEVIUhzlWlnEQWnMVSqbdnq/QZmWbWpwvZOmzCIlQdIhIbelhupSqon
bxrr+3ys+rs2MaY9fbkCM/ReLuaaUPdpgAn3gEcREhvjkO4qJFGOYlSMdiBTz6WdruyCqFNvWXne
F2y6alBcQb/1YMLvTHEYPyeZH2yVXKT8WRQeQF9T/1ElgEnlUSltUWu+hJRBMeOhQvrYG0VxVwim
/LtRM3VHOzna9o2ff0nmPlk1dng3TzL+smaLz1oWZPIjYh/Wb71GzmEDDaS/K82+ugsaROENyUMf
RaGSHyg0HwVZa24ktf45ephBe5p4iidL/jJ2qrat+vpNn2TZ0ZtSeBbAhwabcsIAF7cwfl9JCVGd
QhxPUP3dhPCBtplqHtrKQ1hc0+6NCNSWmEhvU07FLmKlHEpfvm0sfCATS8QTzKsnjJPrW0lW7gVE
MWyMIDiV0l7d5D3vn6zqBJR3emnrw7a1FSP37ak1U6fhHrwRPOVLrKU/uqA3bcoaVMv7dvg0Zk17
rGiFbEIr1g+jYSovSC0JiHfH1W+xMeM7/Oujk+TV+RHvpOmb16SBjW2H+orIHWJNIDC3wVCNx6T2
J2eQvORkAeV7o24vUz6P/d+4JfMGDKcOZdva2gZN9daX+vdU9KDrJUK7DfwxfSjiJuTf9/wSRYhE
/zIpcnufpkb92QonBWKIMb6MfinQt9aHbVYUxl6xoA120B9eGvo+t4Ahkn09Zuk35kP6FBqRdYhF
GTHTRukfVNmLTEzeqw7Br47NTbuggG4JHiQE1ZSUGddSpaJXUISBYkAs1Sf+qS/4np3Fo7CP84Ym
bd2Y05PUaflnYH3SrTZ2Cl9ElkGepx1QOtkKLbxG+CybYlS7J21IknslAexBH1gddYpUkvzNT3Ww
fnQj6i/WlPSvggrdbVs1uX6nctYYttaBlcpq7gWSjmejpGrhvsbO7hRIHdAHfjn0zxjSVCDR4YvA
WRdydgqmyNv7KgBpXzXvwx5PNoHOUCOjLlK1jbLXVciBohk9DwHv8gxZPzDSoLhICXtv6E2HOQps
H43RTS7Km6mWg3vJtNBXiXG1Y2F1PXrctf4ppu4f81H9sHKmnm5xlTcm5WDJeKXdoW1r7LNmybUC
r8pieMSPLH1Qay050n298WLSBwJl+r4ffPOUKhj2gmZHXUYotX1V+tjbRX78kwLzeKeZqbL3m7za
ZbrxWkhy+g2Mh4Z5DleITzr05xtwDvFNK/vRtKkNSX6axa38U9vE5SeUo+N7PfH65wKTpPtUibJT
JFPmZoMlxUbWirpj/aVVsdXChm3gVwHLlkSV35iTUAAGDEGa9038oheonX18X1qYNfy5niHlJwNl
5SWKEPXiqqmWIxJFSndndab/I22qvVDjeVYjFnfCK0wHaAzmHiNBJBBy2T8kYVFDp9Sj7zSIKzzb
Mv8NBnfk3VBKVmn+gbKg4qmWX2nEIvD18a+9eDkjTMCLmcs3oqLcz5e/tsm8sEpG425oBcfyfwEa
RnwFvSyyE9ne1rwf7MBnLnGH2ekd4uDO69hy4aNf4mwmfTb8L4PR4WVnOb3kHeAw7D7+hZc3d6oy
pgyFUoXPQG37/c1dgtIsR4Z15+u9eo+4ePU0Ihj/VSlEYLGT2Tkfh5OWz9p5QmafDd7wcyF9WQm2
xsxXgZndZbcNG3WQeCo8p9tgN5fbzM2AVdshkQ6etZfrI87P+8z27JWfsKy9zT8BwUeRbggqznQL
3g8ZlI4qh4lx1+2UV17Ww7b+BtQUBCrEm94xXnrMnxGy6N+waFG+fhz82nSfx57/+VndDz0iK8GO
/K5W2y8S5oKQ4unjtuXIhanyp5WhXr6W3o908XGHvMVeFHpy2v7wOUKV4vPHo7mo7S2nclHGzJWW
23rDcLawzw+YceHX7p8sSlLBYZwND7K9dvw45rUFpAODpDuCOtQfCtj5DKq8zyxhMu/IAb9HyA07
06gNR6dhcghrvmNbhFRIOsH/hNvTWvB5abx/5zKhZ8EXpR8BP1ZVbk3cf3G3RPs/TM2DbxYre1Ja
duv+TCv6N3jCABOFNPB+lfQcZSUiS3dqfJTy7r6kseWDqsRAjncLTjHfRR8+r/np45m9tlpmLV0N
pCmVn2XPCW2BjoevcDcFOHNETLNjFYX+8HGQ+acvZ9BCS5UIkilpS/Bp3aay0OeJ23nJDl7JMRUA
DekiFI9sPwbeSrQr2w0FIUSmqXXgfLMU8afbjFRXk7qe59uN8JY3OadyZ9fGSs3gyiOe2sxZoMXC
QEYg9PsQl2Qs9vZYpelvIDqF59FQyyMPTCALQmnuPcGDi6OWwRZ+gPZsRIFhe0EviLhGjzZCHmAC
ZxxCJx0sWv8bPQvMI1W4r9Ukh3YrIe9gjpa0xwEx/DqZirUrhqxGCTEBKYkAQ8H/2my1k9iU4IxU
zJnGCpoJSBZlj6MgXhV5rT7ClE2/TGUc7wNpqlYS/MUiMi04m9SooCWrxkX1BGO0uAql2m1xicy0
2C5G+enjFXTRTIQ0SggWEb1eKuPGcnckvq7iNevOhlrIqgS72J5O+o5L6vphcbGA5lgzXBoxIC6i
f1oBZ/m6V8dOwD3pXo2kbaNwtxGkXawgeyGv3RQuJk4mFE02Kr9cay4MXEa/QnWhTN0m1rqbqVPL
A0bUZDehmp6UygCMoBhNYuu+Iu+MsB7AGQ/VTaBOwWMSNZCDJgPFRgAR032dFqyr0ApvuQT6lg3P
EcMnqxabh97q5JOlqMLeEusSZK4i2j26/sn+4490bTSSNmPdLQW4zxJvIImhYPl97YZoCSAjK35G
J3X8+6cbdem/YizO0hrVRlDhhZubOQoH8NmkdiURX0n3FqRisPgMgpS1WGmyoCZ651duYbZAaEYn
9YvnpDcfP54r5MUvkyIlWlUVFSRTEURb3GlrpUekpC1dQe7rbZo0W0uO7/Ogkx7GbHwKE51yUDY+
6El2DAY8XKvhkGpod7Z5dzcCMWvz8lFs5WQH1BzHkrrY1DWE0lK4EbhlKR7oODFBZAOcKRSTeov4
HqUVmTZyk7YGSJbsNR7DmzJC9QPz5YOCIx7+yveWkKAsobkFPu6xLH/pphkpZ3hgI630jmqfQjoF
lw/Fbov8GqUkpQyoDvY/EYN6ig0slxTT5il5nBIBuJN6oEp4EvvO8QDObMCgR8g29Y9hH9xWqnTL
TfkL7o1uPRSPyaTgag8OEnpq63lIzPbfZDgCWwiCI5UOmLYosdIIAfNpl96goOYhxDcCohd2rPQG
yrY+z2fYfvLGMIOnLu4fC0Hc5WrrJuboovh6CJAy2shlA4nLh/igS0fNmIADV4dYGjrgtzHvHVH7
0UrgtLTMHvvopkLuVg/0k9XE34JKfe0zVIIEMfqsluHKVed68rF0bhwcLhcgEBPeMubhk5vq4jGc
viLKtG1wKPfl1VbPxan8J839FWlxfEnIoRbZKLrTvVhtcOCEyzeDC8yj/iy5Ah6w9+mRbtNLel9+
WVn8859+dyFYhF6s/WBS1c6aRLenlSrdIpS673f6LtmGDgKqKxnjAl/w5+iAR/O/MzpvxLN07jdT
owm96AbH9iW8Ub5YQLw+NZvpJBMR8aD0PtuvTe7F5l4McPHcSABujmiYu138tRBcwViBdq39+UUW
NCM4uiQPSra36IzjkbpyMF0+uPn9dFu4FCLXNqN33s8ZZYhcGbLJVffCuGsCR9kVD5mDLJSy0b+C
HN5yLeV0Mg+jt1Fv2pW278Ue4FiE0i9TarYMGlaL6E0rBghCVa7Hi9mMjU0iPBQBkodYQH+8EK/m
+r8CaQvcUF6WZpaLlVuWnoOR0a43nhAO+TjGtfcSuAsKKihb0M9bAi9i3IxFiQMl13xFc3iE4rGe
gFSVUzk7KmakPFZSWGLU3St3ca5bTmgZ7SmJrfEm86HNV6MV3MRduPaQu6xTvP/Iy9EnaIAr4SC6
/kv43UMn/1N4YxyKe/NBdbQ9rNF+J6UbqveO7JgTMIf+sNrwvraQz9aZtujvy2Kg1m0tuZUzOECb
t9oXwf4x54LuLt6F67obV+NhN4I2LyQxddlg1+oCViq5oLXbLWrhxwTTxZgSABQ4eQOEYT37XDzr
5kn+K6K1WGJmLySZQUSsw3dDc59l4FPl1zBWbXOAg5tJ+yK7SYdo+3dX3SLuYmY1A7pC2Khu1UgF
Z1VS9jsB7vYONtH3oYga2KERUO8c9SwFoaJNXwKxEoqx9Td64LeijeuzfyNm1trN5+ITsLmRr6RN
xbWXrvYi98Opo8c5xfdqI4hPQTr092NdqisJ8trGhtHEvQrrMZ63i9ELWRwNqdm6Wn5fQXwSpYeK
xsLHU7wWYz7kzs6VNg+BpqJYl8nmXQcLW8myHcYTa8fXldoH/FCJJw/MUfnijQC5JqugkJCKg+ou
MQ9GfCu3t/DJwL9sdWfcFckBCbmw21cZilSHAfnJ/Roc6VpGRnXU4lbPQw+66vuxJmk4pZg3ubPQ
ZcflzKsxK00BICXV2sK9Oq1noeb1czatsVDElcSGQUnBKd10m981N/otd7hduJMPhU0J3/n4Q14r
vQCKxaeFlQlseYm16goFl3m+ZCTETpnoR0UsvgUK/EE5qU5DIr7C9/+sZfkL4kUrsa9NLDUKziAK
kPgeL446HNZr08qy+7BFjTJ8topfSb7t0nD38RCvTepZGGORhVLVzJDTbtxKKrYDPIJx2kzT949j
XB0KBGcZhBxE6IuHU0YfBn1bV7G+KwqUTs3fmrh8hcHXfxIH3AQgaQsNoHmsZwuEFnlHQyq/10Ka
O1WymyzUBHzPqTGz+DjSn8L0u3squUqbATgc3IqOPPX7ULEhZ0LKCWk86ycdp5dvtTukMzILTWD0
2XbWo2K7JlBRjknztqOSrNjA6Q8woO6UY/BtbbVc3sv4QcBteDhSKUQmazF2SksSqkWl6yGSUNoK
Qml7v5YeAKBUTpVPj4mJ0UDgN/GhEjxhG3nmm0J3DZU8fQN/vbMLKma0mkIJxctQcKB030Kp81dW
9bxHl/N2/jPnpXL2ifxYMgetL11x4vGgPiKb//njL7MWYPlIr6Ca5UXpllJToHwBexAVu7+JKaUg
+26uF3XuqQiKBFyQa8A1r6Pvcvzp4zHM3+pikrgUIlWPZgDn4ftJQvqvnpoExVP1a5rv/OlLka+c
ghcvvHkEZxEWJ5Q5ig3NwMbF4/MbqhNo96pRayeSuJ+i/pBbxbRyJF6+tRYRFxumqnVI+FVy35+a
W2GDyN4vWHF2ta1v+RWOePB3a8+7qyvhbIzzPz9baqHhZ9hv1a4EbzTGOCH0Hj/+TNfO3/NJXGy5
ONXy1KAaOGo3oabYgVnYavDiVZ9n+RVQSZu8TleeDNcy6XnIxfapOY9qNUUAYZbZ1Iyd336Rve9+
IO//ydCodnEXBl247MvVg9gX4VS7hZ/k9mCl24KptLOxKDZTWB2iUdoW0XTITHOlAHD9o/078JKv
UVEoLIW+cdPxq6yUGyOItx+P7Pre+ivAYm9hJBFaAuvQ13YIR9ut9rOohLXFPv+Riw2swDuBT2Mo
FyD3sVXLrNRqN9Z7Y6/p7U+PpiusPiw5uP9uy1LfypX5Kx+mo+h3L6GIo9jHw7w6j9wbaG3SVuGi
+37xoyYe8QUN1zJPUTk4BrqZHwf445NwMUYdC19KXjglLoGRAL1yTDsat4FEt48SRLlTZGAPeICJ
tqD0+CJGbbUVaWec/FK7w8g1PGKI1oEaqSKn9/ATbYK42YvxlO5FcQD3I8vA4iy/chp/FI4Dnbcd
wovGVgiVzG5TQUKvFEZchiT0ts9rIO4FGMmpHtuXjwd39WUOml9HrcVQYUQttnaRWEEo8Pqst9Ux
3kb39FOit2ILVZUz3AdI/uufZCtw3ZDyQO1eWj6HcMp9o2/dMRw3cfo18E1nZUzXVv55hEU+BLjR
aFJSgwMs6/tIwsBuU2Nudq+0ZfdQpH7owAENHK/JFYz/ZIhEah5v04KS7gS73TX78ofuedMpD8y1
jtm15Xr+2xbzPRgo2htB6wpW9DpJ8h1ezcePh782+kXm9Gj9T9gDuI3f7dFv3E5acZIrbyXK/FeW
m4IXGThqeHSzXuj7bcdyRL9uaFyvrXYNkiGcD5+7ZsQHK127SV0dkMTNc2ZiAQGdT6ez401C7ysq
hMFt0vB7lOJLFwTPidqtHARXo9AGFmkBGzwx54vEWRRTjpQhkEe3Tp+Fhr6z/5br1cpD9urHN+A2
0hQQLxEYw9A2ept2bj1+q5oHSflHQ/jrzy++/IjjUNcPktt0FgWM32Ulb9vhxz9YXfNPhxoHcntZ
PTIa2df0enQbfBEw9drU+k+jVVdy+jW0DCgAhE15D5J2l9ypMlGFSWrVGaNsnuQi8h6QizWcFrgq
ejEdHpNlBxz0txCivhCZ8b0UKQFS7+hWdOCVX9upy+7NAK6Zoyg4VoYzqRvlPMURkMb+/PGUXNsK
5z92Me0GojxqSJXFS34Hxj1Q931rGEg0r5101rVrGI89g0SNjJb5p512tkQr2kMFuHEXDEOwx3bv
NU3AUdJFMw9wc3SnoSF68ONYp56G7YiUtoEtTTRT0e8ZDsi45uhG1s0GIBxSu4n2e0K77dQFUmYb
YNy2XqP/KhtTPlVTqtoCLmsufbV8680yhB6ihvvRKzq835RfsjZlJ6PzhU3lWwmeoob36CEhB7YV
0MYklKmTy1L4TWojNHsmPCu3cdWFTlNZ0iY3TJTOcV68QzcAAwUEjRwt5XA1RkM66IOh4Rnmh09U
ycZ9wp3N0bVQ+4yXdbKL4t5yPNrCx1yEgrrRO/OnOdTaXvaMcZcW6c+0SuJPCpqDHK5g/cXaTxGL
ncZtAfzZLhMk25Wu9Y7TGMl3MxbRKbHYOiA019joSplbr0qGo5ygj2hqVX7QdR8nD6OztoofW67O
DrZHodM30FH1jSj2smD3WaXvSqFCfbaOTGdKrHyDSOq4keUYSoJXqA+gdUwoAY2YQXWMejHeQErw
jqantj8kYWxQDfBwx/Xi/rbs5fLOiMCZr+yry/wDFZ26ElUe6hMXlRYjKXr4V4NbDMPJCIsHC/TF
x3vhSh2JEDOzGkEzGDhLnEsap50ZqR19i7tW7LcQZOzaG+2M91ZjoJ1Lgw1JoipuVwJfGxoFAbBt
nEfyxSER+pVRjS0KTkPpJOifDpO4MnmX25wWxl8Rlhf2QekEufMGV420n5Ju2IBSN12S7YDarERa
GcuS8Ychn16MxuCis2XreJwIxUqASyQgQwH3+OdEFVkP78+6PCyLSvZJ4oC/ezCYbJYTqh4bfQy2
co0mXbdGNZ7/4vvrwhyRchUwshmVNJ++Z6kL3Qgg29bgVgNGLij8iuZvtRvtVNaAh6617q7c2N9H
W2RkET2PTNRGt+MTCTJcnfhVqB7MUL5h7Wx0LDbFETMhI8pwFFKR3wQObIYT+CF9HzXRp7hPnkYl
PFSJcDSit0qHiD3p24YsiUKw9NvQmazRg5thJsbb4HFLF8tsBVt1pZDwfhSLrxQKk2716JV2u+ao
HeKbkFI3ypt7eSf9oXlax7Wr+f8lpIVKGfesK3y2auiQB2FhtLb2il7Y4MjfSztwdAdDpPSbZhc2
Z4WzkjMuz7V5oH9FnffD2eIYA0kD5z264UtXb5GSK5qt5CSOB8kVPWdg46FiT/a0bfbtjfgFZfHd
yg9Qrq7Ov37AYnUqiQkZjLyIO5Zj+HtjNx0su0UAbQvjwQ62qyO+mkvORrxYoGUcoYNCwOo1/65P
tp9S49igLIW8xkG5q2/V6bm/Tx59R/q6MtTLa+77uV4sqqq1kCGrRtfAOvV38lNKd//qoTTwJG7C
1IbkaqPx80+y89l4F3VEMQFSUpHRMC23q/zBTLWVjHY1ZZ4FWLwRurhEvyzS3FDIAT1KR8XoVhbJ
SgR10T5Qew3fTtJ/JkA6Engfi0//2adZcjy1OCmsEGaVd9e+FD8B8+4aBDxmcNvdsJUdLGef1lb+
1dUAQF+FT8cVdnla46A64iHu31v9lyjNYJdVm97IVz7+9SA8enku4FGxbJzJAtcrfRrdcSgPkiTs
te5Wk7+sTN61HUX5x6SrjYXgBTxahNTAtXhwo2ObOvJ0bI7KjfXETWPbWG72Mm0Bwn72nvTtx3Gv
hzUBZXPkWxfPoURBkrovNFcXHnAN3mB4JpqVvXa5meVxL45PWrmyAvyTYSyLXBqu4UPQhveNA9/y
iKE3xvP53lQ25kOM4vMmeyudDJSCspVO0hYRqAFpQyrcTqL+k2RNXwOyMGIE0K/nr32WrHM5FZp0
VEGh1tmcrMdtbaMNNzko1t56zxYC/C/yBsG+t/It+7WWOa/twvPoi8SJImXTxzg76lEabooWq2ER
Ad2/m0zgrsAlxlWCrhfkzEUySUGhB0BRXATwih+ZMvPrAr/af7xyLitv76MsoSdDCXhuUntXeY5f
mlsMUw+lY034khgn/Dac7G5N1uZiH84BLeQsRKSo2I6LYXWYm/u0pFw9b9NHo9PSU1OUMP+Ktqvy
fzCFf24vs/ct5ZRFLG9AsbPPS7fG3+GXrwXhq9WP0kpikefD6t2tkqsk+ORZo8eaG8jztjlbiwNO
5EhslejY6186uhKvRiOar+oQpN9KsumMGOrugWzm21DJi9dEVR4qHA13kxHlt5ieic+lPoRbJVLy
F+hTsHGaJBydXle937qnCJ+rOpRuVGlS96rfp7+yuBCwF/WC3y070p5SnKBSYxx/fLw0Lhb5PCzy
iTprAlHxWpzRKjantSyVrqZ3UMkwJWVOVr7P5VoghAycHIbW7Di82MVZH/mCaoG81XxcRozsBTHW
Z4jOdx+P5FoY3I5hrID2A7O8/EAQDxqMVlypi9y8lu5zT0xQMFHWjs6LBw0zdh5nntGzhdCP6AxI
fQaQ2M6O43ftUN8FDpiJT8q0ke8lO30Y9ulzf6M9hCsHz8UBsIi8mMgyLQMkKTN37PVbHxW+XVSg
8Sv2mbHponBNvuzPil6ueDrZosim4pG9fLmlhanXWl7MV2VH29V7aJi7dtci/BLhyrtG+7l8D8yj
Owu3uLfFdW2GHeFQh/2Zj20GuVud5ezQJlXT8iY11Dt8yW/TZLqdpualKjy3q5pni35IVFVvPPqC
tfPn2pKidQSDDWVaesaLzRFHlSSUQeEmg/U5nfXOUu872gaOWI+f9Vb+1uvWoVOG35Esv+Rt/Crl
44vQFidp9rZQppVH2rUMBG9I0lVoWSpKg+8XXiRDbUi7wpVMwKAp0pu02JqCxoYh2bXy+e/vJuCg
WIBxieIisEiqqt77UgDyYSgfh/bZSoGD1s8fh7g6HpluPCbM0IWXp7tGN69Sjcodkq+NNSbb2mw+
j0gzoCgVnywUaz8Od/VjzmIs0ERVZKgX+UGysjSCpeGWOsodzej/BqF+E3Qo8P9ncRb5IW+npA71
yq3LH8nANa2hApBLK0EukSnsFngZM80TEhBL4v1iiFNrKNFmcQWsbnfBhP2NlmStEwyZv41S03qL
6yREgMFXHST89f1UJOXOMzoEkzVxuu1NMws3ljpUBzrVMcZcCbY5lZprDqw0YQUYcS1xAYcyRHge
YASXECIVM9BqbAANRLWd9m9BM4uDHNrk9eOZv7agqCUA1sEcQru4LuItpuseRq6tlCBZAUes8D5J
k46kq/XVMOOV9XQ1P+qKZeDkqZk0WRZbpBdxCh/V2p2vdbcxqM5NmTbl3ugQSa70Xn6QEUkxEZ3r
RNQKm0FyTByeEaOAl44uevKM6L78Dw5bOhmgtUDB8khYJolciJR+1DDq5OWy7RWJu3o50JQoILJ9
PNtXbg504yi7Gii5gpBaDD9OkTsdK8kVB+qTw1c1HbcfB7jyOQkw/wceOrt2ke86tRdanQBCV95E
5iyd49doo6NMohfxfYzP7cfxriSIWTqTb8L/My7AXqHm5R6+4K6WVD99SfKd0BjkXavEfz+PUxUn
pap8JNCdi3EVPpoCsd+5AHan3vbQa/9VCK1BCyFFTS0efP+31+Hw8PHors3medR5j55dW9JK6vSo
7VytDnY5FDiP8qP4SYu3+AevnJtXtjvzhx4hMHzQ5ssPVxneNKA447bFg5p/B2Fgy6golVG5kgSv
fTCTFqTGy4kn9zKj0wfjsl4SJ8WaPhWjHsDV+Jol4u+Ppw7zl4u7P8wMCZ9YIM5IYi+ODh6JbTiC
S1SSTil2ZiCZN6WW1E9Fo+mPmViKUEkjdStVGYqaRixt66LUP3ejNbltBoY49dvqFQGE7rsX4w5t
41ludhgdFIKDH12CSwCoIx6Cjc193LTNOk52Jc6238EKWttWoQoc+9NvSe1wgp/U6ijDNcN8zsxO
Cm7q7oAhO4hkvfqdRkNjfzz6a7PMGQC8G2mFWWfh/cIRUHNoY3M2cRR2g8gFsLZ2ANdXNsXVKeYl
QiS6RheYYBw9RD/uJDfEbxsp8iDbKkL+/eORXMaw5mY7zSj+D8DsvEXOtoCACFegT5Ib5OZRSrzH
Ls4f/7MIizss1lpmBxnJbZRfShNgkvXp479/2W2AZgBTiNWoY2F1AcZtc4uszxcXH5FHql7DaoMp
8C7ceo73SXxQH4QnpKDuzE/zPd3aa3a2TU4ISFFn3WPM8vfRgH9+jkr9mN9CDWOxMcoKQ+pck91O
0k/alJ9insN/e5PPI0YGFNDmLM353+yd2XLjSJamX6Ut75GNfRnrLLMBwFUUqV2KuIFJigjs+46n
nw/KnE6J4oiddT1lVmUVJolOAA734+f85/+OAp1RzKfRF+W9ivGTjsuWWjHz5TMKwM9znEHmDlT6
JCjoHe9lAVAEGNvKPoXrLQ2v0gCosjjnN/15BWYQVCVYlGDW+kn+lykizUiSvDfLsDmIWUDrR162
wjLmnXCCoBtWAm/h7dczhh350+LFsBYmtEwYjdDg6Ab6qhfmEttaAbTKqaUSVmYl3aTehNt+GX6P
E2svpMZ1XfjXgmHdCLSaeaa4LztUDEjr6rxxm5rWmbgjyEkdQTXsTNE3dahhsFS4bdsjmPyWUWzz
ymgJ2Opa8BMnGCXc2oFcwk+T6/LQlullG40kmGtMeDPZGZPcs4sembfad3TneONtJ09oZvXyVWzo
iS2tWx+qKzNikU3DtZqNh9FQVmPkX+CQJ9gJOIG0qi8FMrB+AEidnGiEjwvMWBda5cVkfiuiwsFH
/gZbKhx+mD+N/pj08nevyg6Ckl3E2ug0BicP9Pq2NlhbaPY4UEF98i3rohwFavvJjTizO6aE0np+
IwikroHPLMHTkhPs11ar30fcfvxFykvYOhcdQvEx6B/6jqoSnK5+SC61SrptS8FV8gqejhxecvPX
wZRES0zjKQcG5W3Tq/JSD7N21ybt3jOt7SDCtcjiNRF1CSFcuKXFBlB5bSOHccQYy30/W2txdw3l
OYPXiG/bRGQJK3CRGP2uF8iDldqW7p910YPcTAxb9PtFUiiuaKY/a2m47LziCe9ibPrxP9UyO86A
0UTcwmJ4Dae2p+TY3YU1/yf1vEfYlLsEQisID2KwzDMfh7Fc0DscunnGIVmeG+R1BfaFum/6eslm
6eaY8YRsbuVQ7crWc0A/OuR019wpJ4rDJUZWjlH6C6nwluyhdj9zhVrvwtfwKRNE3D8EeWv0yoIy
K0dQMzxXMDgVqxC8crxXCOQ/mbRTR/aNwoDq4XOXQWtuGkgsmRatsjQ5s8iAkzvxKr5vv5tf1Xcb
UKmqWSCH0UEbskWWmRAtYQPk5rZCiVmPyRrfz9hp8X5yyRyCIFzkTNoA7y8reMFSCwnj3RjexV7t
xFrlSPS2yclrIvW2MmKDJ10ZeNgPybDWdHPX9MO2EOJVA9Q+aXiUxXiT5u2PKuhsAY6yrpIxgvRK
d7jirzrDWEHhoPZpMFUabaOH5aOOtRLSgwLSiFi4Xt4u807iVNVFzqgYv4o+fMaYJV+isNzSCOGO
hgUppd152hW+CBprQ3cfiNod5i15vMY5ZDU0FMiFzMFm8hJ+zqKLB7vhdJRlD2IkuGq71aTISeIO
AiuiQsEpRzisEuDZmvaLetOa4sJIce3u7SnYmzK4VsWtYNTKAv3kLAJeorh9uKnGbVOtjeROyu7F
5Ebwb5XUbWuTRqrRlbpkoaHwyv3WHQtq3QHtAG2xojfdodyz8/raVpL6Puqe6g7u3fjctldi4tl+
D0k1vh69l1DGe7DDsyBY6laJ1ZThlr20KTt4D0Vnp81dWtDbro0csTOe3k6qccsscYUDMlXfy96l
118puDEm4bqQHkw4rRmeTJeasYVMZef+86DdRsCJsG5xdf/Oy34UVuMG6uDSJchRazWrhSr6W+G3
3XaN56ZRvpBy7SKpdn6lrnB9W+lmsQu91qYr364l5UIMfspKuMxNBMBpYxcypYZstIVRuki8/Jun
UsWKYJSAvcUps2hwNpUcQ5vuizAi7JR3WTXghlhsC7+/jFN5WXUjnqfCTQQEO5ypvkWxq5Wd1yo/
Ygz6RSnapMXojsjNTSHHkE1YKtprIg53vWytUit1cktjDU8cYZhs8g500WAEOekIAPzHtn1QtJ0V
4TfZkNzPgsfYki/wuFgMVrxPqpEZ2Wk2sXRkiynGCAhqntq4Z2dANWj3VU3/tCGsSe8x0EyGMRUX
CLzu9FUcrvIMiwUkFa+9NtwmwXhQzGlXg9Im0RU7ibiRjLs2znnT0h2O2Uj0s2LVmvN2Tdu+NSR4
PohLDGPXnh4+pPJOGqbXrtJ3wKI3YLBzJ8uVjaFclVhAFk3OwWB8VGCXYX3rKqGIJHieuuIl7+A3
z7eAAN5rg+YE+W6GwCgRYgAenlre9SGoc/g1aqDbPVA4U3eDqrnAJbZxpFJ3M0m/9FNlq+IFCr/H
lhWIsNiyBfHkptoPqxg2gya7RtFdILa70JXODSdzPbWKDfLbtuoBp9rI9oZ0UeswV/LJDjTPNYMO
W+UHcljYmuQLP4tdMb4JTVhH2L3lpepoGBlElrVs0BVLfo8bROV4ZXMVZtg+ag9W9+g33mb210nL
XwlGgPUMToLZ5VmCHeT+NgqvNKlx9DYGVxMscgu5WlwABZJ2Qp9eWW0U294kroA3b+iZgIbMFdYE
JQNusOT2k2/sMZvYSG7VKruTs3bRsffEYrfszPRW7qRHtqpFBDJ4iT57qwUWaHMAgkswY3NJs9yO
zJQo3Zu5voingVcVafwu9vAIDFrSzKVIwqHdNOg6oQDrz6XXu1P5pBW+uc7DeELsad5ZAs+Zr2iP
OT7phsFpt4ZulLl6/qNDC8T3XH8d1J0KV9/vI0dhtzVUea0N6SHP+1+ilj77YuBaeB/9O6PMXikU
b5BSHR38pkIDtxOHB1OpObqXWpBuRLVUb8xaLs9sjScKlLMBwt9jHWUnYGoGhlCJe1nDPcVuQnsW
5czO86W66J/KTbOKl+dMIz4Be96cKlC3ku5BJUZX2MftGDpm34qWQnnZeEIZo6mOshvvyT3vtctp
W270pfGg3Hcxb57dXApnQSOnzqOz6wI6SLTHnypW5HdBUesqfbCwuaG8medS3idSlFgrvRth/gbv
Ag5B8kTTG9S9ZhNS3GTLbm3emjYQVQfD36Xmfj1h5ozfx4IRoykGlmM4SXDYODpfG+UYApVSaZ1u
NrTYroK9tBDX5+bKiUrsx2GODtl4VBcFGRPOwJO/aHYqxv3eZjwI++CWQpytHuAVXKWXM0RFJ0LC
ZwCi0GW7tnbR93OYj1Nnure6qaSS0fskagliudDCgqZFQ3qpO3hFya05fEsnNbJr7fD17f0EC5jn
q0xMKGHvSDL9OOGc1p1iFb20H7dwhJbDWtxMjscFIpRbnVNRnXw53g32Jr59N3WssBKkKR7RqUlL
qb4zwNBbCvZfnq0AgigW8Z1ZXQfptmLxtopfYWF3+zJbVme9XU7d4vdf5Oj82ndBIYsCff+vfj1c
JwV9jdgEIb2/0MfhTKHipO+ZjFXn7E8vy9JxQoOEul/BQNwX1lhtx4RknJ6r5VIsm/7BgLe2kbRk
YGHXJFoF61G4Jwj2gJVZ/nAm73FicaCMPRujzQaFn2Q47YCwPfLF/QAW1MMnXB3PSVfn9+TodUW8
NPNi3spvx4kBNa8yU6cd0SsSEWJZcGHU0Q+l9Da+xLqX4zdbiETYZybxyetCFoJsykQFeTyJtXaM
pE6d9n7VhBeSEExriLbFXS13nFHCoOdw0qUX/ZhYK1+ss4dEwfvbK/uBypFi4B9NcJDgu3fme52c
ZXBfKDPwX6rdH1fKiS/s6ayUdZxeqMYu5EDVDM8evcgwjP9xRhXRK8kmNGSz8uI4o+oVURwFlrin
hGfj725H1U3vf/v6Pp+4zThb0p8uIoVgHh3tbcVAWsTr1D1YxZumKw+Nfk6k+PY1j+bPhyGO9uy4
TKzYpwUIfXrnigsEApHLodZaZL+0RXrp7UrcMtQlvJ77/HFcGQiNUldwtatz/bvnrvVo35FLM87C
nmvVAnokniIyGV/fTOlzloAn9u5uHm05rd4IPQewfeP2C8z+1Ifm4EM9M5x4Uz3gRoDfN5mr5TkF
2glNBOPCj5vNg8mBHr+igFhLOa3AtS/VLZBzursFh6V3k2+w13ayy2r1j72g2GPejyh/fA/MUimT
xFP21DIqtwzbfuXrneXCJ0iXeizp9//OnZ2tQ+fcC7qGo9VdF/y60BqRCGVaJqpT/Ji12GTj8t3o
Ak+4rDcNu1v+8vWwp2YMsB2U5xBOqKQfjVqXoRlWdbuPx+/huPbafywR5i6+//yjuzhKJO8kMTik
Gr5TkFqL8vnrC5hf3+N3j7KTidqJrDhNkR8fkzrE+gyO2/d6vTcTb0lT/Fop+ut/YxQTliXYRxUk
1dEoAk7KcREDlMRVYZ1aZJaMNJMJzy3R/XqkU6EjMhvceGUkLgz18XqwURRDv9aR1Ibr9rJZz55U
8lmjs1N3jQeDDAEVjc5O8XGUyk/LZOJEM6XanVFpuxIOgm/V55aLU3uJNYsFMbU81edcqlFOcvMQ
RXW4iVuxdkyMMxZYYZmu3+fLCK/Jr2/fifnMQo+2DskzUshjqRYyrUQnM3JoiNhWYm5JcOYac6zP
bFyn1iNiov/evI+DQl/AJhFSBOuRt4L+ccDSH7s9DCe6hbos38Bs9+d04yfuJmPSRqbyvyewqjhJ
kUgT92GZOJ0u255wTbuM12NE+89Vq/TkzPXk2ZpZxOXi4/xQzNDqCy86tOI2TbeadUHX3tcP6tTF
yGBa55ZWhVjlKMwwiySslBq3JR21iKfZVbyVymelu6+acyvryaGwX5913JR+jovWYZxkUq8Hh9n0
kaJPvE7XkTu9mG7t9i6cjnZHzpj+C+tMDH3iVaYl7u9x57n67uBADblJPTrivXyP4aFjgIQZqldF
bW2p7hdFeeHp8pl5eeK9ZlbqMzqWY/Snwu6AapeWTrIHakv730DQ1mSxdNC85FzodupF427OpTS0
AJ94bcBXEmwF671CGYgtZKkX1j8uhCOSJSEgoqyhf/c4cMuSfLIsSkA5Kbk62w04F3w9BU9ewrsB
jsK2UU/NIfHSQ6W/4jMGf+jq688/9TBo+FMRTOJE/WktUiI1VQcMxarGWubyuJ7Iq5oQnb4e5URE
RsX571GOIrKi6ScQXO0e+JBLanLRhwXWsQCCgp9fD3TilIRfiwI9jEgBUdV8ue+mc5pir4Hpx6Ei
eZ0Nzwi+8OE0SEwOU+XUOSAts4rPBO8nx6TgPQsw36ByH8cUetjdjR4B6o4aY7YlbjeaCB2pMGS4
G1JrPYlmVnl2P+lPX1/ticlBZxMpvznFwDw8WgE9fMthmdAHqIV2XX7XhbuvP//E5Pjw+UePzfdx
cFeCfi95h8b/ViWb8/6fc6hwFBpxsMJjBG0eco9jtwipMb1eoXlqeAU0WzvZoXiRD+XOezLX8dJb
TGem+6mzgcbUmJdZOgM+aSCsWg5pcBXYE8dFd5Ut48HxXJXkk+Joz9m2WAnL8Swf81QuiNnBBRIy
Y4dzHMrEYeWBthf244qkNzy2rbQ2XeNSfy1AiK7PpblOvG3gBGbvDazAEVYeTQvKFIbf93TyDYbr
Q1by/HHTCO0m96KbryfIialP1DTjFFFbISs5et2USisKmbSTMMEeS00KYD9lqs1h0btF8tBFyZnV
8OTjwyKDdBr//RP6+P79LmWh66eyIlSvC92uWyu8zqLeuy61NnelsUhZVzrqfZddrkXbrEny51kk
FSK9FsAzF6UoXhiDGb/KvpRu9KmyrrI6Hs7MMqbviWn9fprNb+67dagZvKzXJWGvDJmTTOWyG/F7
07rLmm5g/MLjldF334BagO+bHOQ0V5oK921otmNfQuh5oXrvNFW0KQtlFeQivCpvVRexq+XBRs4L
WiWjTTR5dhTf5A2iYQiJXVIujPjR8xJnKgeHRXxVWJD2pMHG/XuVFhaKAZKvIZ4QyaOY1UtdHFcj
clMUO9SU6pUkVXuxD/Yt3MpUbB3ILJd9TIEz87eGUl5GRnEtdNJtGr4quXJdxjqSh2yleyaUk2Il
ZS8+RTaLinHYbo2pccPB3JXYp0pCviuF1paN7qaVc9c36V+UiDbMYtEGil2QGhYaCpvG6IBJcmFi
uKr6AlFhFcj5ZpJUNwlAv+fB1hPgpSvDYpAFIILyNrVUN9S6bUNtTA+aq0H4lWrBHYu1nWTijdj5
m1A3L3zRI6wfloKSOL73NETdjtPAjqRW1bxmsr+Kx+rebH+1E0JS6RnZzLI1Y1RtiR2a4qoMnvDn
WZqxdwnFz4ZY9Wzh/5Up3coSIkeh1tcCsijFdC3H4a/RJ7dc6stIpmJe994i1eEuWwUiCYpOalT8
9DTDHqQfZqffZLXvCPkTJw9nkksnbBK7h4hYiL9kOVoJcrD082pl4ILXlbgDCdVjJ7wkZbxVDR9T
2krYgqci8kC8PhWOj6ZGrGVHiJ9zb7DlnpCRHiEIkKuJfvY8+yHGPK6y3URhsPYGyykN3Rm8lE+/
GQ0M6yMMmERlo4x1gQeStbXy+CAMP6Q+uJIicztU0W6iJ1mIxqvBWtWa8NTBfxkaZdsJzaLyMMmX
NacR+3WsV3Y+iGx8hq1l3ioCiyiHjY3b1Vr3n/O6d5MwWQz19RAaditcVd6LNrxYSI6G0c7CJ1X9
2VNjisQFIYpjGZYrd/VFad7GQ2grdboa/MBRo4EaXgbj80E24kVRZW4aQ1IShpUuVG6vhc4IjDif
5Ot26LdSbi1qGgOFUlwS06FMKNaB8FJjNxK20iLsqSfnJn64WaZtSgM/dMkc79nUv5EirGyYIXdF
HTp5TCwhzPy6ACNJInPNPwSx6YR5OrPfVmaJltxTLhPJWCD2cUcohanRL7Hpt4PgSswke0pEVwqD
S5nnM2CArDQFCgpzUc+JsQkNlPGrDb75BdDzJpJtOl8cFBlAlvXLqOrWcT45UW8ukua6Ket1l7Su
MfJXIYaM6nNtvhaqskINugzidjVYwRpW2dqK83tNB6cgUUET7o0sXWt5u0gqcdFatTvG7UFDI5L2
+5pO5oh8Mz26bigPy4Ayqx/zFUpl2UqNq9HPUqq9G8SQ1fxyQwl4U3vdg9G8xuY3bwCjWQNPtbxN
qZeLEffuAtdDw/8BtCV2Zfw3C48CQTx+a7oftDtuNECLoTEiGWxwC77tlUdJemjn507CR6sOMycV
a2QbGSO3cibk4dGMsygyN9uEzVXgJWMbaUIgLmUXIxhR+hdVd4iEvdEUjz01H8vA7i4cwNYqVbb1
0nE3SODJY+J725qNV9Sgve0CY214rVsi1pJSGOaW901Kol3QQd9UO+PHkErXsl+vm1DZVU1xT/MC
VkPNukmK61yi/l41O3Okf8BK3V42v4sETnKQOjjeQ/paCgj7RlpMOJ0Qzg+bHFwFptf5DBbU9XU+
bHzKNhKH9aYRvoeN5s4t8rMuy5XTp64gKGqSldx/T5NNRhuIXlRu5perQkccVAbryBO+gQ2aho1i
ee4kPKTVNTGPW3SDO1TSOkPAhUSj9QC4YrJBYfyQd/laCowzm/Ubyu0otiNlR2vp3EwifXKQg59m
jKYh70N1Ep4CPCgvxEn3dr2sekshxhm2ielCjrvu0mtY/ZEsoxPws2oC6IQNHjTYcoeyqdrJTZGu
lDDVWR5CNE1qFCy90ohdJTWF66auWA2GeHQFOW0dBB76coo1dZMlQXmdKnV8oQUxCOGs72543ume
3jV1BR5kXPRdOZ4D15yO9t7FmEdRkaHVUtQHwltlVbzH0Mip3fguwJ45dNPHryOwU0XjN840Zx7k
b2QpPkYaoz+ZUkXXdf1XcTV3hAXoRHf2hBbc4P7McHPS7eiZfhju6EhQoDnKBUV4y60jxtqa1HCN
VbQu7s+5ap+O9UgTzD1gaHCPm11Rh46j4nl7Lc32Ss28EfpveCZjKVWyGskuXJZnWetBTeK5kgbY
gcIMPcRyNCIzSiB1EMcsdMM7kxQ6FV3Pbj8cMymLfYKCaZUu+cE0HbKoBZz6IEnNumDIAPPAr+/1
idOX9n4g+eOTFdU8UIvM2kc1XjyxiDLrpVXO2e+cuhpNpXNQ1ebOvuOzQiDAp6QwdIiEbaXeF6Ji
59G3DhHjP7+W98McTRtf7lOF6sFBj9ZtVLmatfc060xe6VTM/W4MfdZzvou5A6RahZL5h9Q0EYv1
+tA8ttFQfKdaKD/2qjhdS4TM93Hr92dGPvnG06hA7ZcMsk7XycehPcQUkm/5BwRuC+GpQLkxrcI7
uovx5tDPOC+fmhbvxzo6WkxKV5UF1hXRUKaPA1A6IsvIN1bToEnLr5/aZ7e92SIZ51TOrRQvPqVT
aBJoI2EMDnrQDztVF+rrRB/KVVMbHA80vJR+Wp4QQ0fytDtP7DLRAc4sO3Hhs7npaKZ1x2JhLhDx
idGTBej2oGW6ttVStfsOhXXaZJORn6vnzEve0RrFt8bJgH63N5vqj09DrMNmrJThoPu+tDAnT7Y7
b/QXfh49S1EqXxWWvvn6Rp14JnPLAydg7BOsT81oCpI71WibQ9RUL7UqPRAF/kBgfWZBOHFdOK7P
TD3YfWQzj5b6EOo8xnfNIVGmg5WhvZQUoqysS9bJJF0Y3V+OpP/5Ovwv/2d+9ectq//1X/z7Naf7
L/SD5uif/7oMX5Gn5b+a/5r/7L9/7eMf/etQ/Mxum+rnz+byuTj+zQ9/yOf/Nb773Dx/+Mcia3gw
1+3Parz5WbdJ8zYI33T+zf/pD//j59un3I3Fzz9+e83brJk/zQ/z7Le/frT58cdvZMH/8/2n//Wj
/XPKX/3vzM8TKnx/ftJfv/7zuW7++E1Wf6e/fjYqY6GhZ24mEvQ/559I0u8UCkhJzIYv5LVVHk6W
V03wx2+C+juNaLpIzgLFwrw8sJLXefv2M8n8nbbgucSFrI0sHn/3f7/Yhwf09wP7j6xNr/Iwa+o/
fiPr92Huo44ll0/mRyXdipHHJ0tiwQccIibdC9XbIF/lbVsLptM1hVf/Gj0L5m6g9mFZ/0zackjz
pzCBfGCHiR8Kv5pCzNLBVqi3yb470rAXpm41YK+R8FrLyuTQZT5CXKsnpW6WWml4mu/giBbd13rd
GhoG/9pUChzG42LQxoUQqADWG9sLNWSzTtHE3Hk7xUBF0mmjaAzOh6rXDOVtoIaqktio37vYtzO9
MdWlJ8tTcYd+vW9XnGy18blKJg1ArCxVQneRy52RPsO1TiM3LDFFhhdsytT5kRdwOuTA703fGimm
Km9LvRAlErplcVK+AUGzgKll6CS3oVwWXKonDX1gF2qNFnusSjwM4q7uh9WA4/ewbGOgzSNkU7aQ
EqGYzGJkC2aQp06dSj0WP5MQFx2/IHSke6x8zJK1rxoDvsxDpVgX9WCMvSO2anGHNCFR1kpuSP6q
ktMBX/ZB7srZW9lSEjSioYiD5Jalpi9pM4okwIh26stS8pylo1e2dqULwoCTeyn64yVQ7txsX8O+
q5tLXAjGWkPLSu5GsX1/UvOVkmexPF14Mr1ujhETKF57pSRHNA6J3fTkGUbjr1XVFwQ7qjntr0dY
xL/8eFCTSyGtBLmyM5Vmjl3uR5g7rLwwlPxNpMQmOO9y1KR8UflJGGwpntY4eKUkw5+iVER/7qei
HNgGHUnk+aO4kSIblrnZroUx0YILaayDYTnJkzkc0kGNAafrTdAsB61oRltThlZZcJNrzlxCOz7J
+IN+N4rCeBrCqsvdwqKEhKgrz0l96wFBfN2GkPuANhWDG2hDXLk5LcnYntZ1ySHeMIXeFaSyJE1j
kU7Dq0JBlxSQIA1JLxieepdlShAscdtSK9vIQ9O46CuuyhaMiAyUHAjtsBnzMRSXlHexOw1TI/wl
ZU2L16kuAZRkFaJvSGytqXPrIckx9JfjDKlx72mqG/lFVi70PFfv/EqXW6chp9LawqR6uaNNFbmi
3lC6R05lAQS2CfuiXduGiuYIpSL2q6HVy8IRvJSsSFrB+VQh780tX1H8q7L6wFoOsTZ9V5ohzl0Z
ub+00jRhop2jkNUcqbzie0ak8sb2RY/Usm8Ub5kFsAqdQBA7c2l6khkecIm1RkdKm7xzYtMI9N6N
klDsDkIV49dpdEFGhoRpAk/YL2PrUqsTUd/QnZQKW57bZKxA9CXNnRxMfgnqXdEEYeVnuSBgGhtg
FTKhjBQmu22NeJwWrWzpub6yAh/BNzcyVNKLGuteT99ovZjRr4ixR+gvAjp0X3KeE/6MacAquLaS
KjFteTRD/MmjsRQ3gOdzoJRNZGJrj99tCeK5T0oy0oY1sCpYGd0Qbjt5g8+L1yfjpRdYvfYUq7FI
T+RIQ6hdEjRarVtjUBCS0hITdRUNAVk5GRu5blNqBSgjXoDKku0ym8ii9UkoK/SOlKXY2AM9dV1J
9TRKxmVSalWvLqPECPUtnRqxiUZ69MYc31q6Cys7zL2kuUGVOhkvZJ5gT9ldoxVhudTHWME6RElF
aphuW4ZV7A5dZwokJ7o+4uyrFLHwqxLCDqFdpYzcKYdiakdXkFnU0b0+Q22e8dUTPIB0Yxwv47jI
zZ1CBEabC0ZWXvornHSk6Xaf+3n7KrbYJKP5N/vcegiHwJ8WfVnTySJMVVLiihCTTPtVRrlIRGfF
Vf/qVXoBbFPPyQQao2IK20zKYusKE4bK+qZWvJg/MkIm71tTEXU9i6xqpc2r1Rf062NKkJHrpKHr
ezjoubyWqYFXDxp+wNmvXpNrIrciSar8lvUv7txKFHNKCkOEiy4xdlxr6DhHOrrTrZRKOogiKfKm
W7xnrO5aiPS6VxdQMTX1JbByRd/nXakHWXUBUqizAlLKBTRbl0V+PtAi28nDS9GLjHYp+IIOyiap
1LblsgvRU8ZF2dXZuQLbHKv/HanOkqYZZk1kPWsLwRwdSVz0qO5xW5IPIBgz/VcgqbWxtnxqymfE
yJ/HwRQGayCq7iBsPp3yGnUcei3y9ygZHZlVWWu+v4uQ/gpE3gceb9/045V8HOHogGclAe7Mob8n
UYltP+yZydZ/1vfmNx2jPZJoLoCE7/pLRbsqmGtE0MzpM2fMo9PKfDdBINP3T12I6OeTccnQ+qQH
tHyPI8NKcXnrR92ZHrsXcdPBr6ccdB1cmK8KIM3Wxiv66ztw1BTB6OiuqIRhfg4H7HPkNWVJZIVB
dhmFtr5VwEGSZrvQ3daNfzSzgP+sdebRqfPTiMf6nqQdS8EQ0stZwV/f55fWolj4d/qyWAX38eOZ
y/uYKJgHoyBCM7RB0AtH+zjPlMt5C6G2BWyPC8q4pQXVCZzolqY/yjWwnaQFbKeLYPX1sKdGpdgH
04nOVjqrj488VoEdi5xfZh6KzfEup5LXAssJznS0fDy//XlxVGWxuuT4Rp12/vm71EHkWZ1a4acG
natmnVVqgFH0Fn99LSeelwIudC4E8wqqNNB8HKVplEjE3/Uy21Wb6ClcCE68Myk8h08ZetuvBzt+
4xFbYJqAswzCFxkt4NGNU5KsNFrP2BSh55SQe9vk3Cn7+NG8jUArDhVt2m4+iQBJ2gXjaOqbQKyu
4li6bNPQnapo23vpmdP1qWuh41ezMNKk+0bl+PT+6dQ1Z5gpNih8yoRIFkDi3DfPrJBHvQQo1bhh
byKEGUaK28vRFBiydG6rMjaS6n1r1aSw2w5ybCF4dKiKnASyg2Gk+JmF12M54DEWrL9+YMdT8G18
Q6Roj1jJYl/4eJGT3JliRswT6UlypeA5c5t2ud6QZTlfRZ9v2PvF+s+x1FmLQBKTDOvHsYZeHTC+
0Dez2GxyJUppODnTAbvR1xQHzyVyj1qAuLUggCi40j3A+syB5ejS0ixLSjU0l+TfgbdT4U0CelTV
ONWtC8FXkviCt7LgDASNGBGNm1pmldHM6seVdZ1l7aQMriZlXeloXico+1aMzGZZa6ky7jqrrNtf
osz5TabZYz3mSdjTO09byLjuylKheb0efIpRKLOjfaxGOoXocJw0pbSFUOrbG9UvRO2i5Ngtv3z9
TD/tCSRpkPJx+sc22/xsQ2llBra0Db23T7CAHMnuXhpbW3WOtWqceGm5f/V0/f+MzW+zJ+n/O2Wz
Cp6z5/cZm/nX/0zZSL/P6y31gznIIn0m8jL8mbIRlN/nytRsQ0rkhSmYSNr2r5wN6RzJmHdx/gPD
StH4q79SNurvs8XevEugvGJPZKX4BxmbI2u4OePDpsPqZs2+cJ9DQFmu2yyK7sQtvA4n1HHNLZYl
HpWG490Gj/zbhRZJGvXKO5e0npPSf68Cf41MQgpay+zXZR2teEJnhqk83PaOueofQImuZtbvlNjk
dP4n0crHBe7zcPN+8m6PRSdRdupwK9IycD3HZ8o6BxTZOeZr2xIfpu55w5uj4tjnMY92Qa8MxHqY
buuFt1JJAnS3LC4ELPIyh71Z4VmvndmqjraRzyMexcGlr/aqL96qq26T3WKXYBvXyCicca3evJvg
JyLuo7Xl80hHi3iUYYIzDm/XNt5Ly5lOP88aP1kaKwwrVuS+z4z4ccLgAo6DEW2TsJ1Y1jBeO5ow
DXKipNG+z3ezXc3hC8Xb3Rz54cawGM5syB+ny9tguOBATDWxIPxsmTgVg6KP1fPY3vTxDzJ6Tqud
KeSdGoGoEuTSfARDh/9xQkpNJaqT9+x5t2JJ5Wtjjj/O3LCPgcuf14Cb7hsxYbZdOhrBGOnkV5pn
mjKf+mdsQLbQw5kQxnbczMDec722nyqmPCD6o8FI6TqeeMaxmNJoNA/L2ed6UWzERbrOkWi9sRJm
RAKpQ+8xuI5W5pl1hL34w0IyXyYp71ncS9sTHSHHsWZHJFikyUvINrvFJyR60Aa12da14l/oTSeN
4O4CVcZPJzBd1mf9wmpV+f+wdybLcSvZlv2XmuMZ+mYKIHoGe1KkJjCSktA6Ggfc0Xx9LWaWVd28
WWZZb145zUtJEYxwHN9n77VBNo3lvV37y0+PDNgHnEX3pPO5+AjDIfjImccePe3jk2A/gXCHzEt3
oJtmRcvzMzer9237Zqq2fQSMz9+2a52xw0oWMORfkSPsO12O9sdkTQL4jmnO8jysY5SnHeDh3dr5
7UOT+xHUzVzbWBFYuDxuBg4RbGWL+QHHZVSx6AydxWHY1WENg8VwIUo3ArRCN0XFtbXdHt+G2+iL
8maC/VTvfjU+7MrZsSlGslvTRv4AAhYvgbbKtxAgbOpUM/8itpNus3e33nyes0bfLW7VPCLQRntY
lIm7Omk75a+jQ7AhGN4mMvasEdRlaswmUQFIB6MJh1S24/wjo72OhiejqOCdBPz0JDZsjYjVLV43
MkDMdxlr8morNFTcMjLLiwhlaFRIPUZ2kLMzt/tCyXW+hz0Eub2wqRbcB50f/un8Rv8pQ5/sMM/J
sUDuXRj0LZPFwjEviiCK4RSiSrX+6L5XTu9nscRfdZTjZL82m3LzpJkLJPWhaaFLcSCLDXdL1+Jd
Y5swp3au/W/7mgMuUmfeb39Yi5/ER8ycYnaHK3zZZCQiqWi95JklftHys+J/pC5ywlfyqMHs7gsx
+knG9ndgYmcSiPHgkEVbo+aRvXex13gob7bR6Jt47DFGjqHEjGdpM3o3pWceHau+qSJI0HDFUFsL
lu2WuR2iyW9uHYWHytNmmdieUA+rXRUnlLcIdtM0/Vin3v40Sn96p79vfCE/MT9UarHo0po13U3T
7NRfXYjcmDfRgOCeNzaGtlJ96soAExKhKu02KH03XhNN8cCReB6a2qYUsvHBMFJp9qwGElfAbrSx
aynuvOZbWYJYwklXgs69EPJxnqW9RZ/zNG47q13LLdZKD2+K+pqUe9nXCpTxiQ9HWZBSsOY5NaNM
Hgw0w3Pu9c6Qbp7m16IYFL76ztK39N3oG7dyMzMZ1NY9u5K6ma3iq5aLTMYelVivfTBQZkUfkaIZ
C+tNDRvMgv2U93xl+OJYcd6jmPe09C0xSPHvFlXji2G+f1ebJ66DsPVjZlPH3BWEFpE9+5vvz9hF
mWq7DI00rk0vpnM5ZiDzHOH+tPNSgov35ZORWc5ZDaHhxWYXqMep6IofW8180VRbF4fWaO3lMm9V
zFaEkzYzolNjSfsJKKQ+dHbenWrNlqtybNLaWq/Zfh4FGv22lgMSVcD5FW68GGsMr1hWjZjqJTMh
I+bdNt06X4pOvzgVnm62VizjHlBj5adequISoZx+DhiUL3k7+piv7SmJzL5IBq+09gsdjKfVCKtk
Jly9GwPtpoioINiGJjzg7ZM3ghA7XdWruNe67NIxaxfaGqrx2n7n/uJmzZf7YbTlh+vobklzSy77
1ZqjrxouxVfQWwDdZNWRccX1l7+vk9PTKZr3mC9D3ffptLlBsZuN2tiZIpx2WrX5WzePDsCcaSXV
aTTTbmwGJ7VE0bwvmbL3gamNU5fb4hjiwUaJLYx9Nc2S1qPMBk01WO6WY/LMp4dRkzLOtCKpGfnT
z3yJaO3J6CT/Rc0z+emxmc1zaG1yirsCdlRRVDDYJBI5FcXl+OTXU450V9rqNORjcJ37vn/ajKJ/
G62tf6kNC3iLdvLwUtYddLgKCzImg2DfudRbor9DV55dI7zdwqrZFWZv0fkFLfy9nCm9Zc+WuZTd
Leuxt7/PiN4y0S1sDBypy/HM5gflP23nRT5ig9nusAKGe8ip3kcxh0OVlKWiNdQ0RxhFYeuaMGAL
1gKmu6yfWyem313u1R/bXIBD92qlnsdSBxf4gWTILF2uO7Ps1G/TKFYeVdr9wS3W/mnaQ3NwaxXt
hS4LoHammi+Cj+VLJtrts8ks8/fAvuRCAaVI1OrVr2tTO7sJxETsddaylywnjh7/qFTqOntjVRVe
qmUNnhuk852w7XVNGmV1HZ5BQ9+FWNQIVPI7WMcR+J81yuKWhrr622rOjvlQYry9r+2xA52Fqp6x
yuxZoFSiDquY2/7whLkWOabOvfV1rSr3pe45DXiZ7ad0a3KTZpb3Bo5KippwYg1nQaL0z6wz42y5
c/uHDbfA7Dk3ag+Rb/yTBU5VP5VFMP/J2dDeRVthp9PkmeWucFV9Ew1tuS9K0z5B8Jjgsa5RcXK9
Wb2KtcI3rGbdJbmfVz+lM3tXnvLWqZ/ccO8Usr6j6Ib+wHkyD65Xdfd9V6MkOm1b3nQV7YARGsEY
87SqG9y56ABjvfnvBvCtlw1U42EVhbkHCj0mucqsLjYcuzyZmRIs+Nz2EM6tXZ83Z2rjoLEzOH/4
qIYhmqE12Hkfd5uz3g3sT8+uv073hkPDBpyodoIIN06/VL4Y8Ypj2D2VWSUOUsieR4e1tkTVWQSb
Nz1ImvV1cjbzJzN/JtMNdlUi+P+rZNxwnntOH2Veogc82Hu7D4F4x5U3AW7Dn+MsL421OqeSKYgt
oFuz8i9qOqxygImc+t6Q39t9GzwywlrcksxueGOb5hnoJPPCQtOI8KaKdX3XqzthKmhmHL1ia3gR
ur/SI1FXOyaE4cvBEV/HXtM13++jwiEXNBJnPm6P8jBCIrpfA1Htt3wTYE5XR81pMLne3TY7bKFs
dxaAI8K5BtPbuJdGtJJyHsNfD/gTFtIOurJPGJCmKul9ibnbCiR57VaI6M7IXeUlA0fWk2svowX1
a3ZOCy0eR7P/1tA2OXg0hY2RT/uHk3/4wHex2HNQxbpkRZOUwWDQYu77zwU+OycuIlfcRgXU4Hic
SqtO/N5c81hZYfe56ZAaQewe/Yk4UQeEyljf1tHKb21jVGNiycDBGz+AWymtLBuxteqxQdKazJDH
ItD8xGNvu8a+EXrwtLSUGPTN0XzvxYZXuPfZdsYTohiDxLYKA/gaVL8gokOeGIedJeQSxb01bvqp
Xxq3fO/Gxq4/V8xh6rqKei5O0GdL91z5Sie2zpedzqfid7so6M6OOxfBbmwH9zUb8vDc93zNjJl9
cmIGDLV6trKAeINj/ppsK5IkN4ZiX2izCfdyDQCDKpZpv+1gMiChdf1L6XnZyYPJxfxsUNm2AZi1
HVa9AAouzrAswWmpRcV4LrrSi8fCbc24n0cadHqZVWZKJN7lYs4D782eN3gt1loX2Cp1YPcXWWp1
Fxhz1gO8ZB+tm0xeVlmwbFqNKvpJ/VKfbPm8/oj4F9yUts9th5SP4Irfwtm7G3rmoztWRzwg8qqx
j+zT5XbLeOFFPxY6LBzOSWOjLRYpkNHbW3g296MVnIrWbi5Nnk0JtDvmnCDAWzgpjDlxv4z4Tgns
ELjJ3SVZuuVu0HO/C8uAb4mfuNo8leWjNa08pRd8OLb//YvTob8XQpucYXW4lDdBJBaaqXjW9sx7
ofVqdX11DSvD2i2yZIlMkWritaO+WrLLEtF3kjogvvTmOKu06trux+RYI1GvKPpabLpB+8LOCTkY
SDvmmCU6FGaae8zg3VaDhezXPnbHob/JFjCVLJabF3yAWdqHiwJNyE8AQTN2oZDOEdb5dvbn6Bux
aaldpJroaLNc2IdtAbrSpGIKMdvYRd0izkb4qPx1PxM20EPnJnhZzBtvaqN7xndv42EQ5bu2g/4X
CjJiCZPT/BkqjFWJtQwFgI7AC38FkrdvBpf9xiibLyBnSbGHL5Hoy7GgZ2Te1JNh4cNJQ6kEuYhK
PteMmrd4wSo+6tx8YokP6WZkOf0+uZV9/DZtEN3oiqvhMf3EnTlUD3ozurNVEEn9b1/72fGgGQYo
6/zv76uyATtQEUy/xl3+6L+O1+j2W1iDH/qHCPdLdPpPIK+/qVz/vH//9e/7m+Y0iTUn0/GrfF3s
2N4NV+uxvtmS9pbn50ue/qf7/r/LJv/66v4uajhWPqnpV6bo68GEooJp17v/yS/8b+yCb03hL6/p
76V6eWiIRnlfBkMWnNAi6R79szoAeEz4sHRUtFPie/h/2Kn+61br395L928qZStLV/vbL/OwJpnY
zQ1ou/Ulz5MoIaWDE2ZDHg3rBMXrnzLK/5fu/weLn798gb7NnP9itzyosv39L+L9P37gn+q9EfwX
SzeQf7DUoGqx3UfC/V/yveX9lwMa/pv1D/Xk/0j39n/5ASYHEzMm4jps2P8t3QfsAuimQPNGlMOi
iYL535Du/03dgzsFlwQQDn8aC+q/rbWcunXgSrdXL0NLZpPVBP9BWfu3z+Lf/oJvPfYvinnusboy
gu46euveogN0sC5+axwhXu//8ob/X7Tk737fv2t4f/u7vl/sX/4urs5FiQdqR6nCwCNqQ77OQSz6
VV5eiyos8z1qCYssuY1PYWiAZS2r8iSm3nkpx4rrcVv130Y8g4gjRG661Ntk9ef1rm4cAtYesNva
H+Uct7ZZH7+rRl+KvlqO7ibsXRNm27OfSftOSIbikhVosro2kdJS6GOOf+2qp6Jf0BbGMXFqz0wX
hwFimLyGcLoAND8LN0t6UxpHZgEvDnPRuMfG24obVZXTUz74kLvX3t8N1coIxn61f7W5wkChAM2D
uNyE1waTWHai5RYSaN17f8yq1ZAYc3ukWJfE65YwXDlHvG1dkWR8AG8a0eB2Lbw1NoO5enWVcNCB
uL5GyqrvAqvoPzJAkSBbHXMZdrSzexBOK1+fC9/Ldg0m1Wfhi2onPR9GrVnp/BEM+sZCZGucMvF5
aZfBljOFw03xahirpihZeLsI6StPmPmaL2c0mmuLANvHVbh4t5RMDe9tFVK2TiYVxK8KcIHxJYqL
0giwy3UsJ7Zqu7UDtrANnYl7uAj9IXJN+WZ5gx07OgrO3D6285wX+SXrA6DVXb6yRS2ZWM5wVZ1L
2HXVa7F4iqilvZmnAqnu94K6dNjwLvOrIPU32SV1k8ryPrDsjo9zoHhet9RE7jUxrw8GbPm+KK+9
NWUXPtqDaSeeqNadnTdcxLe2rX4WsN1v1slCH5vU8ImQBh+5K0RDy3rrIT/hG77pCXte+JaMz+Hs
emnjizbxhwnUDTi6pDKN8EdVDN7V5wJ10+KR3llzW+wbA48tVQnloaqWLyyvxt3a2WCHKZfBlgtW
n89zf0Um7h+GXC5H6tzmn/UwumfTqQjxz5g41zUvLytk4TQfXT8V2vV3/cR1fva9+RdtTnJf4s26
BYbicPERv4Vnlc9ZY3S7GpHurnAkvcK4HfeTmYMRV/X7bKxnLsaXfGnnPRc9h9xnUf/S7dYccWWK
vSMLvIxlZKRdNmaXKQPEl1u1f546t4Axma98OBYdoHx8y52/w7Hc7gCG4/yqJ71dStTonckt5CLr
eXnts3k56QX+eIzFCW2aJcLRLmq5H9y8fRKO4dUHcl/K/460hjeuJWsutfZMifY6VQG7GUevZByX
+VaozPtjKEc9tNw3zq1d9K9YSLnWNYu8WxltyW6tFRngHJQrGYmT0RrBTjWueceKvvko9cQBNMNh
RmxoBq6JZuam1pTziXC0kHfKnSMmVCnCfS7ajuvQYDknD1UdH2M4GzuGrwx7q9fyrph2K07ZSMfs
NBbFQ+9vuIbVjGQ8S+EmhiimJQ2EEVW7aLCI4Q9exiGknSJuI0GgHoPxb7ruqN9sXQtgP0akNtai
se57ETbwmMEQmjss2eHFKnv4574g7z2O1fhDmbV7do1tfaoYZBOpDGTszXLz73cA4yHRmfFtLdf6
UJsVyFOSii/L2kxpHkzbm11ba4qi15xbXW6XsdvC1Bh8enhHjJFnBzfDzpFRf4cLklrmoiQN7fMK
urBix9Mho8rMdihvGKIL9DHnh+ahyULjm8S9yGZvzn6YutB99lWk9Z3v5gVcf5URobX0qUNUOThb
6CFTFyINMEzsDf8boY1j9cE1Ikm02O/pSJ/WO6uahmdM8tNlCDrjhmQ0S+SxIkL/fXbG/lYUJ11N
9rVwRHGEO07SffTkg2tLh0QkV+mr6kx9xeoRpQG0ln1k1/OnEW0Ef7kzPPhtk5WxV4Az5qPov0z5
NqZhP4vzViz+tcAU4iXdymHFFSv3m9Q0C4CGAz5KtazeE5OCc8k1/l5ek9aPq7XZR10pc9fC24U0
jedzHOGHk8l3SMqqfv1YjI4O+DKsbKoR8IofLK8hgb3xBbwAR54+22iOdp6u0E5J5qBQ10b9UKpC
oZeU3UVvUp42swXwMdRksqNBfItNRvOIbNySM68bI+6DTeRxIaN13LlTYJB8xQlaJbzT+jHCFQpa
OZuaJtWOnZ8W9gg/+yFs6HNYRfOttkXruxE4050Em3zQ2ggOGHD4njpWa0axDMzlppnI9pVmIM5F
OLkZ1UvbfJ0ck0ITvwDYvgu9wf9jczWE7E+rz2c1QyUJGgt0BkLxTyer5JeekXKRQ80bt6xn9EL6
UW42LlysQrLgIhpH3+VRgOFRfbd92KZsP7aabGRcDP5EJUGVrzcYbsNPR/ak7zVLtznNrGx9YUrr
jpmpWi51eZvC+3TOo+6t+1HljpsE2Wo9TcZm0wkix5sJ3/LFrRdaFebaEjekQBqcunQtUWKSZxzs
RXdXzpF8XEmCXDnsl5e8ClCXinAez/kwUpq3Rr74qoTjnbxczCJdu2F6zMKwAhTZ5e2D5EJzX+kw
e+miCoYG/9jqbLldMCZeMC4X1+/Ld+n4VRVXrgnMw+V3ZjfFjHhWtMFB97N5A70B33m0gSBg5PlN
08P6ZNHdcjuIJnJitc3ZZcuV+mQPhA/QD4c7SF1uSumGdTR5nKdTpWQ6+jN/DHu0GGqcvzfmQByN
cNC3YWHTSd+X1AgibKbugnedZcqUjCwVDvNk8Wupaiu4kcLsnFiPfiB2BtbGuC5957FfyZLttlWR
0NfGsvJU5ZSqE7t2t8u6WGy6ho6MGcGZ9rYaKue0LuF46L0gvBbGyuNKjZD/hzBAtcDfdeGU5b+R
tXk1VzvaI0fhmcYOCeSJZ1TR+vMp22qjSeh7z8+D5kY+LbgShdH44MdCM3H6Ur6z41nTjq3YXTS1
QepQKXS2RiPfi3wQ71rk/gP5N/MgZnYJeSZgHNC0egnXqKegwdn4YRoFz6s36dRAiHTZtrXeYcjN
7rVxoVRsvTXpg916RrFrBtXyhJm2ka/UPLuvLI6Ap0fZZCJ4F5uMMxdmWOi14iMYw/DkjIt9mLQI
nyhACM4Ttki2qAGOMzeag2M7WsPDxFb1tmnG5pz75tClZSP9Q+kZ1Veb62IXtK5xROoveDvy+uBo
Ci7zcVqTyhvGNBIbBeV8h9LKzKMzkLvuUlXaoqKY5bbcco7vzSOggXGObd6k+uWWKXC7Rn6RY5MN
7MS3h2hvlrWdUq9QnmeTqZvu0/pH8Y8uDQFSAaD+dmezhUt4s8w7XKtl6rt6eJijdUBFNtpzINzw
MrOcfXGGwd6PpoAknQXmkxmuLou5Qb9pI5PwQzpruzWWwt4tfE0OMvRUwmLVfjPnrbi6az51iRMN
xmckUPS9jDkzDjZG93iLRsLxMoRtFzrewaZB4OCT3m2pAVpXsYsotdlv1pr/sKdMcy+Q4TfHw0Gz
ZuLbnh2jHdLas1BitZf7P2Xfsn0ujQoWylqM4W/6gbpkHslr+Dm2Xq+VxnvGgLKXhjKeF6PQj1s7
FyJ2+tE4DDXO9Qmg8b3JepqxO1xvXEmViet/U1TIqd4Eo+rqOMCJXgMDDMIHgk7NmUF0uxaEK24D
87umhCwOfSHd4JyzctrSoSmgF0QTzQQ+amjumuUH2boBzbNqF1qQBv+qy1yXaVFE66+tWcoSMMrU
1/tx7uRJ8Ww/LUHeX415XN9bqfOk0tKOGxHh3bQifUMPrXc/Qy1BVLU6+YHiaqR5Q8iGCqDxIcpZ
bdIaUlAsaqx8xU2KQwlbcWMIWD3OBLbitlHjTo2D2HmqGo/I6+Vv1Tv8akdf7bWvhyl2pMq/BrSz
nnLMwkWVyWkIkuaysMjcKJ23g0qf8FTad4W9PERNVTWpLMZy79sd8qAvYP00oEeEpjaKS8U6G3dk
KSVBet8/FO6Y7QqCgS91NGKIM83hD59eUx2hp0gVs7iUtHCMTmclziDypylgzMlUFe4sjekADMg/
kvhDxDg72N4ui3pUVmbQ7d0iJTTve/TLi6doidiZdR68tHY5/6IMkIMcnVi/mWVruLHJNHoH5Zs6
GYym076JCmsfVmvgEnkL21+BGknKFXokphXW4/TiZ5l5Q6fO8qx4NN33JJ/3DOL+D6PI+bByGWWF
RJxotzkZ1YGW/KYQGbN1EUSkHrPRjz5ksLlHiQP5MIDt+oqM0O6TIGi/n/p5/xDkRoW+WdRXIepM
JFWo8hvp6zl1DV/fNgiAiSohuOShGn5jiGxut+Y7BNXXf8Q6rDhm7GXnb9R5rLNuif/BqKlbACG+
ObXfTgACTvU6OImx4mqQY2OdvGhbqCCDnRFH24eIevy3hKpSty5ZU5Q2ffS+jz3RdG+X0nkHaFsx
XASlw/NXlvNvSsrV0fL774yyabbqbLFITII+E2zce5R29GFa3JzG8t4GWxEUBf2hvibuhg92E1CB
oyVMGRKROU+TzkfzYy6e0f5viI93X1qq8lpjvmLz28830arNx8FhqUf+vPFf7dmMrjU3aqZJsyf0
E4pr/328JFPjeSJm3BJ345BVJ0r6Jp+esCHgzbErM5FSYayLjM5OR2GuX/NglCmb+uheCI5wVvBe
hSGj7qKjG0g9XrexniW3gIzr/5RRhjSMBnevtYpODi4Pvo9h9NgNppGWRNASFtEZ9SpGx690KL8M
mmdf5VJmB5slZhU3M3/EIqR9sL2p3/EL2na2tRrJSBNTSu4Uo1REvGUsZu89sDvvlnGwG2MpewRL
pXRHaWWjNJnTgW2JWwTBUfKs/cxbh1yOGvv1s82/z2F3Y2hiDzPhx+ID1zwuw0aIK2I6nX6IjhTl
wSQhp07ZTHYxrhYYO+ns9lZ4XIyylxTGFa1137DU+d223JXl1hThRzB4bLxC90/eNNzvlvwKfK2h
nLXCdONjcxlHtzqz8v9qWfIcMnwpjNd5lXpD+TH75tvstb9X7R43Y/u5dCT2fXbd03CXb/MfgzSZ
5M5ueNNhsNobZpPnCpXsHzHMcOFKumZNTDXA45xZB6nMFDTowWsZr5QnfsiZu1gjtvm4CowEVsDu
qWa/LUpOGENvv1xfb0kRbkWqxoYLnBV8UG8m08DXV39R5z7znxuRV9dMyT6WFQ4o01763co156Yk
ysI11TxsLAPZbs9cIbJ1jR2unJfWi3o+YebvxqlYh/bND0uxHXabotjVayH3NeYxgp/+QiJb/mwN
XvWm7DKJwu1P6XK7cTFwkRPdCGlvpyyyOdwy0q65t+9r8y4oupdgoVKLfdE3Y0db7Vktw1HQDeTR
K9Q4dOlMw65QHMh+9JgzgWY1eo4iNFiqhQ2fu9yqabnpgwjcmt1AbPKX6HbpzXOmoA7NXG+eJ+WX
EKKGn9r1lk/dF3PS9cSozaW75eznCTxq+TRBJUsUu52P1XCLUxAuVsJ3sL3SqsyqF30wXqXHvGlB
xOsIK8dTQdFaPwVOkmNuSGodvlhLwI16aGiSymcyoohpiZVRgNDTT5viDsSLELR1bNcV1Bt2xmnn
e8Ol5C6zH+bI2Plh8ARgiC1y2TMKTItPyLDcnhevYEuq9W5aabm2m2VEUdyIMZcr9udQdueIKkuq
XoM/dlPLM9PUvJ9Ksz2ozIkSLI8QlC1fJFPUP5PE+VRcyA8tj9SEdjci7IF8GpXx2RXDtzdkUKke
Ro7HGoarEOIZFYt2DodxRQ1DR9mV/cuqzB8Woxt0Odc+DREorCFklcWHS5w4VSkCtJSf+C5QDYDl
X1NAZ+loOm9OOb6HIvrZreJisHdGMQE+JlZf7qaylIxCFCsOmfkWwlePLVlgSLbXJ0b+YR8Nm5ei
FnjXtQrbdCtw8nE391mxiAjrxHAbNeUbk4SZTPbgAW4la0v+rj6w9m13RO0jRAqljpg/+mRsFjIO
ufNgSaBUI+Yj8taEQenO6toZp4yIJHc1eu4IsTd76WksT7h8X23LVBemJpEUIvAvC6iOY7UY99zo
wEgrMe2wIP6sfZePmuurq1EU06mZRcfmdenSddjesczt9BBcsbgkJfPmvhjsl6wdqKigYzgh//w0
D+19MGYoOdHj6rGd5iv9kG3B0XCzl4KoeAFaiN9KuW/ElMfOtL7oyX7UonhzK3kqo+XXonpAgoKG
BNNF714X9vtV9WfueHCq8vj9s9usP8LZwWjhu3dLV531pDBGdNTnGYeRkGu4pia76TiYJIeJuhF6
YvXfPfvdRLPQog9Gkz+2E0d7bh6cQOOntI5eVb9ikSWvXe1Xo6+PXKP3Egha16NVucxifSke5Voe
baoiqwkkRnYr+iUJXFnRNSdBlG1JXvfHNSJj7LpQBkM+kSboGAi57Y91ZQ4uO31ThFHa9J9BgbVJ
gylQhXuRw3TkQXDo7RVdM5h+ZP1mpEAMD5YoITb4vbAefTWdl8w7Oc3KBVIUO8PHp1hl82WCB7kN
3snlYqqDipR3p1/BCjANikgfMo8eu8mnaa2o2ocyw33ZwykLf21FcLHY0saKG3RiKuMnc+TVCyNK
ZavA5DiaXvMNRJ+HehVv2ZQfMrm+Zm0OBtN4zitGFyjybAdw9kAH47BV0vpTjzxNVu+2Uz0csghB
3sQfbZef9RrtQo65gUDwrg37X7SPpZYTvpi1+m0N28++1xHfX+M2rDfeZPW0TFFsd9MNMfD3zsPP
4YLHM5zyQITcikdJYZxByRtNpWkHLK/hBr2xYY89ozNSZesf0ZyHcddl1yjSO2UsaPxWajvNR4Oc
OSI4hEbNJKHoZOXeMtXhR1FF+4DwdOxjTUYr+FgHLAfh9DY69sHyjRcLZzHfQhBzZciMbXUBrlc1
vfDZGqE79SZQxlWQ8I8SC6ToN2+v19MMinv8tCb/NTPIevuZez+6/EDguf6+c5xb9vj3yuVZT3mI
BqOBY8bxmycbar7gJHLCPGWfH+PPS+yC80Tv5jw4qxrh+SxtG+Rffud2kOzwMv7WS+aeLVXce916
l9kZYVLeloMblLwj/u0kjYs3O8cZIAfguPP0vdIwe7oEh1vPbi/bUp57jA5Wpb+fIk/t7KV2sKRh
oB8EwgI+MS5oY3VjbcHzYhdX+NMPJVdpsnwnv7ffMUOwwaIft++r3RYQ1S/KMg4ZHGRWXjoneqGX
blcHIl3geoW6PIoBmibSkPrlb/SPPpTNH3cekzXrD6LCUQB3sOU/l7JOgLSZVA3NARy7IIzx4qQB
lNCsbtAaLI2JZTL3JuThXHR3kP9vlOUnARuNikv9pRf3o98cozVL1wC3nrWzLBZK7tOQbXTBPy9g
PdX4Vq72zjIPQSCvYc9ahTsp50AtKapfTrNbplMZprJX+3VTxym4befumQa6PafMNzgCwwXysv2y
eEAKw+YZzYj72fg/OTuv3biVaE0/EQGGYrptkp1barWidUNYls2cM59+PnqAOXZLsGYfYMM32zCb
ZLFqrfWnjcaB6bfNKuFso5h3IMjeoaH4MZGoKQN71VjGYrgpJKjNinqJ1fFptO1tp8BvVYg50dqb
NjccTYb9wNEyV+oBs1U+BYogX0KHKkU/8GB2GYJ4NWJDaJyx3zkF+2UgKq+W1VXRYVRYdDhznpcU
AZTenp2wvC1Sw0yYiYl6Jy8L01JeqsDeFU2NeE9+6hSxzuIYVgxrwhq3aJX9jp5y8rThomk1xNLQ
C0PiK+35zooxSokLJ4ZcJyUThGVZeESldXBQUS0A9Y1Js2+Cjn+mWU8U59h1kowo9wUzvdw1h/tI
onAxmerhVMpV5xJcIKmf58x2G9unT6mekyl9HQP9ucV0Qk+Sg6T2t/gG7sNMaA62B4fR5GWMMowC
YxVF9+EE92/bInaRoRwk2ISqW3n43sWwx8W3rqHiek4ZhCjdvBq7SxyQJKm4FPJehbGOqNkUyuJ7
wjPEBminLi6PQX0e/PWoRHiZ1sxq7Acp0t/IVnxG/tKRalBs9DhsANuax2BQ7jvNupnG8HFSwTZo
PnCKJU85kQ++hAVKkRz9VnkoqNw1OztSYHvlGD+bHDEZNwvXrfHAwrDHHByOXbfVjLtgZqPQR1cd
0y3eF3jWSLf1/KuH4RrW1V2MdeUIdxjwhM3OOGC1wJzLyo6pH0Qctfldr6dnLFQdQloYqLBDZwrc
Xht/VONQTcAISR+xw1NK6tETrifcLaBfq7zLFc2NnddeUylrNKjLTQKAptY2UCwn4wVP5uCT6lrt
RI2TaZxTzHT5wazp1KdkPWnqepDNZ7lp3galOpVNZqzMur6fZbbicsQCzepCb5x6ZoBgI80YeiJs
QK+0dUEBjQPOumrmXV1MDxnJma3xbM+7mejnEuJtUipOYrzrxG9qVudiP8ExGjgEl7qjTneXMbaL
umdV4tkkhEuXNz3ZJFrzPpCcORO5WoXJDfqLs89ftGr+SEGppugRJoXb+a9tHj4k7QjjPN8GWnxO
esNRi/RNan36dX8dVD64DispHgAMYH57meR/i8rwONvTAabcDWjzphtlNxritUGf1sj2k6x2LhT+
tdKc+ei2iZBo2H1AXuNSWTyLOT7mAaIaRAlneVQY/WnhOTWi22Kui1XcNj+0oTFWegM+HTW4IsdS
Y+GGUj3QwXhyGJ1jWa7Yaoo3hARMEgNKLBAKeEC6dBu2/ntrKg8Y+7iwlYljhjyZWcZTrDPuHLgc
yuI7zEAOeqPuZpNBQyY4JNVVJ6dPWaj90Hr0M9gbipK5naTviyw/Kd1wHzSqJxv9D7+o7gICgs2S
smIYiUOuw3fARdPlZy+uwRG8PiNeN4bxvZvIIDVi68ZmprwRGCmuJpzY1vGoPEpJJq1pi41vi4D+
NjP0bBfnceTxoqKd5uv0663U2z+qqs7cWDVu0MJtZoHxsJ7Oxj2EedQ7iaBpnd8aH653wjAN0ZTi
YSqFCoAu2bfiG6K4GzfLA2o3Pvt0Ln5gDshdT2sdp9gJBq4uU+1ELA8l8uHKjtlrb9uX0FKf5KF9
DOfGKdqGKqe+WKbvxo11icYKoEtkhlPbwVsUi+eezHsdd55xbF/8/EdPpF9sJ7cB458q6w9tP24s
xRicqu+hUz7ZBjuPJu3HaP7VWGw//rzVu+ogldrB5wyaFIXWJaAQpIGgNm/LnKlSpzlMGT1g0R2F
B121PcfPWWi7cU8UOQK9UWY4L4UIqMvGDdvA0RsIxqWEv1+lbut43M+xesNc0DYQu/kkuA+jG6lA
P9KagSstrgRR+t5uStobfF3w7P097scEW+Z0ZzK9lTm+8Ttb2eTdtpnpIMDa1IrsYVh4UFmopi+x
XDRrNSa3Os5idtPcRFbi1ggxMin2dCNbdRNKzHqfW9gHAD8IvG7C4iFvi1UdGEd5fCtG2Kkpn7Sa
YPdNli9FUT79yMaXhMk9pucMRUAtfvTARGrZup2h73J4FrVyKabayTTKWqZg7mj+bPz2B/5ruTiW
MXuwqXutlABFnk3jfZC/q+VZFb81ciyJx6p1bSXArqPExZlc6ENmMkkcJsewMezu1y2zp0o+NHRq
GCk5YdA/Gahm/Z7x8zjiJaYxHn9Lw+eCpyRkQsvhVgt1Y1vFCiotleabwGSY6ruHAiNTbQ8Q2yXt
vkw9qYC+bSu3SGQcdYLJ7K/r8tgXMD31cVUkjxkp53WznlMUejoloVe04Oo1QrcMTVM47RpLXZmV
6vZLvm0/4JDFgVGYpavjnG4gB9RhVIhHUVZbgz2jjky8J0GaYfvkMqbcBFj7er1dxk8hFfiSxwwa
z+N+NYJLqJwy/aiH5Flbk5MA0E616qSpdIeohM7i0iKqibtNV8ZQC2qVk6Px8vZuoJCmEICUa97K
nFdyT86coRES2K9SuAmGb5DyTFtb7iZZX4Uap4KxzvE5bvPXBe8dKkqN/KH1IxcAYKBczPyjHGyt
GAf9hyZ9lGfXFycza7YmkTnpU1RSo9h82aGTdz0bqWcKzrNDXp96IlykmyI9ZPUSFJ6xsG7b6txa
zPXx079VI499SqaxIFMRihIvP/tRSzc6IbpldBMZKLQgSGsQzZXOcuMxd/P60Z8fde2ZWBjZfwub
8AjjAR6LWEkY+eO95Crx0s++2OF36kg8+v1DbTzOfuiWyNgrbJaakCJGP5TSSRo1SoGfpgmbOpDR
L+Tr1pzXYXnq/V+6gGcwJB6bnWPm6B2xQa+qk88YA084p4/u8FVDA0q7KuLTFAgUWhwvyyYyn41I
Bei5rcQ7oz3YVKWT+bd296YV3VrTMs/H76dD3CJh+mfzhE0t30ZGALeePEDlO6f1tuiVdWWR4d31
XhHAL6imGywIMydRq/3YjjvDggQSacy4H2ymbKPQ9i0IYSi9Klm3CtPkrAe4W/gPU8fWFOK0pL1H
oewZzUvTnPrh26TW1Aa4dvt7mFq4MKXNcyD0dT7THaJEreiA2zByy17mI028SJv30HIcJZKWwmcF
pQkEQfbmCC+vqN36GQ5khnWn17xeHT6/umW0ewcXxGlAZUX9q5qb48AHwAa9BSJw53w8zPhfQIRz
NKlcpT3qGlPQA4YHNKeXGpVjBwvQyHO3k6TtMFYMq33UhMRDMSm1pHDXDs3OwLJrEJdFC6RnP+yg
BJdPN2bKqkmk9k6yjbdCGm8TLd0h+gDuly3OINQyZv+UDibYsfGUhr4MSb9h6q/c5DkLrwyg++IV
uTXCBjwNoVM7opojs7yJwAmAuZkeJO4k9ItCMZPr9TGpoXzjeveixjh6U5FpTHdzVf1OJBQdo0zf
QZ8NnpVV7LXz7EGYK60Srruf3rZKS2gP/1KtN1gO1jLMD7E3W/tUWbTAVd7/MOPyQWNEjxBjx6QK
QqJcbmdqCLaZ1ZwJLOPn2TGwh8de6DTI0akNgju7ROSpxGL0oiZ7gf312E+Z4oz624gEIu/1rToX
BJUMW4n2s4No3MRiLZbOQWEmp1LUIE1yfBOsQdLzX7j2HzmpdkEnXVImLL0SZmdDKcdVmNMmmrXO
uRiQM8RJ4Uxp3Z5Rf3JGdOGvXMqLUzmCWiqBvxvm7Emis3QGy7qJh5o6CDe6VY3iAndMEa3w1n8w
M8zk07Bld2BGohJg4NdRsYnT+inrops6Y7LQ2DTPfabskTJSYGnwShiHmg6Mxjt85e6ZX1feGGUv
WaYxSuqYcVhgkLNQ7gZlsV2ECrmKgxQzKfaEuAEXR9xYrWuRp/uGlm81ddUe6mbnaXZxlgNYf5KY
Nrbpv0syUtVc6VRHJUIADYKJz6LB+glt8uUDJpegH5n5oNhxukuGBm3Y7Dt4YP+K6qlgqNrHKFX1
5zFRLvHk36R1eA6n7lssExZllDayApPU+6YiN09tL6XNJ1nBvXjLyJC55NnBDqo9PcK7MnFgZuA0
2xipBxvnhMmoGRRPAq3RPjL0FtpFreZsWoXigah+M/p4qzOjaw2YPQn8xnzTMHb+FosyeqxUP2E+
q3b2ER0VWJNslaesailEDXb9iw235ab3OaOQmIe7SoMjIBjhlU2/ZvL51k1xsdGS+ltcSZ0TDvkZ
A0BHGwaNM1Z/HcPmArpzQChYe77f7RqFqUYD224s5nJlGcMazPQhLVBcRDR5fhehRy0fOmIxEecm
6z5XD1JSbfU02C8+il7fiwO+YBynGWd6egr04Yjwfm37CKYJt2gJdDOahCFtsUDuitMVw2sboKsP
h24r24arEBft5Jn1Rq93Drr+jWivcwve1KN46qJyr8Be69AGoV3MmlVkjluqL28IxwdTABzpGiRb
bTPqWLrV3Q5fQNAXoh2QDR/LnikgrMiVnEyohJvMzSdGinH6iimD1wgF99aEOAkakYF8EEhfr+Dk
e5IHXHI0fCdFQ9M2uWvxUitR/TJRmMAsOOMof8PEChhFk3ZSr92Gk/BAL39UQt7mwn9rrPA+r4yD
mWjbXM8vwWTvCMS77XJoiTmdjDLHTIq1/WgZTmvFGq1x4RWddUP8xIbp2DpmnCWP3wbGvAYMhskK
b+RowQDV702BNhZ59GKMatkUaAZ/NUzu7OanZL/oAQBR3mDKWquXrPA3Zm0RClS9l21+S3HhtYRb
GGl10kZ5zafvaXn8qw7H2yHQXqfcPPSqfhtKzTcFN6xNO8muHwnprEUIPcxY5QQzjxWmpQAQ3Qup
EfdqXqHS1b4HNpJMScG+MjGG8sA0zDKRUWMWAEG2mSxAQ0H0TTogmnGiSWbukedhGLqFYthbeVbM
NaTLDnFZkhZHVG7QuUw5f2wpv7wRbWi7IR7Q/gUnRwldATyFMQQSvLMIx4ZaAZH5JkhCajcOBMrm
cBD5ti2HCRKA38JMmFSj4InpcePVwp52kDeUxzrBR4JeM7A2UzHw5NI+fUx9KKtyXssZUhP6p7bu
1BOVoHW00wo/igpg2Oun0o44dEm3ZyualBupAwjyoWqAJpWJffSbXslWsRZgqFPkSnDGKdVc63mK
f56FlwXenu2tDASpetAvwp/01gkCezX/Van4ta0gUym3lE4mB2irOYlsw8Ua2kDaBWVhOiIvVXdq
hcCyAMzB1HARKPMuPlhhor3NVjbt7VZglgtlQKFti8ab1tARq5ex1Z+ClvcJMQ8JTz2Aw+dAXPfM
u6cdNkrV3ug0SoIuy1ykxMa2EVkjrUwhxF2etvKzHeX1UYIE5Yo21/ZBNIN1W3VvuAl8wr0+AgBP
izXAApDda5j+bIYhkOmEcCsmiL0CLIU+WLlxbo1vBgTvszmb0X6qkrJ0ZJiA34uKWjYqgoRSLoSh
NSb+EmLUNz6ISK0ynDfDinCdTmsu+aCOTAUN/z2Txxnfi9iAVZPhFYIuV1d89NFSr2rbuM+ouSS9
Ly7lXPcPUaxqh7rI63ob2BNUUNJEt4rZ98cETpKXNGp6IQcpn2hPfGA0PYzjRyWZQYfEPO3TsWOW
LzX5eqh75qSFjlg3EnZwJ9dqfcjbfNpkRC6uwbaGyh2M3n7H1KfYG+Q0u1KuB97M73hW+pFJUybj
yRCyb0I/mCBl5dVP4avToURCsPWnsmaYb6bWWUPi7tQpojaO0GY8GZGpw5ELFEex5ubi4/f8kPIO
3SELpdsESv+hZbp2LIjcfs9NM9ii+I82huLTIQewvsJeme9DJdZdAf1uX2C+vJarRvNXVKHSZho0
Ui6kQfywhg562Gz3t1gFZM+CT0FAF4/mfUWOU90V6l1bVRaVRWYesG/r18kQNBEa4yEUDm63Q+SM
ZaxDd7Vw5NAzCvlJi7TRIcjI/IVBDwy4VO5/ZtGgvU2WHGFIZ2TohHWRT16l9K6BtbmbRRjKIEhX
X1sx6QNjNB16UrrgsZU17LthnDcWjhNPckGWUimNOM2kQ7GvYAdfSlg8kOhY0KsQWtNDm0shHhAS
ljRNYj6Bhp58f8I+QRMCAbM8HYdKN9Y1VjsnAQ574bEKRncS0xxRGM3ijGw5iS2jgetU4ycsv3In
OhDdGS+/Q0NmkGMVdbXt/VZ/IqFZuZS00eoqIxTxm9Aa+CFdIu7LTH1uVSjDKyPX27Nmj7VXxm2G
Z0Wv7nRtQnTaNEF6AcIBBckHIsNsE/w2atjcOccGD98HtrmoTJhawNrzoXVEDfW5HGBVIlpFgUM8
JV7XYdAMt500IEKU5GQNsWr+VbDFenmnMC6B3XOMu9xUMGovzDstg/Yz6k3/Fta9ukUjIf/sqrx9
6ELmupaGI0Icd9UllIG4+mGwX4dJti+tXCiuD+7HGN+Qo28Yx/eqN89+vWzCeXOhJIzeVXue9yUt
WdATWJNtZjuZL8ABnHGFb0yrAGuaXcSwLAL170PfKWQVBiAowJZIuW9ROgO1ozbRnwfVDLetH6AF
tmWdyl7zMaCFvX07YdNy1HGBP0ka2GoE/gVHv+1ulFYBGbQg16yLEUQwZMwj9z1hU1lumMe4wHFm
1RH2FK4Y3jJ67cciQ/Ab60Rn1UjQhYJEwIExl3wbkSZfonaUbpUwoKXBRb1cDwEIIY9I7vZ51MBU
7KzxIQgs/VeD1+i2StTi3PtWkMJQE5AlpEkJEU01ueqpPkbFjPiRw7l1HCVPZV1Ue+Ab886O6vGp
UFq/dGmtqp2lTtK90qXTbui12jNsbARclbxBLKyzGaQjIceOwKPqtUC4shn5pl4YjGIHzX7Yp+BB
Ji4pGpxvFqXZPQaVbD75aR49t3B7OSwrmhARpKanjIYXqOnK13t4YlMs+++cXJ2rwdh6SDCOhRFV
T3s1VMstL5RIP0NSL6KaTE9iYTjmwEx9zBNi9Si7L0UZtGu/KaZjHuEPtapUiNCrvOgjDRG6RT5h
TOP2XIdqvDOhC1NrhYPHVs6UQmeqjpNCfBtiu/6FfPda3/o7bFy3DKy0iMTRf6tt/1DCKa3OKFOu
92M3a3s9aPQ18oMa8/yiXn0hu8NE8A8HPgJ3FeTcizukRV2L/9/yU/64VNQi8rBiYz848zrYJoix
HM4ht8eUU3gxdm5YpLDdvwnMOTkf3KPkDWssexwoL8G6I2rgWG2n56+8Y5VPf5fQ2OQ0RcYV9co2
ry9CG6+g5XfxwFc4R7njAZHSBkf+b19dzLhWOS4PAXNhaJ5LGLQwr1SOPuqW1DQlzsXBv6+EVv9I
NL5YXzyFWZTdUpUs7YqBfRqsv20/9dOGsdI+jSQmY0RneklLe6mlgvmejcYdoXyAAEFl2OkPE1Nb
iGt1nLBvRIBI2G69G7q2V+cRGkSJgVNfr7t83MYSdUbXyLccccZG0/yXSvS7pqvhpWhPi359M0ri
Ugi98iB8y2x26c9sHn/QPKvPidGKXZqCOscyUrK5AxEKcEKpmJ9ao7TXmnTT1bmnD8gkJWlGDtY8
GwauXKnin2D3R6+qLHZjsxj6g8Ws7Imv0iLT6Bwik/Qavf1dT7/KgF//XoWfPX8hKwxqsXAT4jpm
K5PrLAhHGPQq2QxVX5V3/Ebhdn0tXkpYUF8sevWzxSVUPAQtBe9JQ71a9H6taBzz4SGCCHNAMUWM
oKqHG9/o4Z/NAtkXE18n7Pr2aHda+4DpWO5OlREx38k7l+0FVmZdKXdBrmckKUTV7Vhz+GR1LN5N
Wc83MjIz14hFsha5Nu7+/bg+qO2X9UrOs2wvlu1YKlytVwY/MJplfj/UOq+YJcABpgmoI2rh9QoN
I0lgyWaIc+AivFkK021MhGDI/yiGulb+JZH17v37R332Dol9UdDMYzalXn9DhjqRd5zoe8hkGP/r
8jQ6xENJ6wjGG619KYqnf1/wWvu8PAQTV2nDxI9ZfAhB83ED0ptK349adNf4xZuuhMoX6udP9uG/
LrGsoz82R10fQI8LsqJSiEP9iSpzVefii4t8sEz8fSP6EoDGV29o6tXb1FWDFILZ2Ge/mBick8Pw
mG3aVeeKdX4TPFQ7OEn76vnfD++3Mfv/OK/+330f3sz/u+iV2HrCLKWvNWNftyhYlS55BaV8zSq8
meq4d0QQ3VtDvLVQQiLcCB7/ffVPn+sfF1/+/x/PlbJeiWLJ2EsYbnX5ZUof1fqLG1zOh+v7s9hi
NUXReazXRyjW5xKxQQRqKE9JdUkaAkbpDhR5pYAh/ve7sfAklTmp+HevTTzVyu8pFXDUDB4s/10v
NhnEhX9f4tMvniMKof8SkKfoV2tk6pR4FKW5V+/Cs3iqOA5tR9vYsHpxyo2+9vX/5Gu2dVvTVFaf
jQPq1fXyQQsU4jkPyr3xam2WSkBy8gNWT5wqjTu4i7sr6A7I4Rc3uhiFXL23vy58tS7RKSmNb4dI
qVdE2S42vYurbLGJNvk2fUqAtNLVYlifuYwev/gSP1kztqGaFF2ybCkIMv9eloJuRlK0+MCIgBi5
klDV46gH8xGBmkCCg1nUm4zvz1dJ3R/umA1MxaHKwv+ZrezKwyFF6hTQFB50uxjOko0yKxgt+e3f
z/XjYzVtdmZ2eE4ODS/0v29NC5takVpzz+HUr40GlWFXjGPqtAXZeanRNAXMfgV20YTz1b8v/bGU
U3Vcr+kTdB4tERVXj3UY2xbrL+Wg1sPg6Y0x77quIo4YpeezmrfqN7QMXUkTZUOnq41Kd7omL9fl
QPE75Ll9/8Xv+bD7/P49lsoInypaXH+vIdlllGXtYTHHgboOkk4GbeTZRKQqzpBhToTLl9u9zV+8
6A/vgOvS+ZGyZmAowuv++x1YtPy2H2uHfmyXQHMZ/8UuC066HMjb2pqM0q3qPttiTd9+8QrUJXfy
r69qubSwsXrneCHE4Mowp0BI9HuLal08KSN37c9Owx6CmdXwEoBcrjCqOCXrcj//ZJL3X7uZ5eL6
kinAJqmywv6+79jMuszi/RcZlgIF4F6K6PHx3y9VvTYPAZH6/dUCG5uWpV6XdKFetKY6ygebdgeV
3miy3xsCLaPte2BS7bZLzWo3dAptDCP5FfE/LTQGP3D7Uio3QzHW7iQHplMqjXoXJ/p4QBRXrKuQ
gq8qVO2RrDAYwCU6768W5Ke/nehOtnblk6AMJTXAdE0dO7EKmbWtx3cF3Jz7xFRTjzMhd8zZaMBK
MgZM0GicPgWEGKRm/uIhfrJAddnQcJ0nZUX9sOmrSjlNbacdGOZZBJvplOBqJwm8jxr5gCMmE78J
CHUrsszY//v9aR8OHN6fZjCIFIpFK6BerVCpNKdOY2wHaTnfohJ/mbFDPNkViWR6JW6ETesLzAVq
jqGpllNSJthqrsbJ+hUiyVsNqUYLG47mpjQylEFkw9G57EI/frQ1rChwsckdrSfzXMtDUA7x7DOA
xaIUwLHRXoN2GT4IsLkmLIDOfUzF6EogWsw5VmECUNWsEDczbFz/+85/NzdX3yZ3Tu+JtxDb/3W+
TJbmDQFa+gFdL/Rr4uYwm5S7Ox6RuQ7N3t8wKcpg8Ef8/jqV3L5tygHitqlup3o2vG6BFaEGw/Xy
a/NGCRd317D7z7Xw7xf0Pz9zWTx/1Gx6rsiRgY1oUvlHIQDUJXLHK9v64nHoy27wr8dxtRCGTEv9
TtcOptRBcI5uBlSWG041uPwktKd29EtDL4+kSX2eQpl3XmbwwervVdW1q1rPixUO5C60m2cYBG+M
895UHIAlq770kYKgV22eKD4fIqgsoCYQrrHUgH8oHv3J6t/NPjJc2da+a4HWOIjW0UKqytq3/J26
AMD2GN6MabghMQ6XXRPNqhL8kkr0/Pn8bGDGiUUixJoif0GGdobLcYxs+nnGUE6BDMGZSgR+1jyz
ehPxEhZoLzDYab7opz+Wi7wsMiUYHcGBpyy92nJVYptxxDOQvOcMNOI07xG+TNCsy6B2MSA5NrW+
am0rcJQixBx1yse1OicVvsfZkmqdxMZ/PwT++kXL9//H8pkbLFBjzTwYDOVqRPVJKe0M6du/v6VP
1o5JO0xDTAO67PR/X0QtqnnMFfvQJPiqwI3RoTVP9he75GcP12STVDhLbUrx30fRH7cSaEGvJHV4
XEZTipu6dkntwFSATDFymzBwdv59V59sy39dT/37rjIfl8CQDM+oE242jM+pDNHPUF0b4ALl4QZ9
9fHfV/xgxcVpyt3JBhp5vPat69SAjhG1ZTOF124ZH2sv8AYJOXf1hvHIKMheyNfZpvTiMfN6g5O2
ctIDbCy9x+F0ZbxA4oBbcAzXi+lg7+EBeCq/9vz/uE+Y+HCYuAGpiqC8/PuplFi0arKhHEcVvRK6
0xl3LVxp7KMtuhTpRGNt4y4wv3gyH1cYJ6NJXou6gI2MH/6+ag5ZIDJFcoTLs7LSQ2J62MZ+0QN9
dY2rnbYlTVkMmnZk8mFtIT7H7FxTvc3VXtr++z1/eiWCzWx5qc4+tB4kslaxOvMMSxEeQ8rzvTyG
/hPfqPTFGv7QWqk8NxaTSunLw7vOHYtaeYwIwzwqKhdK4XJ32RZJuidL0kGR5N1/vy9SQmSLOpt0
ww/LtzZ8AGwMm9tmo464/Atj1ybR/+I9IaCj2gRD1T54bAZxFeVgTEc4+j24UmtC58s65HGhuvn3
/SgfK8Ql9o6gsyUlxxTXjy+rbUkZSvWYijTAsTnRzbsBBfm+ghR0kMx2OMuodNYMn+WVWgFr2hH2
wzbE/S9WzMdhFS8S10KmAioPmDb56gPAOSzvF0uf3moOUF81t9Ta9ja09WKNnANab2Yb90Zodft2
aAocyWQSljPwxnHokS6IhvhlX6RuJ882s+3yf3H2EQetGYRd8TNVhE5//0KtCWFHjOMRvfBGoa9D
J7XBqW0z3pBc6xZfPZCPrRWXY/iz2DyyYV7PriswcfYpCtOm1bYmXsPfpDKIXhFvKNCjYXJ8l9ow
PekiHm/mfigfU2JZ0y+W4idFpIErMsMLYlD487q3REYg/CHgXPeqp1fcXKA+EOXEuVR7wdkh71Ks
a+7+qwCnTzYQwCOeMgvC/NhXarMeWIBzJyMl5BhnjVo1dgHxxl8s/092D0XQHQlDYZAgX8+WrRgy
jt4rbFE+3DhJkbPXRtWCkw1Boab0L6UjjunjbrQEjGpO7KNhJNYOPe18NmsRvDESEc5UgJEPJdy2
noyLZNU2EBa+eBGfPRBWAi9cMXBKuh7mGNaoNokenLAm+QECXOO36JcetBf7i2eyuIte1cmwG/64
kvr3Ms9FY+UQt45WEBJmooocAqear0oqZajzCuZ8We2v/ai/7bvQnTLkPOPQnQl6OWlY9ji93dzn
AmuQMSabEehjWKtmN65mwkSaBAl6J0hvT7Hoc3O7PedVt9EwGSMQpVqnkb3PR+0ZXSiGASUfOXHg
pYLXXyD4w2jSN1/gv50Pb2HYnOH1bfG4xzzPUh5YRziizWhBQjLMTaXb5mF/BqN8qELpplzi37EL
Y5OzfYZ9SLRWc6uuVKiMHvYx6DzwRULjYW7VYtybozH+7GgRvEkob8B05SZZFOph0L2PZG94nYko
slCGnQjT2TVVNVj7ZXDKzPoirBh/s2wt1xIeI7QcHuDcV93MFy/pqkgxe/JhSss8CmxgnmC+8rSx
yXwwMEn6ojBZ5qJ/t00GHSRHHagIPrDXuUt5FRbdXIanSMdIJijySzkGL//+DK3PLqEQrwROQb1w
3aLnlmzY4HSnTrElCacWdBzzIIXrQomSO6Z1SBDHXm+/d6WExu2Lay9t3/X9MSLR6WVkbHM/FN1V
YCaEXJ+Yzux0s4USScxnSdg6WL6R/MDpEucSeW3Dq7OlZu3XnRcl9SpGSANzdYWOGB/3ydGHE1Xh
ejCHrVa/Ut6v1HHYWvKFnJ5tm2JB1UJwF5hzadh9TXiCNEjX+cIKpUGiLN2jJUoQP8zSRpY6snTC
H4FYpD6Tfsr84tj3kDDK7ClY4uDFOFykJdI1rddzbBxT8ueYUcCqnh1zMk/hIkdregdi1IWdjcAL
ZBGj5QQYg2NsEB0zE5YkQurimGfIjOaW8SR/XWEiMcUkZuNsKuNMKEFuvxvy72I+D0Ks7fzn0HX7
AKuXpB9XBjB0RRjIStf5qCvtJ1EJt3aBx2o+H6XACridYfpie1rauQ+vyzJ1g+XCf9dDjTLCBxIL
QkQVyVFWiw0ws+enyKa0ryKXP72STRAi+RP8ox8m24scbjRj7MAWa4JAje4D3Hu8eNJJIo7S8ouU
6c8+Ak5YwXG01LPX1UVe0F3MQ3pC/J9ebNOQXs1w5FAy0sD+ZtvB8Ii8wn6xIG9+BRR+suNTBZKg
zcFi8hFeTUbGRjZiBNwnS4ZaPeP437/lceX9+0P79CI0OIgTAAmx5OXF/tHcRrmpDkManxSjItiI
KKjuuwxCwUgco87/RQWNNxIu9UJl7/owGW4TnxCTMSRoQF21iOSk4K6NvpqFLAfh1VI04DYz06QT
gE5zfUdSXNTzZB7VO9CHtbJFhEGu5f8fgvTJbMD462JXpzKVmakMWB5bMxeL1DPJIV7czpsgg5pq
iX1ghzhwdo+RSu8zqGcj0G67GaXbf3+LGJbDDlg2alzL/36LoCpFjrb8NETLTjNssziAsvlVm2V8
1pcwszU0eDMwdYzrZ4vXE8FgBhpwtPZxnUVOGsnbkLSpoLjB+RSilNt2m0A+1dKen+pEdrUiYwtZ
EvZt0f1ABcC8bCMn7+lwHp7yF9+GOPZoM0Fo6//D3pk0N45cW/ivOLxHB+Zh8TYkwXmSqKlqg1Cp
JACJOTEkgF//Prb9ntvuDnd47170pkpFkURm3rz3nO+cZu15xOOC1K5hR/fp132VUGMR/Y7vkm3Y
zl5bD9KqyFa9do3G5yR7J/Cmcs+gSRcaXpBJTajanWWKYyGw+dQF3pRN1r5o3Eqidh2LpTMBjpDR
dRjIXUq1RZ8Pu2ROwqGmZ9Z/6ClpIjWElKwKY7989jjR8XpqSEu7tZE9jNbFSl57Y6U6sN1hv2Go
RvHlq9CqVn7/NFdhnTJLXGUbR66aB7ff5tl2sj/HcRU4a99LlqCJw+wrgJCYcrVbyuxFlj9oGCbW
yW1OeqIv1UfSX1WPzWJdBqz7iyM2vniIIK04pM2d+L9nrMGx8RtMwzYzQv8hcnE1bZyTLZ7N4aBp
bz6WCXVO0hC6USHXsbPxkkUFXce8Y/yWpb6uyN8CF0gJuE90yB2hNB4q+Bjpzsv3cwafC89td2zs
qzafymrTujsnO1jqQUVPotyXE8Khfgn7YBxWES5UoRNyuMjfA508kg/gFlO3z/B1p6Bn1w6I1ujo
l7seIllzcbzXbqb5vnDdvV2gcL+2PkJsUrv2AdghICbTWj6Z9qI/GOMyyW8esFmwO+2+6qAYbo36
JulIOZcJRR9mfTessA/G4Lw2eEccb032GwxMLQeKurczpHULF/mV/T0GNJstS/Xlwt3pdr1+ctq9
m3CPXSLAJW4JjdcYPEXmGy6JKdv5MGMhertwrNpQ994iuQ5eCRaZ5ous1lm8KsfN7F/SBo4uVChl
LSotrIIlIl1+1DAWnroJgpOqYkW6G5CUEHhNmlrrJP5ADofuEq0iXf9aZ1AHLe2bIXK8uvUwwDaq
rn3HIzFWt1zmEiPyPC2YiPi7ynG2kEDf+rlZl6Bc2rzeYvvBD/s1eYxtYAQMNYwJQoLWaLuOrSGR
5Z4Ta5+X3bELlqVH5pxh7yR6ZpGhGQVHB14SFzKPe/6i++U66s/YybL89ityj+i2Fv/TPF0B662o
h1rPCLX+W1Xl6wBied4u52aLJLvpf0S4d4i10maHRXcd5I7FLfNjrF9q/To5h3E829OjUR/lGLIo
YmsZ4GnGg11eivgQOLAkdkr7YdVI6RgUB9u0fMLlG8WvRXNQxg6QE532Qn6p4RHhNrtHOeDYFbu4
WEf62bbDPNAWVGFm86TBPRgYJkW6gLJO8GF0yIKTVkL7kdmitwGMz1CR5+/FCK30KUlYcutpODr4
B/2BYbkJrImKkg7jMsJ6605wWp3vIHGD8ur6zwrAYNW/Jc5TT3nXK+LTU8htIBV0+l3GHJ1p41UO
xeExqJ+lfSvERTRHwtfhal1s7a1gg+mKd0nTFWEiamwZpjit++51VCcInn55nrRXs7iJ7Lmfvnty
3E8+Wthp0dXbonwFi6LHF+RXcBWifGW7zdKd11bFeNkkspPUpnOPCjDATXDq9H1vrmb2FAuU/FKU
R3BNGgJpQXTrfBTpGtYCkNqGW5RSW5AawLDAS5TaEn89vn3MvLAyIJ8ZZ9wgKaZBMNSwJDEzDwJO
+HhAZbTIk7WE60AJjaVcZGWYg2KZfIck1XMCSyzPgwXaCxiP2QpOBrupBZ4ar3evu2soFtmwd3EG
t6OGp1ZuDITWyucmZ+/q9Dagka7AEVTkPkkCj0+xNBd6tRL9tMJcPWi4IxD4a6DEmAnGLDZ02RiS
2+wxGVZ4CEHSI1VnHXffguYZzgV3dzmtgWUuHJ2CnVZBHKFu70NP+7TdTaOvHdzNvO8JDNL05nk7
bz7P9gugQ3wITGmHfldEYZ2vW4MeRdj+kPWnFMjIsYP/kEUoDMwt9iPCUa/cZtODmW6T7FGLQQKv
0mnfjHvVgMqzFwqIoWKt0LsxNpmLlXDDjGnS9i2oD/uo4UJPblq3mjZ6d5yAoXqkYm1xoUHs4ds3
FhOH2Iejdg1IhfisexfTJeHT3xPmSSAlsBS5iauVan7YhjD+5M72R6UkyVx0YFkblv6vTcvM8bnH
k3c0SqpkS5/A8kR++mCPEZiIf1/v/MHt1zWR7aArNAxSL35X79jZNM3ZCdAuxNt4zA+JGqL/MA46
oHnNkNaHgnHXjv7rxKGIAKDmPlfQmqJO9qU6QESzdrZliz/pX/9Bv+ufXun+dn9ThDdqoh+hszyF
xW7cJD/w7EIsGyTK1IkVx5D8Tz7AP/quaB16fHoWQ/h/lU8oz4za1qmAZ2oY2rUudOO7e1J8/Pvv
yaBJ/Pty3LsrkLjGMA343dzGyV2jMNvk1EQUHQPUqYzQwBxXaxQ3R834COx8WbZPwewfFVIO08UG
Xn+0bssKcxdzld/6HgBCItxbLD0qjrkONh1oyJ0P0JitBt8QH5Id2r/62afcZb2Qlxh4n5M2ciBa
w9LQu70O29jJk2ZdNZxHjhFGFRBbSJdqpivQx85OtJhkkiKcS7lNqq1XY/sPTlXwJbNtrF1S/Oru
BqKrhNncNJRMG89ZR1p8QdB1UNqwGuZTYaxjPwSpHA2Y8NI3HfQCGFnoqIgGFxbxMtGVIL5p4GTs
0Ygv52iF0Qqoqp6B6Vlg4HM4K6BU5c1eNpughgi16j+TT4VrNdknZPG4m6KMqGZCgPSQluv52Z1X
FRUeyX+ev6tnLFsrPVpqd0yox/WRrJfgzQqIQdvYoIJxV0lCC1bAX3yxpVoZ++Z0h5IL56c2nXvV
M0xduihnvAgGTvpZVDcd8IAGQuA5hldl8/FaatO+jPPL1P0MhmxjN9rGjl46Wndx8ZhDCY2zH9r4
UWB2Ypq19NJvprZzyp9t8i6AoETQAzv3jeYhbzVJHl3YCM5FlQvHQ/wOiOGiHTkQ7X5Z9JfkvSPI
ZV9aiBHAlG7m7mAlYaBxOO2DV6E/+g7GIr67kEDnBq4ZFFC6gJAK6kWg/AUABTAHU31KgHRQujXi
WpXL0QPjkW4hiC9zq0BZQkm3TildJ1jgb2StTAHso2BcGVa8oHSO/G/cExgwLwFtiH6hK36/IJQ1
TAPrqFnH6rvIHiJq0BwcjvDg2QwwFTaxeHeAOCXGrsSin7UrV24naHB0oTgVlGRI/zVTWjbrntQR
lb7CVJCZDmJ/azfJtTRf+uQyDjsuZkDx3qU41J2+7EvuHQXGDevmkH2nzAp1iEV8Lh1bTpCi4j4x
2GsL46PpjzsruLT3mKOg29RmGZreG52Zs9W9lfMZEhAFV7r0NGtB5sMC2O+SzTc0pL+D1YbH9hao
E9f5ZWF8a8x9L9c2BmgFDAa3+ouYdxrJHaIG9a1xnsF0TMqW7htH79jylWa+s23hgve9E+rlHZw9
v8XZdFFutBxxzhfFVno5SB5wNA9OfBxLyD07ZTy2NZzzI17FdMLTNdGDtK+6/SLuPHHAECC8YYMA
Rqnig8BnNsbrDjlfmbg7adUkG/AUpk0D/AAWQ4ZpETeaec0K4spB/y9qE3xo6sXLpuiXJRC5pCd2
pBT9tdcpggSkgj67ozew17L4IGmcRf46gvwfzfysphSL+3GMd1p/kukm1eO9Mbzm9hXY9epeV0xf
XgZUnfth3Xz59bdYOyUUS5oJeeU29PkyJWl0Emvf2TgpuUvVLoEuQ5OyPg/BsS2cZRLdfOrskVtW
ttB4Z9WpJEdq3GfDqwZZIwOodq0y5EvyJ7zZxAF1kq2ScT8M33r/29DcKvGhk3mT7BXvgAuPo+NB
2wloCLqxneVJdY/wEfHHbsh7mkcINa+z/Jk41K8LVW6MeV17X5bPl5P+VMmt0T6j+KVXT3qMfwvj
LKjK8jb1u1r/Edi7IDrk2tZRIGL6U4u/XXsunn0ZFs7KbY45KmlHrQkKl3JTY/ceFh1u4AIGj8+F
aV/mP9KY7Chga2QpXmfvceYKGHzVwcktD7AXwn6+dHYXNtrr6P6sc4ciKd5G8S1LbcCgx6l+MGCQ
4KRdZmofNDd7oPF/hRbKm3Ec+sO74LXIaYDGVvJTpM5KA+NQOBOPAbk7nVDYQl7SDq9NRbXaLeFK
hx4/mKXxpuJhqcGaoMxeaUGGTrBYDB0QJa0PTZtTrSyWyqrDNqU57H6S/W7GPKzGqmuJzqyvHVEZ
c32WxqYst0NLIoa21WAo0uBdqHNTnwNxdP1bEocWMEj8QxA2Cx/X1XNx/8n8O1allaLEtpvzkGKk
7D7ogm5nJzkC9lqAJwiHOVgbzaVOx30LGM9qnyhn11Wvnb3RWeCLQQj8IhL2r8gKEbDvukQ7giDo
xou0aE2Iah2QcOR4LScPWFF6EzrjGAhKhVp7oFmamkKd7soIDwh302LgCNIf7ZrJI7AZ+eGN33OM
1e2VBNwd20IQ3LKMAvuxM08KflM00PU4Vd6p7zNMu49z3HFVOcOb2XNwwEg72v4uNq6pS7Ynm/tz
7sI1XBtQpjRa73yJz6BH0vFYVt9ssYytlVs/YWwXxar46ctNsdPsLfd4rtoz9KoryElZAm7cpPY1
GrYTN4rkVdyK5mEa13CdaHee7e6te7Q4oLxV2j7ZzjElRVXoRFwHXwKE7EeHB8QGIvnUIXUZFsOn
218ZhSUJEgC+9fdavqIsncyN3xDqQAZwgifxmA5brYGoRuRLxUJdeh2q609o4BxL+0J/ENWzO17s
+uxJiOMXDOQYFXAzYlmHzw5Y7cGY1qPXLvDsKvaolkSttABL8GQaPPIPARDkeHiHhjuQ0RZ7i5wo
W708FNHZkQ96c7XZ7XN3M9gb6oeaPND00Lg3x3vMqscop5dW5G9DtS+qeZfrhB0n4gn7BNRe4i8y
CgMIv654TjrC0+1lBU4xAloHKc6NCZHobk66baB9RC5BxeIdMvci1vY+MMg827EHdyJf0ifyUdDN
2icgeQ6YJ5Moa/vS4rlm4wmg7EISPUTFg+WeDO+REDWy6lP5wF4/xt/glgIBipsDgXkEEhHPcgJd
Es5dt5wf+umQxU8OD2dUH/2aWLlrPT0RDj18KuZC5VWrh2VeE5rdvUmOalqhS1g16YQDNozzK4gC
6GfODYGVTzJ8RdCyPQK1SId1n2MLBi0ziOCBtb1TqXWd5NOQgNCaN6K/zM9WFYVNApA0gRabMZsx
rma+jiEF16dA1mvhv01u6EPElc0asGauXcfqUNcROkH4sQMuYbBQ9GuXOS7+dHa2BWDqqOEIJe3c
2N2R9Vn7bcTHNzD6gV29MKb3Vob0mE0jLLW7hJUFvB0ZAnNDYWNHuXgtpkcFZKxOnmu5MyiZZxSw
AghfZj4UNCSBlZTyeyP3AZFhTf49t0gnxuFXHLP6IQJDG8iP3Ia13xBXVj7UZBwUO18eUhyGJaYT
YtqNl7Z+7QCUNueOYN46rDIK4A0DWPkN8OBCRdcYjmG6Adehk3vvHN1mr9ptZYfFuGFH4Hym7qXZ
tLC7zwGnZ8N6uFpRWICzanyY1KECZ2bxw9R00fggravFNM6a87BvsKIQXRWLW27emuDb1K9dpOXB
rqN168LdYZn4cOznNxms6ul7a7wU2boi8yowaQ0kXKSK5UykXsoyxrVpjO82kezKPfGpYoNQ6qjT
K/ocB8LP6dsxnaaIZ8s1IcoFT16uoPEyOV62xmdAGLS2jm1gaiCry5uXwbHz9hKonXihpPXFOiAL
wSOzcU9tM3Yb+zGaVzOJ7+qZMI2SxiYz+SlkoEMynGyeAjOMn7ti0063jNTuhsvFbpwfgeYwhple
GxaDWLnVEd6XDnpJDwXJ4qzCLhTe0jFO1S0DGnO/QIFYpuDfSR27NdUFbK+NmnaRQd266uJth/qf
DEKPxErKClEioiW/7qnW9rEP0fvqDDfX2HNFILMiLD/c++kCfj56ytWZeE6yrISzT8XVFWd/2lM5
N2pYgrK1tkFz6ozXWF0YVhmsvrTYYwSHxIs6BbMKDbGPWPx0UnKs06dGqCeYHYgJnYMYQA2iOHiK
q/Hd83Hw291MHgwp4nx4jnMIHgPq5cS/NeR1LfIWFII6qGDfR1/z9NEqVtdXramVyVGvI++fActP
gD90iF6zf7VjpNXKWxjQGcSq0Vdy/m5EdPHprBGEtJy1fVaHnTxbtImsq7Sf1PxIgHUAoyvBMZJc
RHS2870/0OJfN+VGBu3ChnE3bjqfB/pHo+9d+tvqEMvQTFZa95xrLy29S8gbLNZXASk0uOrwymB7
xVcISqwK4hgTtS67rWKNGjvVPrraNU6pXDZgg7WZNC7y2+d8F4tHWX4Hk7xB6TzLG2FIQbwa5YOf
HO4rpboqfy24WrfZrkq3fvvDJnAuOxTtZWzfKIkcZ9W9afffgVZVKIjvGpbWU0bpVj7i8bIorccU
qhINEcY1EaVfLwEk3qOahuW9IH+LaUwa5xxgjQN5m/iM+VDmzVtQDF44EMMVFqCt92adQJA2zYq7
W81cwqSzj1tvQ7zED08GjLOVzA9MzHhNYCF/MgQz/mBWS6shcO4SUR2l3r8MTPOgNKeGC3q75+Gj
I5Cd422wzlcErC5RA96fB/alj/soEMD2n7z6H3RUfvvizl039pseTuFFQ2ZZdFTGG6mAiwhqqf23
htR/85r/alu/6Sv9Lq758bPuf+Tpx1+qr790yedfllUZV3/9e6Lz7uf//PrjfwtvNnzCmwPbYmRP
/hQqTTqDf8tuNoxfMNvcvSbcVBmnOzTZykp2yf/81frFY2AM1A8TTGAg5OKH2qq//5Hm/ILSDwOV
byMuRWhDp+w/yW/W7wPhf0ynmXzj+aA36qPUZ0z7O/mCFLKscoqEqW7oLsxzWbD4STv2jlVq64dE
9wYGdvm4Jnix2iRFCZjPIb00vtmjZKdOjabllliBvZmZdgqy+wjNW1m1gdho1kYHvRzPIToxt2vb
NTAb9awLhA3npA6eY21W76bqin3j4DRac5NoadP4WYaEEI5TdhNTRdyGBpc3XrRVyr8O1tbq4pNi
IpoCHW0dm5yEnNvX4IxuupxIfhUhsQeIP5OCVNItu5YVooVp7bCr0/mbSbOuXM/AWSGaGxPTFhXL
Gg773QgZIv/jd7Z6IbJHs7cNZki4kUrCXyNRbNJ4JIXmrnebgULHbXbJLSOCFoNORi4duDbaSkk4
zysEN9wunYFk2Z2UbEebOq0I9nVbCP0hm1VhP0hS66kBlTcHezGbmoIMZJSIV6g9SFZ8HOXQuY8m
iMomXka6tIprLEpLe45nmitr23ay/AAKrbZvKcHG5qcQXgM5xrUIY/pJN0Iz4RRCdaCMN0dA32eY
U6QxegOqlSVXWHZapHemgSDUmaHLwLLsJJcbiEh1fWCgp8O1SjwljQkqdzGgk0gQSSXDojBq0MII
LiOO1CaykewzZZ59Gxy0aidYwlbaR5wb8FEHoFP+PGaA43Nbjgxou2FwKm4Ghedf/El52Zvu4s/Y
lnpZMrkmNHV+EmlBCyazDNbMQi+ynKQ3XoEksDjzDQ0LHTwpkzECoJ0Ppkyy+PALV3bveG+AkxOo
FDQf9mC1xSlTTT3f3DlPM5y83RTBF763iGGbMNxcN7WuyW+DC8MytEXPmR3kvlbc4CqJfCPlZOtL
e3LNXW/G8TZtgVktPC8bvH3TCZFuQQEQqWL6sHho1Jakb1l9GrXHWSauHhaWQYjBNFZNH8L1g3VC
hO1UHQttbq2ftVOYyYdKfHIQnUEjtblLgmR6tPKsJ8vGosV/GhNGuWAEzTzZ5XAiC7KXe5IYfZXW
2KDrKKEBqleSoT/MbCPayFa34AjXrWLkaGneDP8fCBrfuNfFOtTyBF5vA9TzLbGI211YkeUPm2DI
IRPXWkpB73UoiFaW3eseugDPmZgzyNi4yxeMmJtR4cgeZYdoi7sAMzKfUr+sDTKnimkS8FL83BU/
5tqVxhXvJSrPVtMKooasGR69Jblec3dsy6PCWzLAj1XuaqxdWJJSZfOLbCeagoMHYyS0CQ5b8ZU1
jJujuePWXgkkmKqqsp+F6bFk/Am6w6boaeNFpWH8SHt9eIq1hnSbrpkjhulNZ4Azmc1u0zqltnJM
ZbbvmCwwr4jZJbAo8BIH5mFOxHL5FPc5GXRx7w/FwY7NpnsJZNTNYenqXPr1ZiqHq9vbBQx9UH3s
OEbd2Wt4QqV8EoKo2zV27cpe6gQcsVU4YDhC8Su0xxuFW9P7zOgy5sBRyc4rI+uCdoiLaesGgbet
uPkYqzICP3UyVFf6aNRH5gqVKzy6JFYBaLpI9NJ9Y1zswHF2YzIc5oIPZWl2HYHVvTtFGKnHRH/F
3uV8NZ5bjGBF0nY8+roc7BAMB6PhOfUr45UIFGfeknKqbCDCPhIBpH5pHPaJ0xQny53pvg9u08CJ
KtLOik68qmWEUtNJ/utwgUEeL2pyGuzC83SSnYQxq2WaqzFlfpzmo7rxJU20QoJJonBhu243idDz
eukIk62GgJ6UcZmNuGXpx3Yi4b4MpDHkptmRmNOa0VZUOrjRKUAbUGKV40b2EvlTWYR2X1UBgoZm
ZrhZxjNVZ94r1DVdAXe064lipmvcZM2aTvAQbPO4qN1TPMCWIh5AN+0DYU/iyR45JiBqkkdL6HxE
motDuoZYNinRLKgi7Xz4dLIRCGkr3Sw+pJDuOjiXPi9oaSqryZ+pPHUp6FyTl2nxUMPXSm0f/f19
rEkYOTc6N51405pp593SJ6bzyzY6BWd4TgO1qs3YlzUPxWjbh7FzPVoi5tB11Ytr9aYPC8ae+pdB
kqR31aJuLOC/jEFHEBAh5Ru9saLuZM8mcHkjL+M32cC7ZfoeqeIg2JiMXSIARu0tDefYMupNO3jq
4b3BNugqPjzLSQu5BCGjISCa8tjYgzbRyTLw4dGtFNtSd6hIUOIJAmudBUvir+JpP05NV53FWHM0
LnxkSsEyByERE+ZVj6xXu6a5YATgu/ZZjoUWzlxmTjvIhrI+kcU5yvMwAdY89Y7Hnzqp17cnI7dr
6S06S3jPxF6lLXlxBKorbaQZWTSwcwDq8TKh0Wrc2yJDk+lOubNOnyaiV7ED6uq09LaQMq4GTwvi
UNlwao9q6nnezMTo6hOfecTVs81ktQHRR5Yp4MSOlJ4487Dh62ZkvASt0FKQX0QA2twXVQ0zVCuY
tzR6ZNAPCgjFxkfCpkEPatLrJktWZZ8CWk8DTsWVmmrbPU1zwd+N9WA45ZmekHhBMUBW1q8F6H9L
8b9iSv53tfjpPU9/W3r/+tf/Vnvbv3A/vNsHdRt1YMDQ/P9qb80wf0HxeRcmMkZ3YSFwdft78W1S
YfMfyC8XVSEenn8U34b+i4H36FetLzZPH1vrf1B7m7/awP5Re/vYw/jNqPJx3lOGW/a/eFIpYjpm
pO3abkfd2faVMWrMJgSEj8ZLA+AQQV3ojx5Rqm3IGnSrn4WM43KXEladPDBKM73T4CiHkHWnN8fv
KR3J4EEFThmvKPYGTAl3oFXaeFmwl0MmiD6K5whA5VBFxgGOZlK/ZZaWtBdjsMHlLUElBdzx/cZw
sp++Gu/ZB13n3p/pmQ2K7lUMtvnVyZqBtmvextEhntNGpy1E7sY3dgjKYjqJmfvUEakDMK2JXggp
py/RRiVjOuNHO4o2Wo1+NWXgt1XOWMoxqxYxS6xKtR0tU1iMoWtroAk2e4Kk9MgCzL3O67qLqUmV
0X63NaHNdOfI8n0b/WS4q2qMap5OFFlFmhMZQdX1rWq1qnmzCibxS+Gx0TxPrh4P58Iu+uzYRzDt
2O1sGiB+FozGJqptYb325IvP3MljMxEvcy66aOs1nWf9KGqCwbeFE0NnTbI+mI595bjypSJUzzxk
CZK4756ojOk2+HzWDW1il9aZbGAqQ2T34gAJYto7ufFJXdITODzJNpDnfCz0kmO0zpl2LnUj4/Ta
WDNeLrR7rTHDUG49QsvmhWeKTGe4RXPkAwazx63AV1Q6u7kBz3iZLeqIZJ1qmkA9R8tcop2TQ1UO
m9YPoqq6Z9x0lQV32COqqZ/R+sm1NfQZtU8Pc4YeXtEzBKmzVnUo3IgLOKOjECYNPtn62U+rj02U
/5B60/ysW1MVlGufQh8NoqLYW5AqTBazsawtwu7n41w5PMhko5MEbC6mLKNx7xTODM0c1CFMq84x
mQU6LnGUxEeA7R27JlB3lH826kxLg6SUxEhnTXnRCMgUQBOILXhorEAYcE773N8Z5AvOkIAmb8xu
VHZD/dh3gfTWqusjwT0sCJR10lM9oftbCwKdFq2ppuEiU02NZ88nzzCMjNIdvrKYYvnY6wmzOOpM
jSreGBZe1adTK9dkkVaEyZBwqdlGby9cym83fuv9WMI2Zljr5u3R6qc2x7xkpWkSGQxHybLrFELk
sii9eWn5IrH0VePQ79VvXP/NVh93U55AL0XfLqZdXdQTfjHDc6P32KjiaVhxa8wI7agA1yjKVUad
KmPaLTsfwKYXyN6G0kwi2btvD/SkTTvTK3rWPQc8bVNpqwfAAzwgAKijokGiEfuoQikQOPvKZKot
5HBcsD/hO+cdrV8m5jeDSHqLAdNsJfoHKcpVsMnzPMu/Ys9vgrcaeX7+NaS+rl28Kc769exMeXFC
tWNmV83RNIsEqzo1zB9+03TOaYpk3F/yEUvxcy+G3HqyhxHrC8mvwMpXgfCREY9JZYqbRk4KUt9x
cPMjyFOl/0wbs7LJ+6kyMQAnT7GEuRFb0IlBqzVwY6fKOmX1aGgbK9IIrSM5vU4PpXLrfNcPDC1W
s140DmhNzYQwtCIJJ96UhdtuaXgIZjOaNtntYwknwSZoXWrTq08V4V+MrmfG3lSJIu2+tWtut41L
MvuR/U4nES+qmZkunaEwhkdyXyfmZyDr+10mnK49TQEb74VirieOPC5d7aBNdWmQ8dEVNqppCCre
0VI+PYrIYS1eC9ux8ytsvUIweVFtHT8kbT94P5WYhujZTyp6sWYwOv5aN2fT3WaMW+xVWlFTMkfS
SsW7MlR2ZoFQcvdWPYDJFcQPq2VHMzB+c3Qlyw1hTgKMfOL109XLm1EctDsA5ly4SmXfjbn1EAPF
VL/tZRCUNIA/4JDuSHQVGirODEL66JJ4vBxK1TuMCPjqewUTfyZ7Glo7+TS+dbJdfI773LHQx+Rz
O4ml5li1d5kipBjbeihTtu0uNjTkhvM9VPW/JVE33duLkB/+XUl0TuNP+U810f3v/70f6fxC8rnr
4gwKTOR2d1Hk3/qR1DauT2MR2gK2ZdzkdxHj/9VE1i/OHTgR/MrRuttl/r8hSRvTDaw7qMGCB6Bz
af6PaiKL3+w3/Ug4EwFVkY+OMrhXbXjt/rltnTLpT+OmCiN2kuFQiJlSWeoz52jRaI27brm3eVur
9OP+5d6FyG+52yTcpKVtm4MfmoG0hgwqqq7i72Y0CxvGtl7q+ToC6M+2iS3Vm50Q7rOAPG24EpWb
T968XDuBNDMY8YWoj21LCjq5kTXGnd4uM9tB+lMzeGkcZ9A/yyYPmnKt1wTmNRswLimAaWPW0fCK
aIy+p86o5NuYTPeku24Eis8gfpo5jO+a+TZxFmwvPRiWupZ5s0mGvs1ujXRJrPbcfup0fICylmrn
G4l5K6x+0BWGCL9FOSU9sx2WY+opGpFFAXaSMImizpmwZtDT8nQ7x26LMMtpPAJyKUAjYxtkratf
IDqV8sGBfM0OWiP6W0Fx7j8UAG53M81dYB3bXNeQHEYxIdat7jjvDf0BoslGWe8d+EbDLpdp9zBW
U0K4d9UbRD5qToRyqEgDBBpGSrhmzRgm2ju9KL/s0g+A+AcJ83tL1ehrst5jAp6N9ptVOikaF8qt
b5SM+g1PDZtEEDNMWYik6w6x4ydGWOUOsHKpFfe8MM1r0zWp3dnPin4U2opab74oS9rqSBGZze8q
C6jjyDH1i3Krou7e5ptG+gjr2NUn+xkYc0a8xKDfHYxG6fNPeLpWfVixWWphrtC1LIOEWKwXcyok
91dHRWP2Q6f7YCDzj0yvJi0MvGhXk0BRkce9NEh98r0nxpeZwocfxKlYlV3vpO4DQQfs2Ws+U6uv
vkwacAyxSSzsCxF6sSFxfNZxRdCECjyv3lVuw7F9Shy37Q+23nRwxCJZjkgjgX8FOUFjdZeZ5rc0
pos0n4uc0hmSDvES1auo+VgYRo9Fpdyj2Qra33gPgg4hd9RMQfXTNyZXewp0o5Ttuw3eu0UnQRUc
eKFHCJBM30hzJi1eNwqVaxdNlmVGukzXmEO6NtKib7ywsQZTTstgdlzVXTWSNrXof9k7ryXHlSRN
v8q+AGahxV6CoEqtM6tuYFkKWms8/XyomplDgjRiqvt226y7zbr6lDMCITzcf3EfDmMhxnim58b4
A81qvcGTKialM0kGlTHVFFiwqARfq1oiqRWFG3eIHoosloRuhdy0rtxyJ9TalRHpSn0rMqH12hrj
pn4RYiwh61WAbleIx6/nluuuj8a22MiB5sZb/LRbbGZhmnV+Qv/Yz33y3dyLe7xfvcyNoZTThut+
kEkMwUMXmX39kaeZr2y8Cs7mdeHzTa4JT/UB5K6pS9lej5qy+sJ0UYgycvIVytkDctBONZA3rYLW
QhPMp66dYWImKEisZzw5buVBKiCjaTVvkBUOHxKmYm0CfURHHMERmD5YD2qdfEvJa0BVxGJVVkBE
06ouEmrvGSZv99y0bbORmlTv9ooRFhgsaV4h6d8DOQgptzZ9FaHJ7+HD0cHmzocbyZQ6bA01NSjX
YtLkJciPpDPRVNY86b5ShBIpZgpdkT1W9CDuC1dqud/HGpJO0nfZL4OKi78K9OnuTrDbvjMxQeiB
BVOJtm5zI1ATb2Voolx8lDQa1C9+z3tvG49I7a8o73vRqq6yTv3/NzjNhekGlxXu3f/738WDkwbj
y2c6fqbB5+El/vsf+a/ChvgftHYUlAYteouUW7mO/1zisvUfNAXBLqD/QDMP/uz/3OGCyM2PDCL/
llX+SYob1Bv+u63INW7odK0sbRLsmjqLf3ON0zo8usYn1qekKhR/WeOogpyg7NNe97RO53jB+oH6
ooBOTLzJc62odm3Sleq7bgS1Rt065yWV1jgSOmqbGW8CMnyolleGN6ytWFP7H7jbQ5zyyh7fNi7w
RnhX8RQR1nR3Aqhw3FrBs9UaSf7VLSIv31lYOelApHCSUCFKqrULgaqggOiObd2uCk2kZwjiqTTU
a4vn5LfRsITsRoSABvK78YKp0WCN9XCXTXrWdCt0EzuCwcuS/q5oSxqQGGCklk03zlXfUwEwDxRK
qc5RNy/rd/AF+UueB75+FUWpnIH/VYO72JAjrCzSWgQdi8brq6BhoFJ1QxY7gmvGyVatKgw5e6ls
Rdv0RGTTFDcr0QTwqncNrwN8pFpXQaIzkiBU5b1gbhCchrMYBL2EO4BGY3Twu20SJ+VbiOcYKPQB
ql+WuF96+qM0ssDLrSCeao+8qhvswCQTH8Qp2xI3iu5RsB2FDj/Fuo/zK+pQ6WdTqOoPXoXeo+Gb
pBlhm3W5XRu4FsS6D3EVabt0lWgKXZiBovTWSEZc1XXBc6LUpAvspZhttWNl2qJfxPus84brKq10
R3XV8sXL4UcN6ogiMmWD4JN3XPUEUTsEKGxV9beiSBHcHXWTvlCfpTJwo75/6/zQvwsKYfw+mTXc
BF2Z78QBDQ4arxbO0GZc4W9l6UKCq6QrShvDaxQQ+KXQPBiRgBluXJYtYCfZVNVVkOrqt9i1xDuy
EaAmPVJ0mNhggX5fiEH+iwd2Cmrfl0Wgrl1PAjMYHTAc+gMtagngxh+gFqlXfRfi8pUiBfBh5npI
R8AS7svO8D8UPM8BrRcGHox53ndXEsN8MKhm01nhtYooKVvEbuUg3ac0o66boosQxY+T3kP5c0I1
8ghb0eMYgcpY2DgbfsvzSRppnOm99VT4Q7hPqRvsjUwSP3iB4seOsTxORp33RRsxknLNStkIXW5u
6ZL5dzrq/WBSRms7apYBMVKwmiuJMjtIz9BLv9MB6NptnejphyI3dHWEEocEu4J9NDitmnBp++5o
6le52UDNr4qyRJGsD5C6LJU1uqc4TsZ9+5UKZwvmNQpkf2vRO/1GWgA4VW6C1LCFNqp2qmD6V6Pr
IiWBPFi+qbhMgls5UTppgjIrmtN0ruLvDasv3mVjVMvtONJtt4POz36IUlvFE8K/pxHTtt4zr1ga
w9oYsG3ssq9x0itxf6muDNPHY1WqIwvkfCV0Fh3RDBBRP/WV33j8N94LaREkXxnDLrzt3MQb78O+
4sVAKwu/+bGI6XsEie8CUc9N5WZUzN74gnWDLO4GOvTGBlSECLdYhtjrBGNqNWSGVtEhBBpG1TZO
cZJa80HFHl6cmWY4YLl0RZxy0IYngefLCBCxbdsXX1MbdRuDss/vTIO6q23hc2k++EMhwMkNcdyG
IUki1n1r/ciHF1CN5huQUFpi1KJ0KreSkH8a6UhTpcUBpYUImPRA44QA/y677qQht8U08NH2UGRJ
c4CI8BbX9Fj09laVGPJmaHjp2JWbYFDGShQjujMqrlMt+lrmSyeX0t6ipmY5RV121laiHQim2AzL
oJHvgqALMItIhtYTddpAUmCsu0LVPE6EIQ42DcTXBm5L08GhMHvfQAk4dvuVFPM2e5PbkjwIkR0s
0DdC0FPs3ZqUWuVJTCRKW2P4iuAmurRr4BGRHu3cDrpt9NZHYTmumpxjxE7iupV5ZuilUkTZxkzD
1nwYsJyUXmUMCvRNm9fhN9J8xYCsSyobPOsUAZVtG6gBPqlxrDc/itY05L0HbqH5kqIoln+KQyaY
z4YxJtreCHs3ddyuxa+SgvyIoZNAqc6p825C7putukNu10LvMulAVdAfk0phG2Pp1+/Auqjpk+RH
HhyHBFGCWjTJrclBm+gJPSEpvy1r1TLfpKHCNdhU9A4sJJQ1Ec7S4EPFisjDUNIsVGE1+CNoWVky
5F9mY/HgFLx6wOq58jSFc8GDf809nSWvQxcUEPQzPceOx03l4kUfxzyjOQqKwVbFVhhw6cybDpqD
plUObTq3ssNRiYJ7Kyw9izMy1JGwNzuehrh7FiL0TSxGAbCCB2hCJ8Y33bLbNlGqXaEA+YhWiLyP
4quru164L3kXxteSK7QwGhBVpGhoYyZSgqFMKy1hq9RyaX5BvMqSrsVapOFnUjeMX7O27hHwLrzB
x24yp6O9q5MQeQAzFI0adRcrHN/7sqGEaQctBBE0nwJZhnI8up0GmT4OUvZM48cU65ESAYUkUGLs
g8awkyoya45yjp72o+dA9gWHhj40ZyzFMYyNfGlECgDdKXqZnFTiXu6kFgkBLQR9alaWCrEuzRo4
JUU4rtowl2D3ofmM6bLQiMpj2kYj0EU9HPN9Iqte+sLDOM1WsZU01h2ZtlltA2R59M00fQlNTzfJ
XpoiwWO+oAZ4l4iiG94M7Th9yjZpuanDHE4DhfjB1a6BG01GfEbVDEA1DLP6GXaYrfJ+yuLkJjYl
HFpIG7Jm65YAUFZuKBbUh9VQxelW8KVhbQrRVJIYM/hofqSVtFLNNjBMODA+MhKNgg33nvOjq3/C
RVEgLBVl95lA3Y65VBTg3gATxi0V8zSmxysZw5UeVj2UNV7fFlafQmnsojhEUVjG56FeKwr4gq+l
DsAK1niVCjdm0qugI1nKTJ5EIf4uDYpUX7UIfKAIkRkT3Qppm2l1e5r/mbNTxK8B3Sy5d8okma5k
BdVBzHibXn+MkJCMWTxZE10FY989AjwLYwfTNxmbY99SJDZnDNJHNjuo+aWCvyKs/siCjYJQ+oCj
Tp3068KaAGdRG8QQm5uKphc+CH3g8MJOaIKH3AMrBeWdYV/VPLB3fZG5Py25B6Z6kP8//GkK/p+0
SR5YKnU1PRDmCfWUzIsqqbSuklHPycwDunGhNvHOUI3fKQ7JGM2rSH+ota2e23TM0C1zv1jrwjEe
h5t47a89de+VW7HkIW6utf3l33NMeCa/P/450gxdiplAJhhSzwlbtptSQ3wVO8XLIY6Flf4rBK8U
JBQRUj0xySm1LDOMsGMputFOlT8wiwTmvPKFfGFuzwUCXi7C29ZFWVeoex4iZQVEx/nwyGwrDXoL
CHaNCepuprv2k2+Xh3SMyf0zpMNIvM4OI02eX1YhEgmk4Qq9Rviur2Ea/Hk2f+//n/czO7NWpHMf
B796gHjogsrm7xrrAfSXt5KZ5y1MkBofreKpfPadaFV99GvOjXX3Ld0usbfPB7R47Jl4GlCeOx5X
HBUDXSGYZjnkFpq/wCqvL8+cdDJ1qDPRwRcVE6cKxjX9+cGYpNqk0c3RQRfIHr/3TgRt9ip4DG4b
y9bVdfEQrxH92I7Pl+OeC4smOr5kIpWyEzkqK+XyMkZ4T22LYqB+O8a1E+HFdzmKNE3QP0gAFgaj
OwwzWxiZUvC8pbTJFxNXI5rO8X17DQnIrm7arfcsvFyOd7LiJ9loY/oXcv8U9uffq+8xQmggf6Sg
0i30jZoGxpn0YQ7ywjlxzLafBoZXjGQBMKZUQTuTssfhZxMyMRyEqqvouSob6oC0YyM4TUjdQH8Y
/XhpIqeJOp5ISaO6oeCsoSHSN5chrLNBbwKjZCKrdXKn7FCepMdo96v0TvpMNs3u8kROlZaL8WYf
jt2s5cA+Ack2q3yfb3wnwUXcBk57hRzJZunYnVEK/szn4fhmXy6tkzykNF7ZzZW+zfc0OTf+xnsV
98JX76Zlg8NbuQ1fi+v+4fJIT7Y4H/Iw8PTnB/vPLURF6V0GOglfiRJIAjO1L4c4swuOY8z2eDQK
IBEovNo5KoK6iXEnbUW1tfGvF9EZrLaC9LPHDNmtFdxErX2gLqzW39fWpeUzbZyDUVqYR0dBwvQq
YwkenOJP/EiH3jasJ+qpbg+pGTw7+NjLIz89ZSSgRpLEf2oy5/bsq2K6wwNLzSo7kb9oIBpb7UMp
+4W9ccxG+bN0DoPMvuBgBUOKrw0aqVpu40K6M42QKlbuyaTiaKJ62Ub2q83lkZ1bNhydmsaBg6TI
XBgl8dSKlw0jy2GRmsVXpX+9HOD81P0TYLYB9Uz0AyUigDvuLOtFt2CP1wtr/8whxkFmIXAKWUIz
tenPD1YF15EXxy4aAl6Kgk/IaxV92BDIzmQD0vvvfz2io2jTdzyIJozZkKNRQuNhSN6r0t+EqDyk
RfR4Ocx08s6WOocz/A/kHEXj5EJ13TDGojWmFJqgSSjzEJWCIr8SYu1KE3jATggPdE1aYBTZ9nLo
k0VB8ijxvGOlU4rW56p9LUghKrhQSfMAQ0CsbSclOy9bX45y8tVmUWYroxZy0ddDigDYriM+Kusb
schXZuM6QtX8bJtuYUJP9tcUj7oihXpTpUU+rdSD75ZJHt0vgQxdzTtEQ9IaU23N0hw/Vo2N4RuI
n4kYE3eiaPztfHLbGYpJkiwpSBjPr/PCD6oYzFKFuMiklFDik+0tnFDyyTeb1orMLNGYl05Thpqu
ZgqGnSLott5r7xjCPCPvve6+u/txp9z1u+xrsoWWThP6AXPWK+opKgosK6h1lz/r0g+Z/vxwmsF8
W1opUaQffjXjcxUuqCyd//tNHfsO3gTiBP88/Pv7Tm4F3eL4p8xqJ8p3HT2gf2UE/0SYLUzdr4pB
hs1j59FTYLxiOLPwsc5lJYZKUciQVfbYid1W0PVqlOuMoXQb6KJ6c6uCMRqD2DERuCR/fWwz7xYS
lms3oXHtRd5zWY+fl4d5JskEuUn7BzVoMB1zYXppaPo69vkRyAqv0/HNRLnAAmwRWwvS0ycbnaV5
GGh2YCJO52etPrAiwq+VBzWn/RWL0JBMKmm/Lo9pKdQsnfU05PYpt5UQ0n9lNemBcB9346pG+UT8
uBzq5Dg5HpU8e2EbhZqKlcKolMi9NnTK2Ua58mA051RwOnmLGfblgOcWvmZQXaD4SKdw/sLSMmDs
okrAon1K5J+C8n757z9zU8Ocm+iOAKuxRZjm9mDj6rmle3ncoXwY7ZL6vvA+UWVYWvlTpjS71QiC
kZeiQ53kdjsOYoVDneBDwAdqneGOhuONAtQP9MvUv6dqZq1M8bpvNt2AI7LirRaeqWfn8CD8LH/U
zAHcsd7QSYOQLcu/MiNZGuH5afxnhLNptHyNMiCIQjt502O7ejTePQwmoEW/1G/SOnJizel2/8qh
ezitsy3mC0MvpipBffNHkX4By70wrHMTxzmBgvbkQ3lCQ8XOKK2FeNrDcfsISnXrZvrC+j43cYch
Zt+mrv0I0A+1U9f/EMVr2bur06e/XeLUkLj8xalegNbzbPVJlh8OjYbse2Alq6a4CU20mopo4f44
HchxlNlAojSI21whStjiQY/mpdfSzZG+XR7LzGllei9MYUxMHpAbPxXKgx7VRp0RMl+34QtqFm/l
vtpmq2hFb0Z7bNf+rt+KO2XhCXZ6wh5HnRbKwSnR01elwTcNzgxQiNeRL0hWeXwtowZuQc25PMjT
Q/Y42uyDgRvMdbFijB1KpZOZHYCW2yB/qYr7MEQTRVxSVjxd5xMkAuylwvWM6+ps99a+h3t50xR2
3rwr/dOkunp5ROcWBx+O0p8pnamaCpVlFUB2kdZSi706+WW0wHdjd2HizoShzofrCmwY6gLmLEsa
e6kNRY86DhbngSNWxo+qjp+LTt9cHs6ZD8TLcTIan4Akij67cNMq0uOuo8VZSLea7q7roV+P/r07
SLav+juzXPJ6mTbP8QVCv1PmDsQrlp084XQO159WdrpZ4jVJs99M1nUUFk/ZBNGUcT3bRlalJAsz
Of2FFwKqs3teary0qAtGGHpvWvFcx/emDOXWiikSoxvbYw5YaQuL5HQVaqaCfRI+dQjSU1I9HmQL
JECjcYkQR/RqKF9rlAMvf7bTErRBBA5ABAowAVTmdb8qJA2oBJ7H9WbcyOtiG/wU95OleLLxkLow
9n9dgj4OqMymMcdc2Mq9qa095I6Fa5ynLzwMTpf80ZDmbYLOCjwzyImQ4O6ZUxBueOs1eYxmTGYa
wd/fiIQzgHIBqkbBdr4QkYRXYLAzg6HQ31W6ceVr4cIRf7q5jkLMl17e577vqoTAJOdT6kbEBtMC
rfvoA7giLE31Lc+r7wsr49w0Qr3DBnoyyqWHfbz2rEZrADw1rD3bfFQROHSSr+21tQbSvEa0aPxU
dwiMLqzH01tlUtr4J+hsV8Nm64J0CpogbNZSv+PUWsceWKz+voJ/ujBG+WRPH4bjFXk8xjLDwBbB
Gb5dVBiO1Uh7Uc/hyEWbOkLbm5dxllofg5C8dAUqiHqYALxJk4Wz8+xM0y4E52+oEsf08a9IdQip
UsWvCMqfZftgKr+Sdkn4+NwSUg9izE6SHJSVTr5NQRGRDxvkgop0Pg0gt7A2eVTLdE3HHM6Mtb08
xefiUjKFMGgAhKQ/eDw2PVGyoZLiHFVAAGuReI/bwlZAo1IC8QsY9S1IP/4+4qQkzUOWTgbPpOOI
g4KVjKfpud0ELRicZznxV/S+d3qKKl87OJaZ7C5HPPOMB0FJ01clHyZP0WfJQglRDu6gBMBqjTDX
9+grND38LF17vBVFO1yY0jN7BEoI/WVwoFi3yrNobeSVYw8Zzi7T+zH6kujmXlZ/Kv4v6NQLK/PM
/cNyxCTVlJhKOjXHc+lqgqL2yCxOMB0oZbLuvvtV1D9dnr+lKNMaOkglkfRVPHcgSmtAf2JgKqJd
l0PMfO+mJJmKH857eMtPAJt5HlRIctHqVcm101Y4dFg6GBQbcBQUVxWPW0Rvx2oMH03Xi1Bsw9c2
e6kLKwu3QycPaHYBiHytzQB6XdZ70g+KNpmxrs1MTa9KRe3CtTYqsbxw/Z/mOLoExZlfC5WZ+szs
NBwDKTUkaHZ2gaaXadyBmduNuIQMw8JhfyaQLEvsUUg9U+NWOf4CSdklFHbB+gijDmMFPTSdMlTV
beVmqUB5mkbpMuc7HRSg0VSVZwkpXAe5jFAdpkyC4DYQjThAF1CT3lp12Ah0cpq6eRyQ/V9YANNR
fpy+AW/G8YzyKx0wcV71bWU8W6QYrQt1K3zk2NLWNmzDt3pr7C9HOjeXTCNFOZggEnafx3PZe4Y8
jjKBvNZ0N9g5+kBCdd82QrfetdYgOZfjnd4e0NJFEkTFJPEGhHEcTwOLpkqFkOKYEduB/6HKOqqu
C/WSM4NSRI1y0+84vzWwDrdobw1xBuMiRZqvbz+5QvDxGwP4rKNKmwrp6stjOhcOE8ep+IRw1kkJ
qh1CQ4wGwg1qMWz9SKqeuZwjfFpixFLGesmz/PQEAoOBo7rBWw8r2Hk9YHKy0lID7eIkzt5GqXuQ
vWrJaun02CYGpWpYeJM368m66EPIN4kGMTXEQwQ5AdmB6gW23IJvjvhgon3mrlI9X57JcyMDBMTh
N/lcn7xjITB7ijsp7HhC/gK6+KmVxcd/L8Ts+JZ7YMNdS4hIC69U7Os0I1rw5jodBew3DguACVhz
nZANo8QMSeBR1EkTcZeOwUYYFgYx/cjZ8YDYFMkXtga/ASzHu0hRs3TUcg8V6E5ZtxKjkXHK3fd1
9s0tx02NBc/dIA1/f1bwaOCElyeBC57ox1FTrCuhXoU5WDntNsredf+1MZ8EbamaceaMEKmymhJA
EhpQ83u8phUTSxJx8qDDo+WuktJ10f+6vA5Og+AKMSWwFgcS59AsWUB1DN6zBNqAZzlS0fl1hX2S
KL1ejnK6FAyFo46uJOc5n2t2f1QyijWMExFtV3tWB+QZefGnzuUgp+cPQaaOKyolBoi22VA6A4FA
GKWATbvwFrjToxcMd2Hrf61AT14OpZyJNWX+1FNJsU7PHrc1asQnUfRG3E02b2kqS1TUBqt1s30g
FLXrNIkC0R47ZQgOILG7mlZDhpAPKh45kHYlH3psYYL2rWosQ3gT60Hrr+Wyk8U1pXOjXAs9yoZ2
7RtIeRZ9htZtZuhIWQ9iULf3om/iXkWlHjmEvpJQMDPEsJDu2jYuBSeEz4n4sNw0P/vUErw7TrFo
FRfQ/Tb45vbFDhVEc0RSD9AvOtY5xm4uQNd84a12ukGBWlOP4+zkYoUAdbxVyrw3dGWEB+P2srIS
sA/CUUm+QYzuShfpVkEpwsjM1BcrJGeWNesa9S9Zldmo8ya4Vk86LS3ia+pW2Wg3brbKXvN3OqgO
HZiH6ANTuXAlLRwMp5cFmC8q7CbnEd3qeY+naL0s7DvU/gZRRL+ldNw22SM9wBsqRbM+6xcW/Mmu
+v1SmiATClW1kwWPOpWJ7gDWWy0SSpEMd2eh93eyygkAZU2kpUQxUpvjvfJqdBMzQvGlaMytirXH
c53fhIDTL++m0zx/imOwSkxFnVCOs2yoFN2+AhuEhPaH/yB/ls/jtb8pQgcTuPW4xmXwFozB8M3a
6+vLkc8O8CDwNMMHj5gIxLzvQX8HbT+s07q+LTvR0apoLQvJwuKQT8oWs0FOS/YgVtbrHQIqxFIf
MaDTNtWteFv8lPst2nACYMThw9qGO3U3XMNXwtAF2drOzrfGwqI5xYH9/h0ULlTIJ+LJ1pDGeECS
i+ag+7UMbG9XbZNt+p7u6nW19z6CzdLL92QrzuJN83Iw7j7Kukn7Eh7UwFUZOHDE0Jf2F4Z1ctLM
osyWUKIOoN1HogTits9F6PC3BcibaXNMFYXsr/HTU7xJmoGrE2zzRAU9HFVdA57uff56YYT41pvX
o9WsUe5ZjZG+u7xIz07gQajZ0ASoaBZikLx8R+Av/jPcp1UWvfx7QWY7IfcHcVSmIMHwxRA/qSGu
QBRcjnF26eFrTuLEa07+I9l1sBSaKqsrH80XO97ne3mdb9qdcds5ykq05R231urfi2fNKoU9TC7T
kzi/jMJRt7gubpJb8UF8pk0pbPWdt5EeLkc896kOBmjN8hyRqqxXpAxQL3+VyAqYMMogxy2s9aV5
nC8+NfSswjcZV7VGIAH3yy1MoE/rFqYpOG3PUZ8uD+u0VsZqPxzXbAm2EXW0vGVc3QoppRU8gU15
na+LvcwkZgvP1tPe6CzabC3WXaQ0ZU80devtonV2m79Y10jsr7EGfRJw0F6Fa89plYXlOf21R6+J
32En+3NAYuJJ3UwZ1cGowmm1ICGOg+KQ/PWrH09p+no65G3c1MmFjw+NZvBjL4uRHBDDbpWY72Pe
bSI4Qwtfa1pls4EchZl9rRAdXtl1CSMEVaLYkFQwsYzk9BrhEgGGaWs9oqIp2AXlqxXmc9IaPRXA
ZzlcwYW2zpkLltLdBFClFwatZfYpRy1I0ZhRIlQYcCEAke6pT/z/kChOFkZ9yuGZJvcg1Ox+LSSE
W92OULXjPmJuYGKeC/gWuH+2ElZ4vIyerTr4fWyUt/FxXLn28JJs4p+Lp87ZMWu6QSqj0o6ep4Fl
ECl+A1DBVr+Gsu1uk7X70NWOdCdYa/8t2yO3sdFSFJ9XuOosfPqTFHRyLddk6r8wuQk/S7hVCOhx
ShnGliRbr+x+I68wMcOaed3vVMfbS1eqt/VW+Wq5C3Rm+xAaQBwskskXcpqWg8Nd7etELErmX0/z
vS+pttWXC9/4tPE5DQ9ALUhruvAAho9jRGo3oizD8Iarcp860Ve0vW7Ctz+NTwV3E3spXTpzolOt
/40AnXpq1mxCjSKy2haxf9sfEKhtbmPlw/VfLn+1cwtGY1AGhUDAwsZskyg1Run4JUS2aWmrUgsc
pfvq6Wu07BYyiXOf6DDQbIv4RjQoaIoxmFLby2gJ24OEbOHl0ZybscMgs3VgQutNLZnRBF54jcLk
KyqdG7XTnv+FMBKV9om4NxUdj5cCsvOF6goVpr6WQM6u+I86qsU2+E91YUBnPw91GLC/POzE+euE
5zzVYSSkeMA/VVm7E+sXvf1hLDYOTvkRrG6UwP4n0GwdCK6KGnJGIJl7T9tF2/5K2IZ24CwRXSYt
kpMbQp9wnRhoKCiOzRaCJKXqUEW8VIMwCOM7Qw2NwWlCa9yFZmvc5ClUy3s08AKMcvU+v6ndeBIy
aCy8BmUIotel0Lk38Kb1LwhdWRiZyRkvGiVIbmskmZAUb6VsU2YolNt+lqRfR9USHytXG/C6TQPX
uxuzFvfLwXSDjv/FjDN6Nomyq9U071aKVyXIGyiY4Q2qj8p+k1eivFZHoX5HENLQ0TCZhOR1zYse
ZV+HtGgVGRZ+muYZCZqgkfgd4jTPLBcChm6jvA7/2xy8UYWAahKyQ5m5p96V9uOqDMPqqdZ19zZl
sKEj6EGEA12LKzLNlwxnmyGh9THJsbd2I9Zk4X+/lE0qpdTffpczZ2lqjZwhxx12Wi4eD6vWwm3d
RAtkLUfd+P3vQ+kq0hv0cmhQzQ9QC8kVgM0oEwQmBGf8SjGVq7tHP6mFhffuubMGnRpACLSorBPA
fteVitVqRCrlXPxRKkEv7uteTtSFKvPZOwHZKKSDUbSzTooHSMJ5glVz3fYbd2vWm+o1eK1t6Urf
qNfyN89z/PXSpXB2p05cYQ29behwJ4URuMm6OxAzb+RNokoPbWPcZrjZp032LHnJO+Zo21wPruld
LSWR5yYWhBsOCuSoIv2P44NPCEKxtDKyO6ltHzI92kL+X6j7nAnBZQfbARVmGuTzdh/XYdiIAtes
0bD3fIS5wiUDnXOfjRi/uxtcsEBVjoeBoBg6BQhL8KTwX+TOqcE/kqbts5uyWAlbbfW/KH2cuZoI
BFKFijfYqd91qIMUpU5ROaw6xqXFq+qzfVCucUvEWGQNZ36VfJFew8fmOnq/vOXOTibPdxpVMq2K
ORwM9QwkUtBYtBvFeixyFxmfbKEPMn3yWcJPzVEC20tZW4cSejyXqT/GhoI6IQlEgmDqgAlap6CB
IPjKddp45tbMx6fLozo3lVwfuJdMHCNzvgr7QIrw8kDRgB70Jwf9FYBX1CFSZBwuBzo7NmIY9H8V
yoPK8dg6gaqxOQ6kE0aFrM2YQtwdrU8hi5+kOm3QqR8W3ixnh0brDRFPdDpPqPGF5TeaEjObIHxW
ajrehJaGQlK7kIyduYNp2v8TZpYnyRWqOINOZhlU1e2otSgeuFnh4F7YO4glRZvL83juVQ1RROFj
/YZezs+sceLkoH8IoDlxxF+U/npHf5v23Pe4c4wSnzXbW7W3uCwuZO3n5vMwsHz8BUVx1IcaGWze
1WgQebUZOq0Z3PuyvzCj53baYaDZUrG8sqjGkkC+JmzkzjDtsdIz5/I8nnK1wPEcRpl+xcEhAohJ
DoA7RHbpRHji2fj/Oort3fWOiquSHf+IHW+NCfgNfoGquu4c6TNz8AiLNub68k85e4bq1Co4SKcu
wBwHqiGamaMpjvJgC0ZqTFJlVSn1NeKYJCpy9l6q5Y9IDlH7Gc1snaboRCI/00bYrUiINNPKThdW
2XRqz0+ig180B4q2Va/LecovwjJkRzq3QxR/I++WasrnDgWSCxJYMgwQKdOfH3wDWSuEMFbZO0jW
2ZizbFvlPmlMZGAwJvEXcqazy+ogmHkczItqtatFgslI5ZU0mTOeaJe/5NktQouFtqU5AV6mPz8Y
T8Ep6xUoT8KjeXetyol9dz2Gw8LHORfF4AHDK3aSL5xzhJog6xFFyjlxxl2Lz2Y0pCucrRcO7Onc
mi+Bwyiz6RK0yC2thiidmhdoXCHMiYLuoD92iu/fipMb8OXJOx+QR7pmwquitHY8eWZk1JlUYmwt
+dl+0JCJnxRNG2GNAPcCy+VsqKkXhtvOBFScXbQIDg2m0PGdxCHCQ1pKkAWsskjfSGNG/5d2Zr10
ek7TdTydiiQC5gV8AmeS99rx6ICHhqVvRtztoCNL1rguDJu86dHAKtdxir+wv5Sb/R7GSUxL5UCZ
ktwTnQe3y1pVDDHJ0Z7bwI7b1YAkSHk3WDBQ17hq32pr8z558SrHSoFqbnD19rkiX4PnpSNuPnqD
bj5yQRr/DQDnZMmqsSyg7DeBNHPciHunsa5aubcTHTtWvG2rpcbxfIvM480Wr1wPYeK3FAujUXaU
CjXML4LxtwWFeZDZJ80ilKSBCea2a7lPeAvsJLW7Cur0rgj1hcxwYf5+K4keHCy1WkghLBNQmpb+
YJrCrsOTvIrdTVcVG9B+z2OnLzzI5sclYivWtP85mElIKdIdL1iMenJBVSKWRFdsgIl+d838y+Ud
f/qVeHShDsdjj6vvRIKHZyB86VQDVoCirxzWDQvC+Kahx3c5zulQJuI3CAaUXCBqzXPPahCxNIxQ
9sMpwi65VE2r/8vDazpHDkNMP+HgAwUN7l2VJuOrqyMTXXY7laJ17clXuRV9XB7NSQY4jzX7MmlZ
6GKDlthvUETyadn+KrvyrhAIDV5gDKxQP0z/Nx3n+ak5jzv9+cEYXUxkQ8DcKMSVZEvBLr9Ptu5N
e01T1lppj8j2XZmejWH4UppwkiD9iYz+At1G/vMEBiLVqCc3zO6k/FM8pU54H4u2cluv1U25jW+p
ty7WBqYs8/DwnMecpbtm0BuIlRKzdAZ6Zc2WdHeHJP6jskIoem/8uPxVz06uDCFSEf+QWY4nN5Br
TUunBYT5jDOMGjZA7mvnKTusR7eXQ82zrmlkNK2Amoig+SCdH4eabGnw8QX0lKta+mB4ONhpOp5u
8Y8gTJErbTprYQOe2ehw7KeGAlQW6US6BWFYKTOTEh1dA1nbvOQSUOP0MfH1an15bGemEZALiG2c
onhIz1dKGWGVglZ7Av8IKVZdsyPdd3ysnkIcTS6H+k0un60QcOGUekHJ0siYlz5aKx7ayAQLNimI
tfvyPgOCEW60TbSetMTEZ0qtWxS3AC35dndd7C7Hn46UC+Hn+VJWA4tPDcJ7Xjyu/axRnM6sgoWb
59yno6EBPnISqOLpfrxYpMbVM1X0qPGK1g8r7zWIOPENoqZLSiTnvhwVpIkmSYEeE/vjQDUmTkZp
otGZBVjEV/pOnHSbm8J/MyNtCQh/0npnD6jAgSfA6eRiNpfmU/oaC1CZaMJOv3IjJ7jynXKX7vAo
3ySSLb5L4UI+fSLONg8523Y5MgUVKhRT8713uruqwILeBh/lVDcZwmyQ0lVbvF7KvM5s9qOBzo6x
sAIUaooMVFcr2RaU8aXHsVgd/TcrxsgRn92F3PrcYU1E/FMgNPwne1+yHDmOZfsrbbVnPpIgCdKs
6y04+aDBNYVCERtaDBJBEgTAAZy+/h1GdmXLXW7hlbV+mYvMMIUcjuniDueeg/L4aXgCyY7JbJxf
81xSmBPA/Yewi8d4SezQDC9XLMk6h9Ob8H7EE2/PGfIMe4wRzT2kMr+hghHlSfFJPAZJcBMkcqNv
/B175s9kDwXaECsdqZg9kRA0HzHqG5/Yqw1K7Aum6OzNebcOJ+6h183uCIkhDu7O+0C9tARCVL28
YATObi8g5gAqor3iA0kdXYpcej0GYSMqxQVJPBQ6xvLLPH5uq0vIirMzAuABa72ipk/zyRCU1EsA
pvOwhajKBJUsv/pUBu1/clF8xIHEQgl8VRI8tgRQgdZ2yX5tp5suTVLswZmeAI6ZzrFIerQkxN3n
v1u8we0Els5ba4MgKPpQkoYUV9+aED8OZ+ZFdAmiwYEkhd9feDTOGG2UG4A3g64m8Ky/lMbf+VAN
1KszcIzBynH/C12q77KoP/3+XTizSwA0rxhwzAI9sSdxdNZ1bdGApTpULrJV7G0VtiDT0+8HOeeE
UoggYMXQvIQ+1ZN3AYKhsoNE6nrnim3rh56M+msn4Ydi0yf9Nwj2JXTcjVeX9uniwOsKv1vBRXMB
3nsM/AsSDOJ08UIBwnQYCNjRHyt3TQqm+tAZ7rIH+f3CrFdLcmJpKKp7YJACPQG8opOjWUCjHALG
q4QzSrv0e73XD04eoaNk3htREZmpHQ8yUmwHOnmGTOnfPz3o5AReEaU/eIqneYsMBJiyR5UAws6u
jrgJpV+/X55/P8kzRxQXHBTIoIdBrH4a+FVYPcCneuCnIJoDeqIIcJALV3xdptNlfD/E6gu828O8
8STroKH5JzJsD4as1EnNi+nFczcBmTgk/y0CZvjTKmlDS2BooBgZBjVtotYpk46hoKhq48J8zh5K
OC/gCrCBFHJOXeoM0lmlZpgQxHGv7cTaZk/Ww5RFQwT1jbCNxCv7xG7GSzw359YRtxwmy0Z5D4WO
43UEm1oBiZ6Wh5W6Wu0x+OQi5YHmn10VEnThRZG4U/fz75+Pd4PSE/vSQU+ny50Gtefuk1XeZ0Re
iKXPHcAV0wAKtcD+2HDk1/jIwsC2OeV8hetwB1lX88KOnXk3AfJfTTGQJyvG6njlOpCcd9KUHLwR
2V3WfbUDSKRD+WRYQOLC/4P4B6HP2oRt4ZH+kBdWYM5vNAUnKFAXdszq4EnyRqV+Pd/9fm8+oNPx
jAESQNGNCFQAjsXJiQApvo2Hy6hCcb1ck61/x78DkODsMrwBW6RSo2LXXTdplfJPpI/Jz3FPr9mF
B+iMJ48gb+0AWL8CWHuP13YKssByLMw24Cw/uOjohzCH4dlF2EwMqrCdTS+xxZ1zrtF4BGZBxCjo
czgtnUKYpaiKCryW3j16i8ufLGrXxw/Utv3qN1zTaVfFxo5tfr/eZ6f6blj7eKpCZpCbkRgWyhsg
Bt2CFzUa3bf873YS/trWtc0dlAnEA73g8TjzaDrShNpfOJjowhl6U0eM6eKCM3nGXqJs4UIbCePg
cpyMAokF9Pf4mM1omHdB7+2dxbrOifX4+0U7NwzITsAOAJDcR9qT0ZwcJ6MuKpgdwHiOX7wy3tMQ
SfcLCOQzhgSZb7CAIcGIosJpJLLkNWHDWsWq7T149UOPXqpqfxwBcfHanA+qTnTKnvaV1mxylVlA
MyxbnnpyD9zU75fqTDCFAfAO4xbBGf5Yn58gaGD6RRUOKZAVUb53prBM2617EwD5blVJnl4609a6
zcevM8ZE1QAMdy6Syqc+qj3kpccFJgXOhh+rnX+oUGdCbvaWH9rPY6puW6hoh/LgX2loTV9s4v7Q
R4RK6NEXOPEtWzW2Y6/wBdzDmECpcYeikPzk3yHdnQYb/TRs6kNx8B8ucSR+vM3H4667/c4tWQbo
2aoa4xbouiv9V3ApxRB3iLR9EQH78f05Hmq9I++Gqmx0azrrFL17f2NHkKRFRPU9eGDfp8jd6yd1
Xxzkd+NpvmCwPt6943FPPK8eQnzUgtJOOHp1JORLV5iRuVzAHZ3JrhyPss7+3ezA5gbStBajdG04
wS8PAcT7rr+MP+yX8grgnO+XSl0fHbC1DQUma+Wuwz089YwLCDQGToVSF550C3X7MR6Mm+W621Sb
Lq6fTPehlVdzjE7O9G875SdDn7wBpjHXuXBR2WttGU+OHwbG8++twIdNsxGTOoCBA/B3BnqExLAt
fXQqIdM3xf54yEaWsOXvJvowCLp6EdhQ1EU/ZE47tNzykaBnjTPIwBEoZcxO+QQ1o0vO/4dbhoEQ
YKDeg7wiirAnR78rZVGApqKEZuTiPmp7tAm6lm3jhfIye3O78ZJwwLnlg7NnghkNvDQw1senEc3M
0J/qCeTRIFRngWmQgVa/Li+2P64bfWQ3MTE4eL9eUKQtTn1KNOxKb1owjiDPAkURo+4T1coDbVXs
tcZBazTI+qX3VOXZHkKfbShNiKX8/qx8KPoiKj/6FifH0ZpzYqBLF8tLHpoS4mMH+36KrbjZ+LGY
o4LuEP7oMTReHXBLI8rj8ZSsvQyX7sXHd+Tkm5ya8Qza8a2Hb2L0UXkdsE+Cp3PiRc3Gi/tlZ6mo
4StP4vjivOToHfs3Osc+vM8nX+HEohtLZWa1ia8w3/dxvhUpeK2NlzaZkIqsYvYaXEOz+PcbcO60
od0/QKf/yhnunszaajLGXQ/3SPAsauo3uqCMM1/Y5XPzej/IybwKy5JmC93mlYAcDZIiEealW3N2
CEwCFEToQgLn6PGtGamVgXJnLEN/ZF5SGzQHOj9XF56Kc8YAgtmgbIHpQZh+MkpmAkxec6gMQyR+
Q2m6dFlIyDMEkP6TFXs30Mm1ALhjdlUwYcUoCWl+bwA1//uNP/cGraQIK/AHXUNgDDxesaox3Lzs
sWLQGjatuPjMr502tFIPCaEQnlvceEs6Jf8OJPZDXgqj4vkDaAZvxBrSHg/NLd+AMzFgs4K2hZHr
3HkLK2CkSEIb+4BAkAFNxON2cNu/2yey5sNMpGlXWfQVuXriUSzSLaWFpsJQ5yWEkn2WygKXmpLu
4cL6fvBLMRK6HACeWatRH4g0mAd5U2pA8WJVR3k2QnSE3RiRtcmf6A2cw59uMmN5beiZhvpqupT8
/uiKr8UiIHPR+AoFig/RkfQBAR7aBoLYUbZZhkig7dU+8OfssCSAYm7dMpSffz/lj3fwaMjTEp+W
uVvLHkP6EA+m6meuL4Ri5wZYGVCRmYCkE3yn43ODHjc7B6UwTLQJ1fJUdcMMMcRMmZco8M4NhK4Y
aJ6gXwEp45PrV9e6AJFQjlNC+JMaLRbKGUCM3y/Xh/5WnEUABP53lBPbC6EGECkZGKVBc4ebL6Hs
62jph0S6P8CRGrrkrc/ecq5DwdA2saQXxl+t1bEHcDz+ugrv/F5o85bICKyzjJZU/ORri22NzgLo
N8DrSC5lPT4+NcfDnTg2ggxuoCVmUrhXi7d1xT67xPxxaYiT2z2OFaTccwxBu82yo1/LOvn9mp07
GMRBOWS1XKgxn2yZnugcZBVKFJUhn3kAgjU8Fq//wRhA/gB1h3f5gwMIsVY0PoC1JUQF66pGH9Lc
2v/JNN4NcbJOMgfBGNfANUAaYTOACiYkkEu9cL7PbQaocf6ax0lYZXJe1VmJecxts7W6MapGI9aX
SorndgSFKWQA8B7Diz0ZRQckaweQ8IXdBCK1yh+CsA/IhUTlGVuOBK+7ksWiMgtjfnxTSMCsygUr
VwjqyxtbmV9nsEpRCyQCHhSp0MzY+ySpvXrz+5PwMbUAC+GCWJ+g2XAFNJwYvDILFki6YlwXECbH
SDw/slFgdOLym0cS5zDGZmxv6ZCo1/9BMf2fI8m57pdc+Q+p5rbIITF1/Mf/e1P8aGUn3/r/Xn/t
r7928rcO6lU89u3ra3/zTZ3+zaNfxOf/z/irPPrRH8BzAh31e/3azg+vneb9eyH1f/eH//X661Oe
ZvX6z3/8kBp6LPg0VBXEe9V1ALjfbcMHofbbIn9tj3Xaf/3GnzrtlvMHYLjAqKIPCpk6gA3/0mnH
D1bSoQBtqAh/f0m2CNn27J//sMgfoOdBkzL2EHg+MOT8pdLu/AHOZhvxJYqf+FwUfv6OSPt6b//X
oq/fCkMAJrJiaAFSPIW/5LIYPO6LmKDVMlVOABEBx7DiYeQqhjNV/a0b/mu4Xw3RWAf88wGxy6AW
W9etBNmE991GnfO+K/I2sYxsjN7twN2fMziSylxv8dHEKFKKgCKvpG4EsKwTx1v4nccWWsUjm43d
vGRlIjX/XFsmgG4mAS6mhnRT3QxvvXbKjVCQYKm9nwpYI0hTiDvG0aZpNEsdQwN52dCRdVtpdFBc
tkj+yIa83yE5eqsk9M+LtnCj0kWLZsGwYiYbbityEeR5bByxdJjQStdtAzawWq8PFjhTXbZAWbW0
MgbiaQ6qXS5GAT0Q6vL+wkadWz7iWkARAV9toiPs2H7lPeR4IZwUd3i+wroaaVJZqmKhp1oag6XN
vnFzaV/KBq+Vk9NNW+muEV/g7GPKx6NagO8MM9BKnDskBSVZsAeCt73q80oeJnBVoM5fsb3f1WxT
9lW1G4uiefj9wTm7zEAX4LKiCG6dBjn9WIwmX6p4MvphA5lacpc3swaZaHcJEHZuJJB4oBDh4X1A
H+PxZM05pwXIKGPFbOScZ3Oa0L2l9CcW1JegfMev0Z9nh4IFEEViZL4+FIoDqAWOdl/GbYCciKlr
kKGgmlfFYGCoUwrhTpDR2Y19o5bFAfplXoDc+v2yHj+6//oGsH4rQSvgiyeT7R0GOeOpiuGhlDsr
b4p9rmn59feDnFvRtcvoX4OcuKcajWk+G5D38O2frrZ60HcMb4pfJFU6Ow5gCmshHCiwUyjfVILe
wSFl7Nsq2C3g0Flmyw1hZC4RXF8a6CTi7nnXcQe30LQV32uoo6GIq/IhCrrGVPHvF+/sDr2b1Inn
IIqqtgyMlXe2unL0VF0RAxzEF87B+RlB7nsVFwKV4/rzdxGEHXRGzsFqZ7bVCG0cnHQowpN4HtpL
adizZx7nfQXOrdD4kxPn5KyTaFqI596+UtKK1m6Jib4QUJZ53X4xNqK9VC378JjCRNO11xRuPnDO
p+BcA/dMc6eEInsl7xiUpSN7lCnA+eWNoW1x4Yk7t2EgLfWBWQUh8AdAqa5GNx8xwcJEsG53cPtF
V8jd3z0VsBsefA3iAPuB8sPxfqlWE3OhZcwWaO3WRbe8zD25FKWfZFJX64BRQPy7ClGAKOPUJZeV
jTS8W8Yr0HiNKa2t9JNmirK4NyN3Q6J2b27tMjKG5L651D3x8Uiug6PbdC1BQEDi5Ei25WTmDqYo
50RSIzGNV1rVF5KmH59THELg7jx0fqGAcwpbyHpXjb4qcQjd2C2cIXILKzLNqQ+BnMgiVCy+/H7f
Ph7FdcC1noLOeA9KRMf71tiDzpqqBNIP+DWQ7IyMRp70Q8dakt+PhBwEPuvo1Ua2CnRU6xJi0A/F
e7diRNQ6C4fWEt4Vpoda0UD8vH+0HanMNKCyr7YB2DOePBG4XbgQYd7UmdAA6NaihqqqaGjotIvl
bCv0BOwMU/af+oJ5PJ0mLu+tXgfXvCTLZ91T9A849jQ8M00Y6g7qE7h0l69N44DYdAgOAO7l0PvV
nyEZv2XN+GQZA4tYA5k7UEpMz/U8kYMrpoemsT8v6NBMYeadxAJ32MaFMk9cGwYQFhl/pP784o0O
OCu9trHDBdfrrkDMF1xnQXUrRz58RU90AH6PKZteC5UHkXLMRsW8QqdcWmUjlKr7CQIu3QSpdp/0
wRj2JJ8Sw9dfTQUecmDCx51bTwFB621ghz50B6Oha9TBNbth+gLEBLroepdck7kx3aj36biky+iX
fVx2i7iWGSk32mYgCWlsA9UfnuaOe9uzIIh4rzZt6930Gd3KASI582RXj7bwN4yJJ4BFe0jajuU+
W8gz2HaAr2XmHM7AwEaBJvUB4uu4fZ3bx56q9I1X14cczbugXRm9sGlFWuT5iM7zFZyoeULG3vka
GAEIjTV/oqx6Ia33s1b8wdbKT6pR1TFf7BY837wEQpTwRvwQ01QdROU3+/W1qCNky5dYSrKkVgve
PXwY0pX6xTe0mBN/KFWk4Tlug6mgoBMtE8ue67QZlBARySAzSZkF2K7Vew9tHswh6PTtcBpEDMtW
x8q37zg8fXfu7FtWg5UltCfvK1JAUIRz4TskCynIZiTOa6DQWN/aRpmHUPsjG8WDK2h7go9BZHZU
zNa1a/B7D1Qa1NN30Fo0E1D4TbHhDp+AofQgYaZvFoPd0nGsoxpFwbRYlSnoaO/NyvvsZOSJc98K
l5GCfm+pI1DfHuBuGrfjKIB1FkUwPhTW0CYKZwz+fjEkui6e/bkHQVYAMulROxQjk2JTCIggG0b+
OVPqwfOaYDcHDCwHpdrWS7vjVKLYyTL0I4rOjDzB7dCW3bCxxgDZAFPIxOLuGyTLvisR+JG1zDLt
svql0PWOZ20ql6bc2M0ybTTJhtjNuB+rOS9vgd6wNqyuVFz1dRVD78pIjSpzd0FpajBado+FZfgH
wHnreMrBHpVIu/3OBu+tAcLrgPgWQk6+6hPmi28W1UYKIisdddRC07epAWPXoK6Evogd+WX+mkGD
F6JIVUI7s4RejTeEU4YyozFDio701EAoZpWpbkcnBstmDos3NTHNRnwkmCLjyqlLoIYzA/9Hb0Cz
8VzrHr2G1EyHgbog0FmMcOILxOUN/aPOvVc69TSaCMALkP2567StQuGioW9s5nm3lKDG6wcbSiPs
K6grjKTp82ejcD8tpX0YPG/Na9clWOsaNAcgtxU2ueVHZt3Fcpy6eMrQ2z6zPHvMbe5HZQBeV4YW
VkWtAapnrb4dDevNHgbvroN6RdKSCcbCUMUdbRSI2eSMDZl9JHtV0+8H1+TPaFAd99BV0PcE3Gsv
iw14i1sW34vc4pEJSqKQ2WhGNYy2T5rFSXkAj4/OzndORwmDEYBoYXStm74M6sPk40LaNg4jm4G2
NN3G3C6BC50oqRp0+fKRN19HWIRUQHwmRP7b/OxX9gCUqNEVe+GL/FvQFOplAdrlWZQgVMi53R8m
qyMSyFuSkyhnC+5H1YOSGDqaJojxXTSD3kxWiYSVz/xtM/biTQeye7OyrH1URsN2gLx2cZU3UM5x
ZrmnwZzdTj1YG6KiMPKQmRqbCSB8d+Npv0yhoclIKNks+m3VV+ObU431Eullwjkem1KChqSi7JuP
jNeza3hAWQgqlpQbOid7kKcKSI87RgbiJTYGKlINwxvUAKm8JVX5hSG6e0FGrmAb03CLIZRy7kGk
0FrBBDNXOuNU38ii0wsA077X5vt5lCV/BBbB6+NFLaOdkMwv50jPspn3IjN4vYXUNKnRaN/gMzaB
rIEJSVnVwkobk3D7SOQ40Sh/zQYbQ95Ik1xDKWbOvpQoeBSRPSFuiAJJ7erZ1ZDH/oyFDtgOJAHC
TQM52jiprjFaN2Vre+C24k7h3xq86J9ysvQ/3LrmJU7MYKOHx87EoeBT3cFK2hq4Q7RJWhtDQiNP
eFWnY1qbGQJZC/cbrOlGpLqm7vbtOCnvweF+U6YT8gnfs8yX0MiZpGBxTv2si4lduXJbEDVO4WJa
kkYmEqcUFpyK8grsj1keyy5HdSHHs+SkFTiBMf7s9jRuO7SbJH3JhHtL4CHweBky6MOP07IYn5vR
b6AMVDWWtqM2p0LvOOqExg0SzLn3tXGJcvHS+tOU5KYQ9xNwD+wlIyMz49nK/Rfb7KCiMCiLFjs2
SLu5GvuZ07vcVpLGXeW3IuFzZU7f+Mha87OqZ2uEsS576y6HzlS2baqqLxOjI8iyrYwWlf4hg7wG
Yy0sB/QgytoXuAfoNAJwu/CbBczntqhhuiYkn8wur4NQU0f/DGBmB3gZTbGEQWNP6nEI2tnaEeU7
8toDadkjvpNLwPLu4raC18AsYz4pUey4aeXoBwY3TRYi5x2M+34qyBLm3O+c1BNkvLZrd6gPujeZ
fSvBfDtFE4PvkYPeDCY/djktV2MBvsM3PTAU6zRKsA+4WAFMtQPPj/shm+wWD40tgHOEosZg3Zn4
z7InRjYccoO2qGWOoytvnAE8sxGR5VJGqOXWkFKvLLTzZqLO8p0rINUTTgGe0nAi6JhO0aFSPivS
Wvrey1sf8ut4lLI2GtoRkq7dgJ8npePo9sbuqFZIX/KpreYnAioR7UC6eaiHbwtq8yGleBuAMDKc
bzm8njJVymzexlnCyDl23fzUSvZZQoMCFPRjW0N7Ha1HuZUUuO1XeHlMApaIasb3LivzUYjK/bKA
RG7EO+s4X3rgFToU4EZATrSwVB7mzPMOTV+KN9rzydyXizv3oEMwqwEMDK3kUe2tfqHHlDGHVVv0
9xZRDs6pn7GdBLkLmCJat4HOlG19Gxaw9YdTP/R+XDDq5jd+Q51p07ka5U0KejsXbHMgw4q5Vw7V
KxiKGvnNyP1xBnpXFQa9QqQwtffwlRryDXwXYEzfBhTEehKMzd2Mb4InytVfc466iY5LSgwKJtuu
0pba+56eezNu9TjDg+CQZ/naAxfabMDXY/Al9HoT3yCskTpqQeri9m6WR75os5qvqdERjOlLN2Rf
teN0JEFjR+BspYZknkTLPx+AKpMNDxqRtq47mK+T7C12GBxRAb+yLGqm10HRZ/MbsVUJf8qt1JJ0
bue16WJYEhT9mYnTvWMBTp2b1LCNE95cE30L6Vwi8OlCow04oAPAC4DnCm+vdggcInglzk80gWi+
z6thru6ooX0/arXXTxvRNb2JmuM8NBFEYxe6hTRB46UNaLJ4xEtQxkZk8QrrGcRZNhqDDEcPb/BS
hb+6CQjtwtJuGvoFMBTzpSMitzYU0BknLJfBK18cwka9cfJS0cQeeYCW8xJFxDWF7DTk0LuFbV1x
w1XeHZjJ1bhrF6mXODPFTGK7GAhPGhCRtteCU7NNra63lzgo23KJDLAKBp9L0FB5SEzxgSXSNNF4
6sLkqTA3fQlaoHpZ1hhgajvylAku0dazkCm4sjOcHfjiwNKBpFn0uYjmsUR4opG0dLYaFOY/CO2n
8ds4BVOfZpTOIrXEUrmRHq3yM3egBLfppnxCyMdlid4lmdFFHEbgR/Krbixp9mV2Oi4jYUym2nPh
ebgDooTkj7Y8dj0Lv7VRB/Ab+6oK5AxGXtIaLNEut+xYF3Wfv5B8NmC3A4OlLi1zFYGcPxi2ddCB
76trUWkInVzZHYSmFIrjEKgAZj5XBQ+SmpoKYY4ZNDXNgJvm9yUsRhVl2IZbE94HR0a/dXi3oG+c
1ogCSMnbCSp9wzz303Zo6sBpI9UyhQe/7xxzCi1rhoKfSfsCghe1IhC46utZfMaGFgDmzRPl8NVG
bzHUa9M2MzwJKALlTQpSc/Bv100DQwSUwlbWg+t9p31QvhYGYfJlLAe94agIJXnWB1mKvJy4Yd7M
L6QAreP6PnLpQHQhEkJXIhI+KJ+c5MyqyaGTJ8Bbvcu3cCtWSB1eg2RYwHt+ifTgQ/oKiSskDBDB
AomNfsGTsQqYD4mseNhOSBfYY/alsKc/UxP/vyL5D6zYuyzNh4rko9Q9+69H/fPbUR3z12/9WZUk
7h8BqgHA3aKUuHKJ239VJckfSMMhJAMwDg2W5gpZ+1dV0v4DPXN46Ne6CHK3Hr5Etw71z3/gl7CZ
6IhGYwzSKPj371QlMdJJTglEJsikBkDRorUNX/LkdAgLYitq0s+SaZieyCUZLl+Xzz5lCHcGQ1wZ
wzxMFaQeRyB4BXLXdR8KbyLk3oGSzGNPZoFGdNAUT1DeantocbtjJZ/HtjMI+lgKtb410Ou7mViD
BEHhuB2PbGnm8xi1fWc6oMS3xq6+7QuA+L5QnZEK9rxA33AX8UCLRSWGMQTGvBHZ6Gm9NaCDmSEu
r1DQ1eGsGgfYBU28eY5d9N4OW17p1othOYD3J65YjL3P2959yCnEzg9NV65sVFY5eSC984PFSNum
IFMEda0B2cKgZF3Y1sJBC87cLfi7KPbj7YTqyUBNKATDyyo3k9sjuEJgjkwWCqOabgSev/IHa4UY
drY5rGLQJBPJyKqCprXwmfMNQpqNTlrDL7pd7ywccaJrVxrZHzEzwiPSuvOwRSm5W+IuaAYjaVtp
y6Qa2gXCz74qvBdwHuBrT3PRxHU3Qy0ZyRezE3uqXYUKTE3c7GdeMZHhK0JUKDLcbhhQ/Bpyb2vA
nPbXRjs2+U2Rd4u980w5BYka5eQ8lF07Dtcga0b5oxWDMg+1SxEK+9psvy0GvNEUqZ+SPjojbeGk
6aFF65fX1TQ1+MSgziIKa46ygrQ6alq7AO1q7rfVARFFq24GJaGZVkIoR6EglrVP5Ug5Cr2AUFX7
SfiouaIiOyNnO+jmcRw8KqJadxnCK+274A/qOhNshMoaWQo08CTA7qDXok2H9qIUUBO7TxGLtp+a
grEJiaEO9MQchffpzpjtQRy8BV4T8MNKg0eg1SbiigK3AvitYfmmhQC9cGYZ9A6eSaXjBrx4KTFc
AGKdpqMIb2edj6lP1GRFdo428B9DJ5GisEDQiMHRPxnzzC2R42xACajeHHgVy6bv8qn6PBMn92IP
DivwMGjBmrpHgzmiSJd5Xpmf8nrydApNZWreyLZUaw4GSlL7Lm+aDoTPalw/fVmyaU7MfBphyg0b
St1u5FV+4SI/2uq+Dhl00PG4LpTelYEKTBCJTAu8owakZO5XT/HCj8bSReS3pXIWXZ8aihpTlYLE
DEgBTxsL23heXdAqzUB1hNycoeHxIdVaz9IIPiG10dS7srM6kC7nOls59KdmFjY+iJDevq0cuLsR
roU3BxtV177FoGwgTbtMzBJwyFvRwE0BPzOTngOuMk2tqKtWttRtU2rpIU1VByzAko/w1ncFMrwI
5z1DOcD0sAE3L0+yflZTUqvFIqAi43Y9PIGRndlf5lKAiMbteSm/UEsFX1Ql7ENezSsszHRu0G56
37IlMd1ZzVfcHgNroztXZqHjLoj85gYtBO4v1FAgjADhnAMSeRo4qP2gl9MecW0LIyhkTMQ8mHE1
BI3eCRRqwIqG6MIOYfOq+6x2MplwDq1xrNsq0AsrgvwoQk+bhQy5zvEKigyzQiqqdJGRNBYfcDWr
ab+Uky+mSA6j8ZUyqhd4ggZ0INsFuQXY5YAhWipLeMVJ7juiSRBx1YiZHGfL4CaydILmGUkWuLL5
1sgrNF/gHVFeCHlUK5XzMrZ7ufhmF7u2LFUyB7PN0qB2UI6ONZu9djM5fYMeavCE+Q+e0nq4Mlu4
VLeZ5bfTVi3gbEa047qgBneQ2QVsjPg3FfPqCVhWZOCeFzYhCbss3BnDwJo53wgANqcbFxkrukEr
FB+Q2gGpGpwfZNAKWMDWUYnmwdDB/RVT9XMWkyESb5hEncwagcy26pwpu2Mdy6yregkCXGPbq62v
YKyogL0vKtZ+yrE6KhkpNAZzMHT5Jd20ha/Yaw+Iin+ra6dxbwMi1HeYgJLvBpdm7nY2iCl2wEPI
VYAe5yVUcxGAfyd3LJ5kOHB0x/MA2E8QpFfGF6ftULSXUok2BSAwR2qQ+YgrAUBqbyU2nUcz7P6I
SqFPOqSDW+lHjaxQnZDIJ2V7L1BIRyO74YxxYHFihLWLkwiuLc7KGw5Gfry8eLkKlAHLajmYlU+n
EM8pz2I5LOqBZUahbhSb2ulaGAUCc6fC5/8iUn8rXc9tkDwnlZUOo59D1aJsabuD1AcRu74u/PEK
tPKr1ZQNaPQ0XWhoNsvwDbDk0UVoKoMhZOjcW3P2NpYAvsui0kmWbQUI7IwboUzADCJFBQqvfsuX
IFb2wKq08DvjzbeNWh8okdUNIWtmqGyFD0gznB0fNRNiyPE7RfoCxVsH5ObI6Mw/R7PzjaRbOuV/
HcFF5O+5M/nVBpFO9z1bJJAqOYYeQSwI3MHG0536lqE2DCG3zmefVVEj8+xlfZlfkaDOecIzcFlv
DMvDHdOBPXUh8rpq2TVeP3S32q4zIE3cGoKuuUEMFDKKXNfX/ewpkuY2kNsbpuVQ3daIdMSGA4TQ
XZGuDKYXHky2eOsWx6v3QHCN/bahjTCxewiDUn8ZF5oAt+xMNwGpvSZBJg6QBQd6fVB8C7RNEjvX
5XSrB8frolb27ZeF6EWnE3iop6ivxdyB9KHxxaazdNOAxVXBX4dci+0lpLKdNkWvgwF6fG267Rb4
CB9pQLtgTrJIk7eJIB3L/x9757Edt5Kl63fpOWoh4DG4E5h0JEUmragJligDH/D26fvLc7qrqBSX
8laNe1KTU2IkgDA7/v2bsOqssvKnXskyPyEFBCzU6FIiA3UtTflcsd6FXDRzPH9jE6r94iR5fwUa
WOhBrZBwESq9lox+YjLbtlnd9upOuCkml6vsCdf8q2j+v/vDfyGG+OP94Yf8EX8t3nMg//oXf98d
FCH+wdUA2uJJGozI+SSknn50/f/7L0XY/6CHr2M9TAgITC6XxvP/3h6sf/xFNiRdHBKSZf2L0ii0
f0DRM5DzU5GeXCb+nbsDRh6/3B3w0+E6ySUEcw8Hjq9xziYQnOcqfPxrGh/5tClMxf7cM/LkDY2G
wd1SLHuI2tgNz4bSrV6k0Z2soE0fjDqPHzGWq1V6PjaiJkOZUZKBxYhht6jAhZnb0U9vHP3Batt8
syzNuO8aEr7T3qIh63xXWvS03dwXp5OsPDRJRy3VZ5AWkH4c9IkWcpl14x4LVjDJUehzCJLPSm8M
9q5GldQ0Nnnv3wZrbHqygBKE0bW+fjJbJUXRlnU7jUXYkykRKY9jo6QvaPKxQjDKOIji0brutYw/
vGj6XhSx6cHmsUKxzMaTGTmnnkbn7oast69AnY0tm8Cyn9jIwH+zZiOSjKQloJ4b1UqVPew6c2O6
cryJtFzd1PNEonASNS92Mtbf9bEXOICb434uSyOEXaruVXvhgB9MsVmbYT7WGbcFv9Fy8Qy8km7t
Wle/uLmj73t4n1tLi5ODMubdjV6U2TXtf0yqS4cNxZ2RCgOL3Cr2CiNzLYQ8xHqK1LUvwSTETKu9
0rgSmsBE/jwuxurTP8/2zri4VxHB8qFax85ONjV+11MzbJM+na/LOe3uF0MxHpJ2MHeAx0pPN6PX
XmNTIRtX1Npnuj3zLgXA38ux4HX287Ivy74OFm0tvi6FmYDCxMu31RHtDqy5uVIqjRub06rd3unq
6r7mlnpdmT1oU8PRURJ8WqOZoCXqfiJ1qwmNRDYKHY20huHuKLezUjWfRsNtrl3uFZs6japvdpYs
j3CXtC/WMKpPjapXd5zt2VXU0ivaNP3o7KZ5zHhhGMn5ptPFV1ZTVeV+InCdG0plLVdlozU/jKaN
tv0c1VuX20DhN1GR1gC2lkNGmrDbjgKst0Kz7coxaJxbyAn2XevM9PFyQ426cOzi3ggjRdL6V3L7
KsEBLdQzM/52uguG+dDgdiuo+UeouGHlFMVVtA7RXmmm7Ec2nQz/OQq1e3pv1Z3oSwNM1eqqbCPz
cToVKBjEzUl0PRhW5PdWw8IsKiN06lreYKQfcTpn+i7uYWVWdH63vSHSG9Pp5Rah7RIsttPfWCKO
ju28trtM0YiOWtVkV1ujuJkjWX2xOjHdZVajvqR2om27LBpuYjFU12OmYspdiPYwqlO1ePUam/ss
satDn5V4PCVjv+8jLaE8zjGayYa6rIG19enJGcvqPmFpPuPKUeueVEuXoD59rlQEWqu2cAtuNM2P
ndG6Sqeqw4R4kOlX2JbGW6oVzbxxp3qyKXjKQfGltdg3gt//JRpwJ9oORZuC3BqTvpdxQ08BCbb8
wQ0QtB47RJUm/VS/lV1kj5gl9fLKtKc8NLU5DgvuHNJz23j6Bq9JC3No/Km3ZjY1JB+nn+GJrRnR
xnKxnqpFc7hxqMTmkNchn1er6+/iDB8XrzRsOhonWP+TVTrRA3/WcCEwGP3j2JfUYWURZzcxhSfk
GV02PoTsIQuhGBBdZrnjHcjptK3nns4mQAp5wbSXw2RJqztIttVnp+4s9XbR7fW2TYvxU9tpEbHO
3UnhnivZ6k2FQROhERUBUJWSFJZns+TRv3XVeNWv7ngs46nAzrpsdW1Tm438AdDaHixgoJ+yk+O9
VSgthHbX3LaJS7qcPcjilkZtzJ9ycwPrJ7ZSmnaiXB86FtxT5+p5F3RNbISZxkUCkWtDmCUSeB7E
XtqTu26K5n+N1yvFKFP4mLqp0Nhfa0enJS0JkiHzZD7olYaHa1Z2V6lpNa+2U4MimE66dSOBM2nc
dPmx65vpJ2QM5c3k6HhKcvZ6pWv066iom6dVZvAb2tnQj85Qa09LXEoiAxpthS6W4kIrJpvAtlZt
P5tx0d2B+qfXg9ObnzHGIxNTEUt2mJJKvkb92h2ZZfOXSUswzUOUPT5YwAWHsgVQWMs03Q1xVLyV
p2KOv93cK26J6xKdKg22dzcp5NYrbeLL2Z0ealemr7wowW6xrO13ocicAzXVfyS1JE4mTYuAiL7i
trKkduVai3NY7WjYG3aMGtxxZHFY47QPNK56QVbTjFmLwr7q7abdKplUr0RusC2n7WyOlOeJ+bga
6/TVWQzj2zDRhNaTovw21aZL2nhTb43VwT8zs9L+a0OKwLHoBjhZeZfK61y1T5gRIgPVRwigqb6m
zuOtXvTcosUMCmXZ0Uo7bhinp64p0sVLRuoBP41X50DjD5lrkU+0jfJuVhK/yHvucGnWGddcEU9M
NtfKwf2sU9pp4xT+JOz4VtZlRjYGytFwKQz1k1hnecB4w/6J9Z9thK5bV2GXreuxgChBT8aEOuFp
I/7KHh8WCUHWK9WA+6BwH3r4/vf0IVgVUYH5OBuBEVnM+S5G4l0q607qdaFueiVPHnNNQNlPI+XN
yYg4CKCHFmnQz235kxUGtVtQhb8uTVWTrdem862rJarhTWqGg6tTT909MsmJ30JkQ+7rQ65+LQRe
mrSh2+UubtPx05CB/PhOZMwPVDTWnRKr49aOUtzgQEO6u9FerC3xHpXl92zFGQgjuT8QAmy432md
3qda0uuHJUeLcqSH3ijfnCW3jF1ZxUJBsb90SuqJCD784Le66ta7WImh9pzCB5zM1ye9mg5rJeYH
nIOHF1MOQCkp7Sxu/9kuQaL8MLPvbVjE7rObKv2ntjaLYHL1eEeex8QdPK3zcGwW7a7pSNwucoow
Cknd4/KD6506apuhoZU1DVEe9kbVhKPD7ZUAh2Ht/SKma7Zdy3XUdoNtTfO2WKLsR5RBZPYivejw
UpZGViLUGG3LN1KrdQI7tmctKFq0Yn4LnLVz2iUywnKAsKHOKvz/Hi1QaMTx4NepdG+gIKjaRhtS
EiLzxkZNMhMOdg29RL1S7JSbt8kBtk91KZ+kQwJo31cRuFJVXueWGF6bLFuCeczTm6JT4yYQK9yw
oJVre9vHEY3xQWcOsJkvPydTW4B1Hen+LHRXIXCPqpkl52KEDS3q1c4zXOzNRO5mZZL30dKpvefK
Wf0Rx6J5SyM3OyAnGB6GuU62OmalkK0zAecMMt3UsseyHgK9ryoYYmgNpNe1ljD9NVEUbtuJkFdO
pgt7vunAI6or4CD1OVsnSiRnBgbejG1kQlWas+FhbGq05mLQlRclAf+h6iIcLShVxznRAIcFKx1o
daHAU4geuojzp6XSkls7dZIfo02ktFfb4KWbTqes9dxFn02/oFFp76JUAvqAPZKhJlXBVVar16Tx
Ezsp+Z15pLGe0Pm/RCocPC+2a1Agy0YY4rE3puY+JZRNhrqZjE4I4zXRQgnZ6nuWKXbta6VTHKbG
hQ6bcT9/ceMJcG4oT4ey6mTOiVOYzrSZG73pfT0zBOkafVE/FAanpG/greECrSa2S0tZVs+LgErs
JVEL0inwwyRPrMoE4XF6bkaUW31hQrBMao3bPViRB/sHRl5WZBPLXdGzR2mzB4YpAtwTBzmeTman
mLtwPsdT6kXsireq3oFCG3VNGbNGtjb69rIM88GEUsI3K7Ol8qGk/SBaYrR8l4zycF5qG8P+ARO3
vVrGM1QP5tUU6iJSDCpFiBH7BovQV7zrnH1KkMQMX0ErX5o1Ut+WQZFWoI1Ui4EtpUwDqUBmeTyZ
XAzzbd4nzo8Eve6xVvhhk67BAcDoOCB6Ydmxv4vdIrk0pajxNnNKbQUA0YTV6kZPa09ckqfFinmz
LCDVqdd1cbV6ugtEh02IRNE65Iq9T4o8vZ713lx9WMrydqQZfh3H2noNhkIdpZqGm/t9OvB/EOmK
kkws9khjZgHnodJn3nqtTRyTp3QGXedsHu00sEwFgtuA8qwK6mJAlzYjXNvyj1rbr/lc8jkesQz0
BhoD844mUPlgKfrg7DLVJjijm9t1jj1qzEXCUxRSZVkISFxbCPoNhjlT4lxNS9sTZWDCt5q8vHUK
K/9kLDKxa6AiO9Vh7+oWXA+meePqb+MoloDiEASxMNrXru+yADRX+NL+Cv5FgZdVRgcHzCz2SzF0
X1rLNLwGAj0CXUCArb1WfVCuGa8DcQ/K4FHeW8bQBJGUKigPDPQffUpMjClVy9cVa/ykn6iQ7mK7
hzZXgduzRc9urFjJPuVj5NyNlRJvpmpKdV9Cqnkb4xQXVIxgdzQuoq8EiMX3RmmJq2wWNBQa0gG3
OESmISbvBGcnVMZenUXWS6FG1aanELur01h7KqfYunK5iTwl86rABYFG4O64p8nvbjxy4GpCyr3Z
ugRQKNj6eF0zGbflwvcCBpbdq+ZI+UMzjIZCOo/tJ2Mw0yGs3KG4YOn2q1DgZOwOCufSj8V3FlnY
uXlQrmj6JHXjbgSrpsEZJsm0pdJdMbFSOBr6S1ZWv+oE/hoPojdoDV1W8JxzM1SwOrevDOtoldF1
7yz7doYPkTS4kC2wjt9hSHAxlriS7zWZv/Z0/x4LuRuBGPhc4CJ6piXpII/0wINQNnSrgZ854Rmf
u86FN3jmY/H3MARhADCpJ3dg5yQMeicxEt2YF6qpHos2gGeY3gOrkANOV7INSjoh17CYtpfIDCcR
7zsNxP8OSo/wFP/CazxTLtLGMCP0D8flsA6+Sq2z67bljREY3vwz+ZlUgRvmexFyG6muLw7+0UdE
U/LPwc9kYhAXEYDU4mhszc+AP9PNepXexNfGLTlD184uOWQ3lGfJJbXmh8+M3BwtF8Zav81VS58K
6NrasQ1mKGSNX1+nu2YLlnJTh5bHMb8XX9vD+nTZEf3DB0arhrZLR+J7zlOZk0SMw6odF1unI/fT
rQ4Oxv10EC8QYgArf/+q78Y5zeh3UylFAMGNTjsmAn9dNSvflDl9pJL6+e8vDPvdMKef8W6YmL2w
LSbtaI9VdBgqJQ+lMLMLn+uj1XcSpzmQzRzsKc9maC9Wd5KxfizHt9J6c+Mff36GD1/Vuz9/Ngdz
yxwMkenH2tYPRdcwgPPszPYFOdqZA8r/rDN6RWDIkE2McyPiZapTOr3cHG7ExiAsHK7hptqffPdx
iriwX52ZKfw+GByZ99/FTurGXaV+LPb9vrjVKh8Igca+TvmL87HwTd/YcHHRn6J75fHPr/PDGf7u
Oc/4Lwq1YBfV+nFdgXaGsHYOWQY5lc3lz+OcWRn+/oxnU7wCiLZJND4ux2z0/nYQo4LqwiGwcNGN
/OX+zwNeerCzua6s4CVWrh8HeRfH3Kv7PDCxjbNm5T96Mk4BjKOwGDXPpaZ1yUpIFB1jNJD1eCd2
iBn2xdWy4QA4/n/YwZ0+yb9kcP/zJt+Nd3ryd6s4JZEl0hmvDexvztHcCGIFh9fTrt9/SS5m+364
nN+Ndrac1c5OZ8XFkjXjKqjDEZguLGjx4Zd6N8LZiub+nRQSZkL6XOx1Flu3na9cHJaXzxMmItZV
7cPNv3R4n5bUby8R0hnQAd2j31KSp7VxISAZxxIwtjHvXDfFKaUMac7fZLMdpLrpOfY3dApQOMtH
kVxyhTsVB38a/2w5aFLOdO6NY+50d0m8HKICA1pjoAV/0mCtoVlMm4l+z3+wKN499dmimKwTtYen
hmezyfJypxByUaVqQB/36c8jfVBfnmx2ka3b2klte1aDDUsOLFhaR62N1BeaD/Ix0+plg/x3BgJH
vOGrUy2DPw96+vlnL9XE18fA2AHTXYCdX1cGirQsMgb7CImvQOSS1jBBCtAYTcwXtuwPSpJfRjr7
fKq0iGi3LToBSvHm6DqxgLGdpwGwovhhpJF8bZPSDsr4YuLOB6vFxLoCtxaCTlHcnr1YIsrrUW8d
klBW2Apl3JFHqD0ZpRs6E5mcf36hHw1G2X5ylMGI8zcblTHVY2Mx3WPe6GFmf0vMJyCig3kpIu+j
t4lwnvKOHi+BzWd7DJIPQBfpHtXRgjC0bgyt2tL1hTBmay8yXh6TybzkzqydmKe/z5ZTUeeqAvbn
uas1aFSH6Nc5JnKEZ9ltuo6tGwK45nQHua7bOtK2NRbrXtOD3xrC4455Nc7Oo1Isx8jBEjeKb5fR
LtkX42t3eW5rImOqegPt3HeX763Qr4gsh8xyEszAQK9+1Kg48L45TNIMu4FAagypY/dzWrxWyje3
fa5P3NJqOUCzhA+VhrwMD9xrm7iqP44l8QTdpu1wziNNQhtbr6yNR6tPPyc5jZg635fz12js/dXU
fQhbPlogFKz1bZMkT0ur3JeN2PTzKXrKtDcav7LOLE+F0mnOup8U6q5ZKi9Lvqv1p0b7JKB4NK7w
c2mTqCvirYg1PynhvDt5OXl2K1HhzR434Bd7jfZN9sWIP0MA/NppaTjX8Y0WQTCZwcjNbA3opsOV
s0QwI7uawAfM9lmAb5VJcT2avOTOeatc3Ab7HpGlYTa7REOiX9Sgg+LByJ6KcdnZcroTpFDDDt6o
NMDIUt1ZFhY5sX1rl5aHao+umb1tIADGGDCYEZ+vLMVdFX2PaLBI2DOmIkIJAWid3WDusjBvv9tL
zpfT8vsor0AbGo+jIVRHO8yi5oYUt1uN+3g8PzbaTxtR5kKKgiL4paa50+LdLG5a+7VKeDxA1+rV
iuxNsrphq0qvba/t8aue/HTFgxJBvaVVWu86CL7JKn0neXXqb1wkoUnxwdX6rtGVMCW2uEXs4tW0
adZdToR4J50jzJigKWCpgoqOlXlbVsah7/WNu9aBlg1fCtwjfS68kRenzlb0yxaAO0QJMqmflWiv
yvp60Ds/xWohEB21ZS3vtfbVrlZ8p6JtLB7QIm8Riuz7Ito5J30raBsf4bOeaIFGiw3TSCrSud5r
KCdL8QbbOoyBp6wuO3bzg5N/HcC7NEcgaRjoYBkBaJDfotgzVHtv9UBSHKs1dhjGRFuEsydx0lAH
K22Gaw2QtaODWznPNFDDZDB9bCB2yakHhEzflyLyZ0R0XYHprSN2rRzuaMAFa0ZeqBXR7GiuURvs
oWJ5eJchJqizcbukauwvulMFuT7wyONabZIUvVekovRorG1hVRecWD86+diZXQ2FvkNI7RkskCUK
5jeFcpQqA05weZ/QFo+Ay00x0emyEoJycRz4D46+d6PaZ1kRiQDzq8foGGXuV7sR10o/HwsUJRcO
hI/uRQRr4/xmcSeCD3W2VWeY3ChtHN/3wRxofhk2N+n2W7WHdvJyEW748E2+G+usMIwmYVQz0pv8
Zxf2pzt/7Clv887140f2qeKTsRnvaaHdNheKw4/KiPfPePYFrbFAgyCRHirpXs12rpn6pbyUB3iW
tPFXGf/+TZ5H0S440dAlje/Vg4YTyWJ4wvHyw+l92tvYT7ttdlguv9OPTvR3z3bus2IqypoCEh+7
MNomfn5Yr/Kn3Lc8gL+g2WQHHJvC7sL7/PhRMSg8EbZ0OFtnNYsNcynR1fi+2Jf3eRjdxTfRhlYu
Uej1NvKNm+Imu1DoXhzydPi/uyTVETJXQ8T39kNOnM/gp9aGTTEoNv1OHIo69dhjcRK95NX94et9
96RnFWgEoTsysvieVqLuL5Yi0PrDf00X+vXoeR/+/fIMPOef7/WsCtW0BabwFN8vUxskuOnpPdfP
LEdZCRnoz0N9dH9Hq+VqjgqkA2n6bFFkkO07bU7u24A7mq9fwYzYYfVCMme/bVTvP/iA7DHCNk6b
KL4o53Om76q+GOPh/uQvSVIeBba9OcEw9EFabwrwn7jKN5eiBj/acXhGDUUQya6/DaoXcED02T5m
WpVsaB7uc328G5P5TsrmMxKcCz5i2ocl6CkcBFD1lEV29lKTfi26QnWOk7/qfkd4+nYg+nT9FD3K
N9qi6l1xVV2jtiD5Kt24aLzvkuOlbfY0Sc4vTQZNILyd8NsGxvh1pThG7zqoH46FyNXX1rarxxg2
4HLh4Lgwint2Ppl9kzuV6RwHTfToEbsyvYF0E114oR+PcgKJySQFiTk7nSK0jCxA9wja9GQk+qY5
8Y8uLIRfvQNP+/avE/NsZ1Fii/6O6O+L9U4VcGA6T4pP8fRAzPez2tpbVZMbHOKCC8P+PlX4NkgZ
IR8AR/5mI69r0oqxAXhM9u0+D8XLNPmQMz1SVjeoBy4tv7N9TGD8yUzgf1VL5XHPb9IlwgiBGuQh
6cWNnNP7XMHApa8Opjlccuw7E4M6p7GIuHIFD8cysMyzF4opVrRksf6Q8WSSkFOqpg2cay8JLyX9
nrds/hoK2i9VmcBq8nfn83gt7HI0HoxtdqeGjU9lene9RRN+VxxBDC5MlbPZ+NtoZ/WLbQ7I/gbj
wbXfYmpw9/Ofp8RpYb5buH//eWExLfCBc+hQ/Lpw53WB66EZD6fgSHnbErnLJf3Q7f48yocP8W6U
039/d5CO1pJpCPofBDnTQyKerLVJLrynv5qNf3qSM1gKAYkoFmE89J/r/byJd+1AlI8I8nB9yWM/
CeqdcbswJyRC6914n187Hny9W+lHF065s8rvt1d6WhbvHhbFHlR/fsjprprL677Yycm58LTnJ+nf
g2gn/2lAHJM5/+sgptI3tWHpDzMhHo5xlBxr9tPq197a3pUBMsd/M6T57xWm/WvE8yRTeI0yiU2d
ab9gaXRzOmOmO+kJ3+luTiPmL3+eMx8+Iki4ZQu2S5xdzx8RjjapCe4DV/V1U95rT3Pn2y/5tg2X
wEqoGC4dYuf13l8v9d2I5w7/vUMMjG5DYwvqvXlrHcaH5iYJAJGxHvJRvwUoJy9MlpM38m8L8P2Y
Z2Wtvhp9h7j9wX1o9+4Lr9JPiGXGguWR3mSo+NqDvV2R3tzUNzRLfQKiwuRxRHT0om7rABnQhTPi
o6WqI4YguMKgRDs3ekUlqsqxjB4QGKL7beNdZrpv/8mXtaHznrZqktTOnjlVF/RYInoQEHeb/tmi
k2/2ntZZ20UnpD3B08H6lpPAncgZZHLxtHS6tIA+fM53v0H7dQGho3aWhN8AtfNgpl5712Dg2G0i
TMeXRwLALybwfHAa0nkW1GckMWJ3frbTupm2Nrl0H2hCwz7Bcal9S+37HqOzv97u/+mA/guP+ncT
7Tcfgaf4q/z+9RcZ0Okf/NNCgFADjm2ioGCP/OX7+LcKSHP/wZ0EPQ/+0ZyDANT/FAHhXq6DKrmE
Y9k4wEIF+aeFgCLwEMDdmkJOUCKCUol/Rwdk/pWt86/ji0IJ71dDJbCGnZZsMffsnJ+I3ek0CyGJ
HZv2rps7Fw+0ZcDYojUM9cYywWrTBwyi1FvIlLAhRUfkYCdS4uMtbASSobm1sBs6anNR3i/4o7zC
kBvu8F3THqOhcfYjDKxQWXo3aJVyDFthpem2KwbtHrlxEip57h5EigeBLxq8Xrw0t/tnnNiBFMpi
GI7sDMJf8nU95LI2trVeVPeVKaKbFNW8Nw7GRDKhsLsigFw3Gf4M10zZJH1b7kt7wGMsa0X+kixD
DyExNtbmmsVSl1W4mh38qiOKGuhsIxlY/UpGqj3OzSOK0jGiioMPqgm/KvpmeegxWqmvUNEgohCi
FM7GyNs1yOa2uMXVGEZrNdetFxsTvgFxgRgR4ceCSHE07/VM9J/Y4sGMB9ep7tRWo4vUK0L9qjoK
rmDaija6n1Rj45pme1yG+pDxMTE0qdfXGUel3YS0GnlfMe8wR1Kw05N5OGlz/8r9B7uxaVCgZIm1
V762c7t8RwFoZng2KcrLWGBbp56Y/FVZK56b4gFqtukt08u8qZq+O8zqifgPmOlAUBaR3fl9ghlE
INOkxJRqnvBSK2qUzoROkKzhRYbVuEGCTN30TFcBQIuF+22U5pAF0MTxK6piMoi8OHOH3Yg8BUdC
ojEEkHA2v0m8fve5CbOt0yYCdBwUckEbw64Kq1jDonciFPEk3KwJB0Ms5F51Fd6Q21x3xuh10KL8
myjrJsyxqHM8Va5ifUAsopUJPLTZvi6WojzMJe0K/ATh4WEZQL1cTS8LhPXUX5Kx2Ft5L/qNDfiw
6TQ33ukNFoXq1GdHexaN8RwT8Y21G1ru1otiTX9eNJnfxiW+gLVlMqnsUq4R3HI9v25tUSIDqk6+
c+1caxipjpopA1Te5N9OcMraoGVBJ0Gu4JCOZmRZryelST8vnSWferRAm8hIshUW3wzXc2wELlZL
V+IkCLv2U5b3y6udResOn8j8pD0zplfcoyvsUueygLVfWf33GmNvEx2xQl6l4ST1K9YKSoXtzpp+
yfEfK721smMRlBJNIE0CWX2aGyG2ad+6i9/B0fezRq2eMQtUA1KOqqs0xRxUs0EveowMhZhPmSP2
vHhtvMoaOWpaH+SQOW8Tya2+XLGRxdws2zqTAuHWjU3cq7tpcj61mpbid4jtKSyoIml4TfnaoT6p
u2M6GBSqepa/iVqKuxmT1HJbzEr63en6CR2LK6Eujp01PmJpot0LQyfLLajlmuAt4sopHXp/5I6m
YzJR5A2WSXnsFj/jskHUiGeOtQ77GG3DhLgMmrKXTbod5Hijxp5sZfLJSleEBZ15cjnR1yXaom8E
YavH0W86REemNoDKx6fuFrzIJpR14jg7K8oxduMCvXzu3QbCON55dbOh54dDXYyrxHYdRvNmHnK7
3JqFzDeJqa5sbsXaOffmnBVyO8FmPuAGIb9xN0Hr56VuHlnbelqHdGfBZj2kErPgTdomytZY4uL7
MJR44E6whJM1neiVdWVxVPj8zyj5yy+4orS7qJ+bTw5rdtdN8XTdSPwTy1FjkS/ttB+NUU/81NFk
Ehp9Um4Q9vVhp+pNiI2E+hDFE6IicCQHQxiail9V/E58hw4i/T6RP2rqSwyJKKF/JZWHzHqBcvd9
busV2VAWP7pjRdZ5U1iooVs7eyzbNPq0KPlym7grUq1ac3+aepFfDQlsbDG4w5U9LOs9S1loYV+T
ZBTk6slcssRiNPG4aySCvpSJzwxxxYmvpUr07OJbGqazNX7LjKS/Qk4i86Cmu0uAKkR7T1rjcFcq
TOtJcYxdDYn2GmW+8Q3rlOwauQAmUmVfFAhaByZjMsvhi8DlX4Rqn8JOV7V1i3iJVQ55lo6amuon
l8RkaX+qfOf7TNTdl2Gumh3O0iOrMFKtu5Td6W3tTMuvnGU9JKmlBkaJ3yxHCZck7Oi+rn0S0Jua
PaTd0m9LY3quFZSLV70mhzBSk+VHCxH94BamlJveSVWvTsz+E90z535U58qAcwsTF0GA4ky+qHGV
pVnWLz9TiyjJjp0vT4aXSMEDaPS7FvVWjWngVKJYsXESGep8+ppXan43z0l229jNsyPhU9vMkbsY
/d/GHTP7eVjH/CE17TEYZhdr2cjo5MOsKZjbjPbIV+P81oY2xcBCjw/tnMXPOogF2tMye0PyXr3E
TskL03BF8PPaiPaZhcJVIFD0Vgj8V3oi3YSEVBxDynzIN/XgtmE0rOW2NIvWWxwXdH/ELQ0QFWI0
3n1+P8xDGFs21zDLpKFWZHj5xKyWHh1ToMUu+t10cMJBKa3gRJmnn+laT5ZY1jBngw2cU1s0NaIp
7Htn9mtR98FitcaVvqgI+JARBUtpyo3b1UOgDa6Jg9u07KpYrsHaadVNhjPNvls15XayMjVM6+Zb
nivSV6oRawSlzMNZSzI/H+rhoKaW+KxhlH7vRG7ReXO2qF/aNenv1nnqdlFms3drdoU/81JbxjFC
WfYges3YWSzzxx5NSvS1UNXpKupzJ/8x8D1Hr+SURok9iWEDT7GAi59o8stUO9jm9VWyQwocHU3m
wxG0G49YrJY3Bb52t30iug36uOiOSblAtF0wLPbzedZSHCdLBLvsDz6izHqnaQP6zxxxJYznZltM
UXI9WhxdrnT6tymZ2RtX203Ufd1OjrZpM3X6MQvUDWyhmpxQJU5kdAyisPxxsMtvdc7rAR8RrwPu
GNjdGfzuJYda1hljiCl4K/0iQY4TZmajflm0CNdi7ivGdWLbQ4UDxlDd6LVQUf3N0xGwxeJcTyl0
0FHoMOG1zkhwCCax+SpKavv5v8k7r/W2laZLXxG+QQ6HwxxFSZQsySd4rG0bOWdc/bxoaouSdvj+
mdM5gdHV1Q2TIoDuqlVrQXeg/KSeyrhhyaeAC8z6xwpU8JySDWs/gvq8M3X0WbSJd4Rqg0I6UaWX
/y4pip7r8FyYVNuywP3/b3uU8vBDCurjTsfS2b/+r4+iUm9iUTc/EsSi/vfvMvjj09ZIDLhsjQz9
P+iKmqx62XZonBLwfiNIUI3/kKFlk8M2yEYLacrkvhEkaBZdskpcxlZUfCy63ujVqGf5D9y6MvIS
tg7bFGHF/6u90ecQCaxuZG+IcE3zoY0h29NW/kNAzbWoebMC6hpHKFluU2jCDvU4fK/LKEZPKDJ2
veUVJ891jPMQqNJiiKGB6pXeOAvfIei+t1NLmCZ/CH88eD36/LbsxMtwPBdBqD1OS+owLN5aQWJd
WjB21xQ2ay+Dlvlnnhak/TxTW/u67J9jSUlPvhRtYkQEzsIjcxNtnk8eKpVtt0Pm1NI5pX6HauOB
17tS34ozSnuaW68xP9quvdezVC+by4ir7XKW9NsPP4vby37zU9XDFIX4sA21+AkQmoDxwoDODtXU
L9tQy9OjvEWAzNSg9yrK6iQOpsQrw+2qeH21GdSLnUQH1NpvHcJ2HXHtCGJdOVp9ohavbdW8qFUL
zRj0AUvNl9VH0exi9h2aUWuPvpnVK5af7pK/k/ao5zpADwpC7vpI9VZB6xaQmtrqI78ZaJ6cMXya
eMWRsW+ejVDrNr1blysZSozvA7VF1JJrj//+LYnMxadvCZK/iUBQBsBA4ODrtxT1eatncffaNWkD
7Rj6eaxN5Gil+qU9o0Iso3YoqrSF35nRCorTo0J59BzWLnc/BlVxzvPqwdO14Tti5dSNTfZMkvJz
p3mLNoZvOn2Nxm74brAIXDVRmIH20Z1nPfpDmKmRGVZJaaOtM5S996OKq5M6pgbMF447S2qzks7/
5RN/jl5xD05CJ2CT4fzmI3NPf74HzTIJYaq3XsPBDJ+Mosvn5A36oyrXbJJ7mO5bLxu+e7Kcz2M5
Gfe+nJkR/5/8ux3kw5Y9MLoWtQ2OS7SpJURJwTZgCa9YDBOUgLqcM7lVnZ0UctZPNsmDk5z4i0xx
p3SgxDq9gYvAPwdjj9zrRG/QIFFIVazugP/6s7e38najW9b9v38HIuD8+a8O7ABNYYuHGrW8+pfv
ILL1iN2h/gPaMvtoZ91U9B9Wa0fxB+oXM6M6QQ8wQvVvl+vM8KplFlPRR7nbMs8086cfV7+7GCKU
BC0VhKw0eSeXknkjmb6/KHvH+v7uqrvNxVViF7GivBfKBj9QzG+WUtu7rOq04lXyqmgWSKGx80xZ
3qZmZexYVshbCtSMXRo52LpiHWYV660mGJ5jnyoyz5HOlpm6N8oAnbewDzJVdS3EVZt3N1vppHNv
jf+t3Ek8qq9foUUplSFPSlTUVRECBXPw+Wfk1W2E2h7c4QYoQt23H/JGzm502B2VGeW22Y0RuNF2
6hAt1onZTdv4r2nXu4ekG4+t5Jo/O7+5l4eweIorv+G/bmUA5Eb/WKXsiQgbVM+Tq9c01tVVjo0Y
vux1VGbgvqbHR5JKEN/EnbLxeJBvaz9DeURSjk2SVbfy9OQpExnCxbG6Fc+hnJboy6mYvgvi6ikm
ZnOy3cHY+4kTAPQz+++gVCi4jJI/DGm6Fz57yG7sH/R4hBTTUx4iJ3Fe21R7qCE4fX23fDphRxXv
eidv1h1/L+ozzZ+K15dExOPm7MEsvLamQmLS8vFtATP0nCpY5fWffB2/ex4yOOzdkQrzeVp5/+0v
LHIkH//CADugBQMNO1W8sO36kqPnBw3TWuBQ8eqoSz9xYy4WFNt8tMuTYzcRoiOj/5KW9s2gZO4v
dGHWnduHP6A2YB9fmLBEjOrboKZIqxMV2RG7NT8QgzIbYRdKtKFDrpV74OCEnCRT3Qe9HS8k/hbf
B+yDTSjKapNywzOrmatFQ/BMLo2dbPWEDrN20Q+eSWWALN8jyZhZN9SE20dZS9hyN+7G0rpvslVm
LF397GaYzkTzc6ewt4M3//fnDJGSTy9hi9QLgWjF4CvkBaMoX1W8UeWCbs4GUYzGNrXQVM8bW38K
ze48a3iFH9BcZ5rM/f7edNLc28mh/+ApfvycJS4EKdH43Y0VKs0J+2xaX46eFXj1s0Idvtvv9n6y
j3/av/hHKIwIf8gZk5WWuJAIqEp0Nm3p7PVw+pha458RC1OPkAbd6lNLmIokC+ZfPOo0uJV7Bwzz
mFXB3II0e1MSVriOF0NLGE/OwuM63jd69ViX7kn4f7mCbLbesSi7B7gWuLwDBDRDJXknlmJmkZQH
vZNfwoFI8/zvet8XdrVfdhspByYqrqDXVrO0Bn9YimYLIP9egpxKYZ6xUZpl1yMIc+nTTPfeXohz
X0KZJ2WPtM0jqv+Jw8uPoTcihZ40+qHtkn5PZ7kyQemevRKMayWZzs+UjVzfub++DCq7CPaOwun2
ZYe2Te2V0pkKj7dBLpSEhvc2SIuCnruf/68yPbsSakCGXOvPkGaojyUF+ddWTUsLS/qm5dbkKVpi
3ORpTH3jX2eB+Bokudt9GWdA6XP77/fAl3etTa4FnBjZQXAqKrB688uLwk81iilTImmsmyDz77dD
J/VLyCnH713kLlHC1r9JedxvnT4elmItNfxpv/oLe5xJy9TN9G9DCHMUJGS82xLq3Q/R6FWnXLKa
WREhEQKEuvGXbgWvhz3Ad2CVegeIvoW+KLL674IPqWnIeRD2OniZLCPg0ijA1mWIUFBhzbU2RUnC
9o5dJ62E6YN90HgbQNS6ikgn2ezdY/+IOutauPQWYYV//wbVzyu2Cc5Bvsyh4oIvkCUqHNefdk2e
JA8oj4UxIPHiRqzJgWBXJ7FEh/vnnEVduhN21ir1ydFKODASUy9e9VhR5lbt+0c0EfyjOLsc9PKb
F8f+5ovdkzUUHibfLKmgSxEbnoEQpCkv//1TifTz9fXCVpOcGygVXiyWw79fXy9ogzam6yABevk7
mlb4m2jz8EyGY1x4padtG7sfnm1ijnVX2I+JCTyBeDO5ZFkanknxIUlQ4JbHifNQJwbqvt2OQnb1
xigc/2wHVrhBjqOdQxLGs6pohktvMq07WzmINmWEJJ7r/5Y6MwWz5VMKAYKB4GxXQ0XiqrQNoqZL
6FrI5Cetu5DrWr4TZ1kXKXfxkLsIPelvtmvv9Uz4ZQWKBpfFnhKix1d76oNay9k54Ce9j4qSZSPZ
8e+T3YFN7dyj2oHmUjmzKfE+dk5PWIBtrVH4yrHV5N/51LKm1tRXua32iLZ4uoSJ4LFujeRGHgdU
quJueO7JTi2hYEC/aGqaPixu0WA9XN3EYjGSM9Y9fvbftETNCQLw8e+smVT+IlbKxl8G/vF1h+Xw
BI9CW9JmBaUpG588BBQavnHOMtM4K2m4siG3uhUmFdq3BYrvyVp0lp1v7sUAQDLGWRxs6A8vA3RD
Wl5+5XVe5IdWhZzZ4L1ZQyf1qKbxrFJtYP/QXhFqo4RoachtCazxe2h34a0bWOUdP5ESeuKL5dKY
LPhUdhzeXiyW9/OyD2vqMjxIlV+ux45MoXjGiqYyNcXDWTRVZAcvvV5uFmvRe3X+x7GdZf03NWWx
j/n83Rs2SgeUHgCAtMFlfX5yqEGkVwVCP0gpD/wBcm3byoO6v/y0yR9UJ0RXLjY9zqsTMjxsgN5t
woPbsTqJ3ml8WZvaokoS0tFjZ1GJYoVP4syzSAk7WkWkpc+ii+3aez0DUctKG5WgGZDNYCl+9rqU
bMkoqo9sAJKdzU/kYueNsIXOkN+2sIdyAPW7M3z/7I/MQMBrwfsvheuKDkzmy2+XYkUdMgdDAwE8
/Xi/PHmTwZIDqzbVGaF6BKnyiSC2s/xXpTiiApL8UerQLslOXNwYrW8cbN6ocGEXwavuHVPdU16q
wl75jlnOyAOmP5EhmyVKZvwu/fBuNIzsRYcfZc5L0b61nYb6MqvOdwFqzBC1180yIpj7kIxaSdBE
uww39Uz/LfvxHaHf/KXqDXUOe41zO1rqJkLxcsY6sz+Kg5eVPdWrQ4Teoxzv44CyeGGDterNxU/T
/M+lqddX0YcX9OcXbje9uMULOooUbRvnjjJzRgMkNOTeK6VOsznJyeHW1TmgGhaedLKDwkOYRGca
yBnaQhI6itNQ0XEd7xpS6s5iZBdO1IMSpVa9G0culw387ux94dISUT+3KqTbYVCR/ovfAoFhlaQz
yBmavbDV0MOv5dx9G5CGEjsRBojhZgUXfgWg1kEe0xzLdWUN5GabiSNblxeyUYP1m87sNsufDGsg
TTsQ22CvmlmIXFHlWd0Pgx+wvrStjV1qQEXlhhw4/PM/NWCJ7B1/ktr86EqZTLiCbJpVPhiNpgmR
DZx+PmOXnaoyGL6h1eWu4JPMtn/jAfQWzv2OVyXUeEP8o9Qt9js+N0lDKtGeod+gnGR/5cl+ehsr
FRXu05lw6wvujYublbnySW4AwJU73UzzXQ+nNNXOqd0dxcGsk3bXkQCCkvLPDtuIzd3b1zVSVERO
om94ajTqsGPDdytHGg+Mug7gqA69P5K0NubkFzoyCS3iPyQv39pieZJG3k+TbMYW7eBxH9q8dMX/
ecj5GEY5AmwPVW3ttiPrqrwuxj3KhzfiI8HMntyiSWevchEzaXzJXcGotq4oGzj4aeichqhxTil4
iB1kSU/CdLVTkijNuxSi/KtNnLVF8bdz5LX6lFixYs10s/1heVGxJs1OfOD9QIDy1IC9IcVWpuTY
RvetNzN7u1oJR3kyip7S4WvTbXMdJkYCoWPUait4kdjiBBCX8b4y1xK6PuDGdbgim37TAN05i4Oi
BurFQzSroqmOsrWqGyM6ZF73doCU8mMzHpLoIFxgNHtuua3Wwvdqvw692ka4+FoEZ21rXjutxi8O
1l/v0Hp9dkNg6yEEkrFNCiu7CbWk0KZg10OBgtE26ewzBEOIjeiOdxSH8P2skINgy/r2Yo/ghrqc
CTfR7CeRpc4Ls7mhZ9bRiuFZgd8fctKqcZcem829aF06hA+avvoSIQh4gwLHOlLRUI8QTE1DxCG1
WfW0yWWcHiFOVTuBtszLRDvkkbptEqm/FQdk74bbckge01xxduPUEnYDtAIVjSRMr76F32mHbmRx
+j5cnBVmdhkOZWG7UXyyhWlPMaGE0hfp18b4FlZuuklDQFuiiap6uHRTVVqLZu54EM/zrNqL5hDm
txA9mrfApYgVnsosH78FY53ceQ5hjGm+xI/yD9N3uppugi51FiheGt/IbYRLE6rUzXV6eG3cPRna
4mR1/a+kT5YJm87nyiY5H7S8fmCusp86qQOHHMo/VEuFysjT/YMUAaBKMjQZnVgZf6AllsxiaPPv
BqNz91bc1QvRMU0pEYp6TmN3XBuoB1ymJKy6FA4GAdVFNTb+IRmj6jKl7pN3D4b0ex6Ody48rd/i
rkvWpj66m9Hx43PaUuIsnpefPfTJw7OJYlw94Bm4q4M4+Kb2WrL+f/N4v8p1jgy41pYleTs3x+7g
8EN6tlrL2xIDsBeiWRjwkY06tPke8B6ks7aVU2Xwy1VsWlpXngmvAcWCZZPz9rC9Mnyus/AByEp2
Z5Htup+mFoMpGPc/TF07aTTX2eUcqGcJnnswhZ+nnqg7kZyLXln9Lzt0g/2ZLD25Lo/b2Whopya1
qh8qj2+WZlb6zUELbZFWfFM5asmrLHHGoxGQntehn9xVDn8d1QRM00CpeQpSC/oLs4sftD7hLdej
PJoW1Q/DzgbWMx+uR+oRvbJIMz5cjwLy7JsJkenlehlcjCsD3OFRlyJzA3MJhfSJsSYPF56UQMkW
Fi+BZxgsiYASQsnUYTUUAxXTcVTOk4FvqpG5Y6rG7rZiUCC1HwY5mSf9iqEbN/TwbVAap2+D0Pzs
twgbhQhDMkhGPvw5ierLlYhaXwZFFjXj4krAw/5ypcA9R5SRwD7gZCdt6PqXQkP3RKnDn4FGLKdO
q+EeeE+/6T0bTs/eKs/gKNOZVbnBT0jZ142qji/BYKOmiBD4ofENJCQllo3mQDQPlrbLbJQnk44C
dHLfKUW/kTvZowY7rc7jNFtuBvahq/SyXutuAoislEqonefJKCcvKWJ6a0WKgrVYwhXjUu1q5yWL
rS9mqZLsvzFfvYFl8kGnQA1Syfo0yV/nHtnd/41ZTJL/T/8n5uipCxvNrZ0Ycr1uNv7rdau20tZI
JwXrvMnZPRvLf/tMYu5x+mKCKWH3yft6ST6q+Exi7to3+0XfqFtFUiNUnHSnisDcNtpGbuTCP1iD
Uz0oXgflZuB+gyKw3matLF+iWBr2hCLsD3bx31SDflmQXPkGQq25+PetOz5Ar3GLHmiEaCqZgZqH
bdF0j40aJUs7iOzjQGneVrf5JcB2Wd9aYevM01pXnrvMfyCEpP/+c3Rh5ykEBX73WOTdX0ZPNSiz
EojnckCmYwvRZ7yxs1K6NWKVjxhD2TBow1rcgX7uoBFj+i9h3UcLWILJjMVtQY5qiDfGoEq35EU+
DJKhsl1CZg1+WI7r+6FABJQKgVt4NOt7RFnNLdRmDdmqmoL7zHIIv2SlthbOfzOC14K5jX1Cq1YO
wgx20+AwNuCbYGArt16q+o8VfAzi3aLA5Az+V4pvCIJJN6kNtFp0pHnw2DR18BDZg7eDhBvN9On9
lvsLOZD8H18mBOt8Ev1iQkJy8U0xoo8eWjXK3q3Zw4IRkPzo255khkuMqcu1RyDVb83qc1P0dlMv
/Njhpq3UN+d6akKqocwLglbsJFoQjiHg4K7yzHM5Nt5djBaEFMrGWZiKuktnMXKveyBzxvmfBgyW
Iu2KrIceBOnkO3tQ0JIi6zbLXZnMrWgbKuJePdDZO2cKeGgdelPCBj0PPub7GNEtHIFbv80DiEua
1WXvLgczVg4J5LLIzk2nY2zLcNtryVJPWDh/6I5HdXxzQh4D2lI5VleWfrBExlXsKRLW+zeYRPo1
Q30MWdfJNATHS0t0/OnVo1OEhG1V7POhju7VpIbGLhmfMy+B7FBmn5PoOtFDVQIl1sq3wmtM4W6f
zFcvzSuH5zYLfgAzlG9VXoj3PV7CDKVIuQ78Bqq3adDk1dWRfCu1trTpm5Gn1qYoikMSj+5ebhqk
uBCenBmd7e7FQXQMdixdmsKmm5FVfvCpjQyYekKM4YujNU2DkHaCeEZu7BWl3fteP7I8z5J7S8qO
MeuTp86poOpHCmAhmpGdh4vejPydmkTa078NUgOUE7pkOEb9GB77wnHndq74r05AdjVSm+dmLN1V
Y0byJmys+hGKv5NwGEodLDXqPScxUm90dw7jcfBaBdGHkYPsF/DYa8PMqoebonC7g2kS0pu7Q3eT
9H1/0ICYr4wYmmNgAzGIAdOai/ujnprq1BR3T6Iob73i3hK9PtH+S+91bFonErIafneDStvvog7J
HBotLD6l3qyLIhsfOyV+aKaU7rvDAFRq01lhzkdIdDjWDXNrIhp7Mqk0mHc98lggrmbEP6yfhdyi
YR+U5lnqWaFefdUa7SaE4TNgJBZA8L5csKDLt242FvdJ+ouy2aSch7GJjnYaVjsRiegzrdqEPin0
S1zjr75AABNEAUIwddNmQ2xM0A+IFy4FIEvCfcRLyIoh3V5nz1cXcVYq1rqhypo895/bHDHU6xgq
NjwXN+AEO7vVbqqyngG/Ve7b6VC5GrWwCUGJqHLliw0gdEva6E5YjLY21how3LnwFzat6l4LudP2
olUYpX2I0/wsWuKQoiACqNhwVtdB2bix/di9ExZIrt5mhRl6rrshz6fI0M8LgQgTX1NSEwyxBomq
5yn+Q/ig3FZ6AAXyhAu7eItTMUR4uxXvCmELbbfYNpO3QJEBWDbOl7CQaFutGsz/0Ru95ezohMFj
obzUeqfedpkNOFTKnEOQFSfR0ka+IMsOnTVqNuk8bCULVqXYyxauTl1EiYzenXDUA/mXHmnWTowQ
9jb8fp22SiX7MJbZ6Tok9RV73UG8/nHaNjDWo46ac+Ko6ckbJMh8ujh9MqryFZVf/Xe6DQNj+J3m
5U/SzPa3JpSGRQlg+2RZbGDarrI2YizExu0iSPTkKTKyV5LlBmMjKEt++LAJrfIiq++RH6zvizLV
NtBcQfc92cShmQjCZTMBGT7Z5M6u7lfCW7QpUtI2vDXfhsReLe/VuI6g/YHtr9v7tnkw8xyGv4bP
qBe2u6ypZn52k9YjWNcbpyDrvXOIGxUswzPhIpviQtVdllLRI2ZDEYbCj3pZ9769uLznRLuc2pd3
mg2If5lJ7GYuTyElSNMZouTQA5VhNRevIPGGMSb4j1rlwUp0XG3CRXTkWvo2QjgLl1Fvg1XsTbp2
MtliLbXlHXix4NxHkIj12kTbP0V0cm6Fo1ENN76eEDW99pL01udv34qtJvkxQyvj2NtJsdCRMJ8b
htQdDXNEOnA6A7Q5SUklfUEQpnDB5Wfxpk3Y3g06FdGxNYDSd/fS1BKm6+Fq8wIFuiXRg3TeuGkk
ey9aVxfRDKesKEiqdCFFwIThOSZAB4VncGoz9LB9L19CbQZqPKH0QTiLQzLBt9vOv/FIc8V3GtJt
s74qn1zkm/bi0PeBubd6H741IPbuWk+0m7x0o2Z77fb0xK1Wwag+WGkGNXupnXQgBFvCaJPubA8M
KonZFE3IrLSI5gFisK9RVstzO/TffHnPheukjd98+zK3F3GbOUsHUUAk7RP/KM60urgzwC1vriZh
/+JWNQQvDL/ghkHBQiRHOnJXlzRJog5U16WuvLykU0R3jpgXxS26vLw6Xju6yZtSlHGDIK5M1C0I
neQhkmA6gQEyPjWs2c9e6O26KSWK9ECx0Yh0LkXCNJncysnNR2ZFuIVgt2dSLcsHgWSoc+voI2Vz
I3AdnS+PG6JnyQUdIZAY7x52SVHJJSNbuCblWGJ1p6H/5ZfGuBVLustiLk8d1n1iySeskw/oK3kr
TLAxSou39JzetysUguB4Qwrhj6QxuU8i69lVWhNFyVLdxVrN1sdFyKLqCsLiqbGKPF8/jRH87l2M
GhhIVmNvjEm5p4ImXA+mld7ZETcMulzNs6faT6OmeR489jMkBisKf8rmoSyH8EVTkp4vvjXutDJ8
myjQ2reJ6pTwAHHtt4nGQHpSC3AeaemlM4qC+oZ9u5rpLAQQB0EHUCtZlAE43pZG5z0Mvv4UEsF/
VW3SCgMsYLf6aHsHq2BzEE8dGlgvlpb+d60OkpWjKwS/I+cyMlNs/xX557eRFGB5h96iPoq19hLt
sWpX1L53qyDRPhcxhvJA6b7zRzpaKG/5lnoKHW3cyb4Ki1mu9N+kMD4LRx7HD23i8zAYjXoVWE61
a7pSOqld8zZVgDzMX6cKdGnd9o40E3sxsWmTeetZyQSfmzZ0flgNB0pwHkSfMBUqWAt2KsrynwZZ
adhtQEIdwEz+aHKLYsiRevE8JehVanX60KBxhoymoyBV4acP+lCNq9QmIix64cL2jqPuvYpOcWgS
b+ZF5FJEq58WVir1wDtN05uZ2yCK3XWhudM1yjrFgj9ACw3wRxEfbL8bnqwImCG7BYmn1levBK3W
gzUGw1PVHMRgMZdmSe5c7APEXASxrnOJ3UJYVebOyz1Qw2U4F7jEriUgUMShdlmpDp+b116xrL02
xaLXQB3tMlYsia9NrXXbndqVSFlzry77MW43VMMUL04qzwYnjJ9kj3KwLqK4FYnW4qXpoVgGjGnd
+MEU3o+Hs7CL4UFZt5t2Gj4AeBXDPV+L9lE2Uhtr1dLeVNBmaEhiznQXdV2V1/9j9bmpJIY5Q983
3XNLq5fea/N/OhYdMO3xOlWrtOld1Eo7yhJTClwq72S4lXNGh2Rb+BooWGoCNpVMskk0i4T49NVt
kqT74pZNo8RsZay9zTa5CXs6zQZKpVsa0xLj6haUI9mWsT4GaMgs+7Zx0bPRyztZYXnquk66RO3J
XSBzzs5ZtFnju+zb2+pOOAobpUkuvIwJ+58v8wjHNtL/Os/1Wl/mGaZLZ3wjyzRrlYWVjMXeabS9
gP+ITJs42Ll9sQu4kDAJzNC7/xVGJDrf7Z3OSxshPIZbTHutBbhOW4UGl4snhMyERRJDJ9v1Ktcp
J/s/zXHxSi0mcqaP8T6Hi1D32wtE0yojOsrpXtztLsGKkxHa28uTxIyrverr/amZHh21rejzNmdn
JXwlE8bMzqCgVzxJ3odKbTBVZBv1ZSiqyBaVwqVF6OrXmAfSa51SziWXTXWbeEWzLZqmR8qxSM+o
MFG1OqWDcSXK8tE1NfwGceQKTatM6hANlKMt1cXjScoif6G3VvlCavOYZL37y9OGTQILy/fY0fu5
Ko3abdME5UYMktxIPoE78C6DjIyKC4nQdkTB4KDbxne0kPq5PA2ywqLcSHr18Up+X5cv0yBxJb/s
N0bV/P2VRlXWjxa3upGp7J2h7nzuSgDQVO1qm5A14XPXdje6DFiOJIBCbbFxJ8xyMxab1kFZD/X2
4LnJMmOm+oV/jBSiEmDghFekO90hyokXial7WQtQsGab8D61U5nZfZ/FH6Y2QqvYWP5QUTba3KhQ
HJyTQP2dj3l3q6NZcFsN8i/xBBt9g5r5yFa3ogkUou+gWh49c6s4k/IXap8v01i3cdtbpScOZBn9
L2GWTDJxYmxj+zcRYLHdFSiXubG+t1AAvSLmnAlFd22KszhtL24uWpXs1H3VXHtelt2AN9p4DUAR
LwDK6QwsgR1bQcVMJ7vgRABEglDduVEvf2sMkyJbuR3Xja0lT9NI4SBGelXyNrKbRvIL9HZ8FBBx
TlduldG3ZpdtBDKuZxnyhaPIIYtetZnqGactB8Le0u5tZ0E9fr+NUZI8BlJD3XkpJytPAJLbuhyo
ffDTFdzM4x41OVKYrBWf9Vg+RBNc3RzgZALG8ITMVA8leR+yXInSo1uzq3p37Sdcf1+r56iW+YO5
8UEA7nxSc4S9Cn0r0HmFVcmHqqufRKc4dI6HR2bp29416nt7gjFeNg55FN/4DXsubwIGiFermbfB
/tqEoC/c56pmz8TLU/SyqESUj+2FSZYqH5ubsMt5RA/6sOydrLnh+cnTeOpFTL3+0Cz9Ml1WlJg3
1lqBH3ifpE19r6MzRElPJa8CL52i1xna0zCIndo6YGscakBsFOuXaIkB48h+SW4QyRO2fnJLGGRn
5IEVuCpauX2MmrKiRjJ9OyvfbaK3DPjQVz/RS0khStl/5zfwAnMbdTEUxtKMQF4vxLbF8NEjnk15
tN3U49YNtVRif9PUprsqUximosxjMc+iWzkoDSTirNapz5qaGSw42QKVPPqFQY4clCin/jDo0Irz
FUTN3zFiYk8DJqIafONGmHuBo6Q44GoSuLI/PZvJM3clZx0qUEo4M1Ld7eXal6tGboa2bn8UV7+Y
4lKTDx/af7qE8sSoMATLvDfkrRFL2pOau0cIgYN7QsHafRy6u2SKm1ZRGe2SiQBEePW9Uyz+ZtBo
jNq9SkDdloNuXyFcFx2z0Gm3jdn0x246WEPVzSMbrnLJiPqjOIQIjF3ORFO4IHdszrswWFTleIMQ
eX+wSqW8E4fJJHdGdwhMr7rju0U4E1PrtN3h8jOtu57qBXhQch8aBanWtSc5lfYBoNJ71dTyez01
YfnFXOc1j7+kYDfuxOBgmjBe+DDhb98HlbXX3btlW9zzeS6DEChF53GqztOk6l4cOlP9w3Q9yAAm
U9oPNs9i4IxTq+jL+t6Dx2EVh1Bx/NMgpS7lDQumkxRbv4wuL14MNqsLVnDaFgH64uW+RAr+Rc+Q
sUPux1p0g5W/1E75W43R0KqidLyNav3D0AH4xVZ4fRiqUBjilkp1QyqimoeW5K/Ej0scxG/wS4ew
iR8hjO8fR1w27GF3oxqZf5npCwbyy0yXAddZrjfCl+nhL+gioh4oj5WH66EIfVSIp4OwqW0OUiJR
u5noKPiV1ZfTq49j+9qyKXpnplc5gQZSvatCbUFQFYpmHrMmXUC/AyHJJQ5jRAryoPjEUwxH2Eb2
jsJPN6C+sOHM8nJuvD+8SZtVzotxVfk84OK+rQ+pK/FSmlJWBB66HjL6vkzDBZD0WF63rtHu/gwW
UN0S5WOCrEqo7n2FKo1FWuoJ6pO9wu9UK52nPo8pRtB0sHdePh4y0/9j7LPyRx9Lr+JksvSTZTrx
fLO4nABUO10u03teNIfMN7mpqhoOpKxwHpMBgVpo0KtfFrmZKQ/aBfm3WPKzZ1XvINDTw+B2KuXc
VOGgbK+jg9KxUSL+c3Tg3YnRcF0fjTQ+RDC9rtGbpFiHbOdvJzW7tbjjxT2tAaXYRR3ED5EU3Y9x
AasSXxF6nuU66Z16JWIzkZL9cAC73arISAsvYRZeMnINK+qTVgMqe0tpJDK+401AbmVqD2ZiwGuL
3J1uVsu4stJnKE432lAmsCQM8qzQ1PQOyGq+K/QyXL17NKNJyZpaw9fT3Dp9254jTYJcORmiPX+Q
+Gh1Xb70EaSAkmf42VS5+2uQn+O+zn/KrONnLALbsyTp8oqvJt43bRMfO/TcL2O65hT4Q7aK5RI2
v65j4e6rXXWSDBlyvckYTs1eh5jdDMJwQUgZpY9SQY2CCBbEDq7ZqdugcKKDDNY9WkB0MQkKGBC1
8VxfxZnzy44NYyX5Ujgz0rr11tcqhWuPKFXQrJJ3mx1KcwnY4V5ilmHWqvaxU8vm8pAWfy1n5KqL
ng5YmMuVNhoPVZPnT55RZEsYef3NpTmi2QBbjXSMQzt7itjNQ1ElP6ody04oMc7NNMgka/l/iPuu
Hrd1bu1fREC93LqXsae33AhJJpGoTlGiyq//Hi7NHk+y8+a8H3CAczGGWUV4bIlc6ykHSGqESxrk
A8Y5z0GtqkXQiuag1tz96Q29v+pauFxSRhbQkA7CW9mPORD9UaRGSrhyO1MHFhU/5lB2IaaOir8N
KGEW2zR+f2umffkQOO46Fwm7cay0fBBSgZqI5Px+LiamAW+9vsKjwC4efPByz8CT3g4VsEHLj6E0
UVI070ONQBUH5kbjErcaectiMEsrRLIXCu6et61+EZLDDaDBFfFsoicr8ArNKfWh0+Xr5y+If3Kj
DMY21CqsAFJWWQ1CnmNlz/9hkFQA/vaRuxy6Ap5QH0hIGFvWUereUc0AbTgE6NBh3gNHP2F67t7R
DpjauJSfB+M+R4PnqPzH4NIc5L4C9GGGtto2bN3A9bqncD+9UHyf6kXG7uZkdBVn7TXHz/ug6y7d
oA8zbQOotC2hhPTadoZ/nRvW8BRXQC3hu9MapXUOcgU+mf6GJVEy7ewUdtfUaiOdtMITQu2p9WMK
6aTjU662VEtTNDWOmTTGAo0G6Qa3Wwye1W8I9FMgA6GTaS8Ztva7AIC6DeF4dD32lJ/rqT+eCL/3
/6iHL7D7UnzMQ/UcBhiwLnYf5ghv33hQTzd7pG2QANjQBp2KhTu1G9qRY+vw3krhLEMXle5MrZex
FAqj1t/G9gl0NRUylVZubkNHguOpoyAUGUmVhdvkv6qQjA9Ocwfe1leDUUJNC8Y8wOfBc7K/mmA7
POPyVACPkq7NnR21Jm13Zk1f32FTYdx6VXhL6D3ZjWJnFLZcE3rPgp3PQgELDg6OYT1jasLnwSr4
X1O3QwiEh4b86amNKfs0ddzlLR6H3Mdp1A82E3MAi455uKms7v1dnOA+7AcTW9ZeBzGCmVEdp8es
t9Rh5lwjDzJsQJwHHhxHipVgfbOjaBy0QaH4U9fNbg7d6dZL0TaAOqt62Mn54CzQS2ry5OR1kMNa
9HB8RdgUXqpUOXBEchfUaeqg+WXIwD16E5+/dHmLU6EtC5ghy8R++qi3nPwuCyCnYMNJ94Btnv2A
uDXiG0H5FZkraxmpEAy6gHs3eRKLhQ3Foa+eAb/UWuHI7yWjOAV+AmNc3dCXwy1QxxL3G6M62ILV
6yJqMRPY2rUwLLCiU3OLjHy3hV8zf80ryPzoDo5g3fqyBER+AbPGhA4DBYOWYGWdd9O7AYTY9ICp
DiDmrZdgM19ArQhMNGrQSwCIC8gvYO2VUTkbkMnDFf0yBtc+tBUXj22BMK2a+Ht9j11E35v1IxRZ
1eHS/9f6MQ6BJ9WIO/XPPCPioHP/P9T/Oj9d99Kf1vPr/HRdAqF91KclmOeIKW8ziTxLomR+m0YB
W0ro5z1P4wjpIMvzv0/puO7lwBP4CwdLx5+sN2YilBIV7jNCcPbSVEixjAK/9y6NrCsEapJDWaUw
Fa7ZcC6ZX61LF0RZ7Mhwuxqz5kubqVuz8iFs540LliaYO3KTc51X2ddcVPaCVbX1AOhUtFKNnV1P
k5Xu5FT0h3QKsD3T60WQNb9N/rreAChTcO7sNyPsfqSd8ef1usiGH6wYsTKIPw3nzkvqT+vtGWvW
CppJe71oL9X21631vugyjsFjsP616MyW/1o0/JLeP+Qucf4PP2T+sV5hB+Z//pBpvUUKvtH//CEj
bYO826jcJ4iX7M244l+AWAyXJu4l17HryH3v1dG2CArrVuXQgoxwA/3WwvgIwpjGjzIvvuWdWT3F
CaTbQKW3r8JS+EerM2O4Syv+iIAVvK4qe/ph5fdIxBdvcTNBSrmznLu2tKutgxPvIUSI9qykLxG0
cJwXK2NnGhPbnxflxNl03bIYsO56iLat8M15USlShd9GHzsgfaEGOIrLovp0eF+Uoxfl1mNxX8aA
/Q4gH5YwU/kR3eZVUP7se1hdWbXyHlkY1eu6UM3J9zLnwFsXSm8hOESQSoiXk/DLb9yV64zL6idz
7OuGdxlOyTVbGj4LrzN8WLuE+eFuNN3p2oZE6arIgVwus+n9UhwSCDB0+Jb2CmKiCp/FEPFgk0FV
FccwGCvUQa/gVJ10j5/XCTelal6nKfm/1ol4JvRCM/W+ziwFtmmwGxiC+tVPIAx/X2dpd9YOjvPh
bgrEeBKGWLuidRYpBI+eonHi+84Yi5Xwne6paAG2LiyDb6gVtExzhcOa3FFrmqt0if9+eqRWrxM/
oS9QnakRwil76Bz4t1JPZBXY8Jr+Y5gN4d1oQ59HX40bTXEt2uiFRggc8o4wq/zLUnLR8Q1NSEvh
MpaIo+XqyUqQyKOlUKteihuCCEONeilJCRm8MInE1psAE60hHLWADAT/Mpb4Xtb2OJ37qc5uZdb/
hKMq/1JAtWVp1FhSFVnNw5SDM6j74/TTrGMLapKmxYLnBCqh1D/L0myrVN5uqZsnv8VtrV5cI8j3
vAGXgHr13DrIPA8e3ATyAmE5wc1MXw0/h2+NFY23wCvmZ0DxggVNE0aWDeVCOH2BcQevLqyOVs06
P1i64EFeVkfz0Ooglvq+uggemTRPmgXplkEnbxul+zBy+T03uVxaadK8TLn1NiAx/YbtHvg7UF9Y
RDBAK/oG/8+ofrAnN/8CCjKshqLKehiqwF6lCA5d87gWgNZlztGqJKzvJlnv3MKCh3sYqDVdxY4R
AaWrdN30Jpq8pqtkjjdArxanLx86jD9rp5yvUoABu5BK+SfLrN4is2qWEJO1Xu1iuoW2IG5aMj9Y
ERYmvfqrDY7ZMwOwF/KrpnNjZW27dXPJDqF+6EQm7zeIfdR3NM+g5xnz4bYc3L/Poxj+iU6KSOJl
HmRm6ru8AbWB5tHr4X9Zj+PF7o3wIjmvx+BFMa/nD/NAazOABjGw7goutHC215yQ5N/vho/Wv/fr
Ff9fmOW/vdp/20+vyk1G3Gv/tPr/eRbsPpG6GnEiTW4GKDW/qT4sl5XnNPCS8/19jq/Bpplc/6GP
3Tds9QGiS9ReNDV/9bRCER4b9tXQQ7BoBHplNbaNes09oLx1V5xW4AFoGOpBum2+bZg97UGltG54
BFQgdeF3f79sWVtvcZjI/3jZpJtcMOaZ2PeRYsjJQCjGS79OhfTXBdS897G03McGm0mqN02tLD24
wXHMMnkXBO13kdrYuRRFvMQhxTi3Na+uAc1zF4OBfRjcNnHM9CI8seuyu4KiHoMbNRqK1D45Vs8f
EQ6MwAeue5jl4spOBrI52MovfQa+iWfYYuuaw/CKldE4Whnzxm7vV6n32JcWvqaYzwNZ7tPKyrH/
Pul6WQi4n6WTcc6YfF8ZXYhWpqSwb5GlTNdCcAZxcwPGZbxgrzHEpRdlChK/HAL7OosAomWFwV4d
PnawVnQcgDbd9r5Lk1uqr0ekJosO/3QcrweAeiAr2PD4SxzgDsyE32ypm90LCHHH8YvPrHEfJfCU
pfpo8M/4uflQrek74O3UtExKXO6yDh950XkdNC8zQJsYGu7O62hTdkMTiRrZV1oH2CT9c8CTJdUH
wbIVLqRNILMAXrjO0/bYNk9OM55GDk1cl50oE2uWRQKOBISpKMcKlAyEMVrgqXOdzQU18girq+DO
Bo39NnPbRxoUKYGNWRxZ6zkx++vUlnmiK8Y+oE2/Tc0HvpO5XwFTCvkv0gCj0ym9y+L8kblhur/U
X7qxsnxsrPa98VJPw3Ujh7H7HuAvuVMmJIPnQAH86SElpm6oBFrap5LzT4liCB+lX8dR9OGjjSIV
H6WPcSnSITcNwNWaygHBu/kifxhqVuWnBXz0/Nvi6JL/f+PKHBmmOvTEjgV4wJt9wFYwwcy+TRyR
uEp9A5MbQQE/Co8dj4qbUcBXkxpY0Z36wRZPSWtZ2y7JIGk7KedxUukNdbAsaUCtebRuaGrHh+hm
Yqf5fze1Uw4KaixaH9COU7C3p8TZxhaPn/MRtNchntqroTXZk8rYHrtAcWdzZWqL2iWnXoXbnIO4
4BpbFz8HXV7tIS9cg2iEOaIOhy6aklp7P4Ddhp6SWvWUYxLUd36O/YOekq7kWz/fIZRWFS8Imyeq
BhakVuycYitHUhI69EuC3k1NdWXWVvVUqDbb8ZjJrTDF9Dywbksd8kB9HglhR/yqNKovtkDGnGIA
8zO72s+EHWaY2GWk1YHYOaE0+h2QYMOSWvth7O/s7oXa/tTfM2S/s0S7UhP2lIaduoC+28H8Ds4P
7++gNYgAQeY4t/Tu7/2o9TKW5utjMe6QK4gQIYKMHgN+dqmGpjC2+MvXkMaCkrP+KUsbwVO3taLl
zAGycEdJ6nzcXsLUg64D7HjczhDrS5mG2GmDf1jt+ltoI8MUAFy5peU24XUDAto1vXOgmAgMc5vs
Lw2QgGXIvxTL+qMbDaBJ8sKVvze43HmfhEYEUX43NgCGtytTh2yQuGRAbE3NwYBo3qP04gNFQMaS
x2uq55DM3c2yAnOWCf58+F7rnPbgi1I7G0BJCfIoVEXvPuo1Bvr9anWeeJCaQk6XErhI34BtBfOA
LRV9rjXmQwCB3jUTppAtYbFRrfsWPdedfAobx9xUU/4zYiNceUUrACo1Ars61Y51D+NttSvLCHV5
bUIHL+0HpGNxisupcsJO/ES96R29gBB630IFaGdaHThh9i4CaBf85XzqFiwozCsqs3EyrgYeQv8Z
Rj9zA9VRK70EehwUL9q9RgorxwyXLI/aLYGHvai2rmNTbWZROCPscchp8m7raRk5yL1a13nhLTN/
P7LwaDdmvW+hwdMjHD/Fp/ltnwmAPA12jIq23gM3FJ+olV6Q1oXRiA3uuEp5dsfSbqMcZT36vZvd
OQCHC60CSW0fpcwDLeyj58c4YESAnVW4b5iI9naWKF6AUs82YT9Vh9ELq1uXhUCTanmOjx517acb
ldlwk4bS76IvzB7BhnYsls4Qw5qEypEMDCjE2+nSjoBERuTbekxlNZ2oaGpwIxWLLPppKe+9UZcu
bZeRUFT5Pqvs+uIbfQhNMPKrrgLE7eOjK/Xnd/mYENTmV7J6uHx6tgNX5TC3nGPrOUjgsdzezQyK
ytxCiEM8qGgwzmzA9ogYF5WFcEWPAN6O+Bg1utmlPrN2pVi5ERLYwuw/v1zqdLKoWUDonh9KUGX/
1K8d3TJZUYuv5+pCXx0S21+wCYIlidYCwd28BqWwOVCp0BHWSEt/CKUY3CW8YntpcMyouqq79kA9
AkN2SBfGzubyicRGdAPk/bQzqhDh7EvD5SO6dIFNDSwl8nAzDPiOVJpRPMTZD0CHrNuUdeUJjjl/
rP+1/2SX7/3FOLkLFpoFeN+eEbJrujm0VQbYuzm1K7ovRMK2z/0YPjgaR0lCdvQimpEtO6Gq9aWu
FY28Drv2cwPVUZdLA7wag33BYBiQDGlwAjI6WqZxWnyHCAYLKhOwtKhe+chqn37rgM2xcFm6lH5l
HHLNj4qz6ipoJYJommAlRj/DM9msNoEmZjUOGGaemb7kQQAF7wbyB20MriyNdEWSr6ET8OjU2QgN
AdE8ICyTwvak894QF1tGpTN+7XjtLjnOOBCfsouD6dTB5tI31khLRIyXiAWom47DkKZsp2Q/Qkka
Nkr4FVHRYgkIMvoXR8UpQ9jxUqTWS+e/j+3i/rqqvR2Lm4e0dZAbbyAQ1OBXiLA4X6ZhE93GjTts
udcBjFf76pw3cgTWwUXcAINIDPUyKIPVQl/B4IgGITe8ev9ZZ5G/n8WUe2/YxXIyTwyyBcnyo1j3
Y3Pr6syrrkLOxjx5NlRRcsG3AZRy7gCBgN5n0Dj4bjbuUwlP0Fmxlo3eCsRl43UqG1gChGlxhJdG
enPpkUzeytA9gGVdzyvCtg8OzBojbSPC00U6llZk7CotEbGn20Hn9HLlVR0/0M0iCN67jRHsgSBw
uW69wl9OzJNfEwlYkP5H957BFyEEvx6SFAF7W5QCLH+Q1fBbfu+LwNqnvgy7rEPa5aWIof2kdsiu
I6cf5MUAk5TcWc5ACU+X6yZ2YHHFzbUw3WDltCq5N8bo0dSK4SCJgdEaV3ATAhLzvq2DR6k19qA/
ES1ZN7zXj+h/qf+1f67Fxn7rf5nHjOD/kZY7CEs6AJda4QbEFX4FHa/uAC2aEsortXdO27JYtzVY
SoLhFobzL3s1R/feT3v3Z9Df5swvk0VXdfta2eM3gxlikXJVPbUGK1Y0N+/CcIPQWjrPjWRriS0c
c5HBb4t1o+cOWcPAefHYK3d8gJS9ducEvr8OoAYNzejB2xHuxBlz6FmX/UPM+v4cGb3UDj/jSyms
cu1NCbppbUXdbcA3+4HrbqVo5YLALdQt7PHroFED7saXbjQbdbNNUa6nxs1WCDxq85FB3EqWCiCK
jOFrBsF4Ap103LkBZ9Z4iaWsV9EwJtcpEk578KCird8V4rasq/dB2AHMg6wkuAFmOd803PfWtdY8
KkYoHXVaDIlPnndEYoFqqI2qoV40SLB5LHDdLiOosywh74852tYDFiqBxYZb52Aox+K6IEC/0KZi
NSRz5qKPViqWYFjeSs0D0AMGWN9ArqHacA4dJ/yEnBWdFqnogESyomMfFU0r/FykVjowUis4lM4q
meDw0rAIUHYtvJT25rcGYctd4oVAXemiJ5DeTcbCR5w/g3CQToUbDsf2CSHFmYowZBL4wDbHJugf
JgJVKVXeUVKcCYjXWYWHUIxdPOaOkd71HUxsYLsF+5aBi1fWQXUNtgghcsypeg5aCJDp+hanOCCR
Irj76OLH8JbL9+FM9WCUQORhxTnU35EZYCs2ZmzhujY87cvicNkox0ErTpOVHWakI/UQBbznNQyS
AJFUpXvQIHpx7KShQVTq8JAFLri0TzWzrr0i8e7aKkyvywE6g46h2AsAKQ7+wYO9T+Ga9WKrm7Du
3GfssKtjx2x/Sb16KE0t0hxLLCWDqGjLNlSPJA4MzcCg29DoYUqe00Ii7JsW9U1oFD+peqxhugNy
VAAeHC7pTAAsj7l8gi9KdWX0wCY6rtEesSfzln7Gy+Xg296Vi0DUgyPUDoFg8RrJONtyN4q3MaCG
r4GV782KjQ8mfphXwNnkS6qn4dGY+PNwkNVxtzHcjQMuVH5mBigQsAfTxguVYk90ZME2xD+oyHkX
OqWzjDTMu8qSb3FWy5vKgL48vRssePzQu0m/S5KouaF3l37QSm2XNWj07Z6ZCJZFLKvORdF+S/DB
7OCqALV3/TLXTy7eRbBCCI0tdn7VERAr76YGenJh5mr6moUZVEHrKL6LgFU5llMLQq9u6BREChoL
9wiAZ7aGiBMcqsvq2XeLLXXA4yRbIQimrgo9JbQFPk8Zp9l0LkMLzxNWbmxP2nd+GRdLZZbVl8oG
dhu07Bgo+OcSJOgfU6PeArD3n0NoE644Ulk3mQzMrQCV8hA0zXBF88CW0r7jPMjneRKoHXbu0K+a
wWXbiKQNYf8A3V0LUUMtiEh1pa3UDjEMnLx0HSO5Q6u8qrhpX4dUgk9ZvMSZu9ka2WBeAeSN2GfY
fiV4PL1wB9QKgIeLAxWZl4OrJpqvhKmnKs8H4OG3Hr/O4ddSLSKQwffYSCJj6jxXsQDSgYXBqfWt
8dncEVR4kpDQtyBuCCaphhvb9rTxwAvZ/DbGNuESFca1tcy8RKxz6KTopfNzEvF8BUb39HVEKjBO
ivRtdCDyp6zUvh14BYfvylFbM0uqB3ghgdKnu/QsxwbBnV7KyK9/n82sVfeMSBDkQneeX/D7uGbO
vW0mDRzVlL9zIOZ5L9Lc31s2rKDg2+je0wv6pz4kyqmQNTDP2ktA8rwvWeBBpawUkFsiAWCi59rD
9F4ZqkLBqDFLd6QrG8GWzXYCe3aZsRIwJnTJAenjugA62hgkaMeR7W+sQHY4/9smADSQ3drQZq7X
kDkTtI+lUQl/Q3s7q1ziA0TSE1l2HYsb4nMfiO+0XzVsP4bam/gObQzr0dKlX9v0MTHOFPQfO/Mx
AHXpCETmsKINzeTXZ9EZ3UMJizDYXgHdnbTJ4zBN/EjPb7jS524DxmvDg6MnzXY5P9aTFo6Iulcp
I/iZOZHnfQE5b9HLLLyGuloKGRxN5AVkPojr4BUiqXLtMdEcU6FCIHVjKBxrIu9/18Oa6vRGTFWz
cjOFx/kUpytfWAr3SBSpjl6cnOMB/vvbS/fWMv1jh3PNFEwLJmLnOKsk62I5luOqGjWpiy+Meiq/
2CocIArSlls66bk/zdhprkMZ5RtyjAjcpYAs9GNWyu8VnAUgKyR9sGM1i8No4b86gmqxpiK9jFZ2
MkfbOBH3Q8XA9wPm+EBtVEWDGq+y1kZWPY3GgMS+RsqCISOvVdy2KyNnzoqKbTNYWxOGn8sc7Msr
ojv4XrhsXN88EO+BqBr0rowgqLegflQeWYA9svwZu0N5XVXA7U4jvBjo3fDxLoYw1Vx3eVdBqeZz
XZx/UVFtHnzgoOUIfgvd1mMVNzay3u910COBZ87lhs9dNXem239fuzk0z+A6NusVVI2yQHQXQKmN
LWwPUmS45nLe+8A/U9kVXbCoysQ5TjbgDlquG5y88DwEaiYPUVUu/BG/nDDaYgeGHoURneOugzol
+tNL4LNx6TETPbQg+Mcc1EhVlzmojnroOdTsRfNxhcnwf5QwcNxl0QjhnaR+f1FNDW5MzoMlNTR+
IrvVpTnzl/UwBVe/jaIOVMdgd7eqUqtYtLy54zJT9+nQq3to9u6mWAzXVEpD0wf4qpZr6oFzZwtr
jX4uUQ9AFOF3lUCfeS6KWh4cMNQhnsHCetn/Mx2Nz/x0lTIbkrluKR+nsERQA459j/GQvr8bdN2k
Wysh2+V/7Pf31v9ilriPYSbIp/7QwfilByMkT6tsXw6lWBPLw/A97DaT9nZwYud6dHgBKR5wRCCx
qlZVVMqDb/b1SzJeUfVltD/ChKexCwgju+bC62ykaNPafpaIGLmx89SX7nD2lZsvoGZgP5eOhFVi
lBUb6oVt4Psgu3e8AxwRWYskp3CW2F6ZzwmshLUPjwud1ENjsnA5aml1Y8IZx56gEi4ax3i2hgPs
jxG/sYb6YKbduMbTKTm2SV7fOAk0lPjgFt95LtYTNlOv1ANQH7mxbOPa06HTEbq8yOlm+WxOQXV2
ubO5K+5IygFIzWBt9OO6mrgPiMcAioeRmvIsK3dNO2PaRFv/VM0MOCoC7LpGrvHcONicqiHu2EJm
eCBAw/M8F70QAk5BOiR7FzY+N27Z+DeVbTqrDpCLddFbKOoXq3fVLobADtAdKFI/gLChKgxkYR4y
W8Muw3lm6gGTkuHY2fJxlPJmmDp4BWl9dwFJSXiq9d661/rw0FL3T6HIZt136uG3Yu5P8vAWY+Mi
y0CKGHNWaJkEhA+b3lgxZ2ArKlKDhKfCNVSDqIZeKsj07CGY/nhR+ag9DwFCKscSQdM2K/vNJ6pc
4xnPXhUPBuh1QHjBW7NxIfXduFvym7O6+HPx0kq7BgCG3lsH36kODI6J4bgt8fFf12355gbSuxX5
AI5zgt2Gxc06ewngUL0A6ypdxFOTf6k/3gWDQp0HVOSANO2J3xLhwzD7ZJWWk3UKzag5cc8rQAPy
o2//ajdsozk1AYILf26HSNMzFOCRmEsS6I4bFcTG8N+xcJpbpkHR7OZ/hWm0YDSV04KK9PIxIOz7
fjdWibdK4mBZ1DJFNCar1/AgVEeG7/61U+EkQwv/6OHBSLuMcPTKu2bmLgltw0GMJaDDklWOPM16
pjZ1cP8+f/QzPJaBF5eby/lZSI/BzhfhwcqqJZXoZaYy0sNUIjO6wE/op+vX7Q10YmqAgBAcsjiM
UWBFJM/UAIJztaAoUAnZnrmhQur+JrM9eG75MnyCRiPUH433xh75h0/T/TYKaEiogfzhOpcF0IjE
DN8XQNehBaTOdNDc4mwzIRn/PBhqRLIoiOD/PHTdSSENySrzNQwMH4pQGZS7tO0cc/5YbfX7JPKM
1xpYyTVsVEI7WfAS+ySBH/0uqnCEZTXoIdLsOf5NIn4Lg00fFd5bbJfmwhlkexfClnvuWvIB4vDG
8GXMqmAdlF55xQeoY9qhE2/MWJgPOD9UCzUEzg9oDGnCUQ96ysLNneih12OUnVZXbZYkV52Vp2ub
Pci4Cgyw02S0mSAZBGh9z04c/2lwsPHu8pJ3sDSu7BOc0JC3yRH+w24vzZA4M8Jx88dhcoJ0eAVj
eZpvHFu2dnKYlJKuEr2Q9BL0NLBd7JoYMsn1MMsxUSvrp2A7sfCVvkpx601X5oK+YVRRIp2GDdkH
RZVaqJdc9Fy6qxqnj1hv/bh+wTH/UYqU7WFiBi31IIitBVTNoCWSW+OVKAykR0QITn3UB+tJmti1
+sp+9lPEwo1U8mtzctKn2v5hecJ5vgzK46i8yYoU6hURTP0gnntHp6OGV8YyafJmR2ehOhrbw9iC
9+VMPWL4H527UaV705XGKgqfgtZt3pjd4pYErYX7LMNZEDbBxZFPRXaKjRYPMWtMnxAb/kEBcCud
xyjfwBiJkGhcmy5ESYth5CtEjWaLryoHGgdUumc3cvwdRBf4/L1tovf6CNjBXf1Rr/sjDuM/27r/
r/WXeajeasAw5A6/Nd3QQeQlFVD/TaEwUpbuXKR789hDB5FaqXhpnTv/t2MjhZl/6/xRbHWrwlbR
DVwBleiQb2mfZkIO+jT4/h1YUe87P+j1/6jCnl/NHUK/hKedNS6pOG8Q/RNkRIZ5tzipvAHxIEu3
1EYTJml8TyWvlwBjRTbw/V1nLMzUSt/a6XuSudEPGNx9B+FYPPUVIsRdntcncPOTYwS1mg1PRHP/
yxj60eoxcCoWsEbHGJer+oSISXLEIcHe4N4m7s2P6xh8Zhb+eh27hvtL0rvAZmtKPcQxxFWTOo+X
Y5QAdXUVSOF9OlrFgh2VZ/rz0erXQTTPOHrBypywc7hMlDLI1utBVPXXQX6afAXUXJ4N07a3kwd6
JGLx7pOJr/nK9GIAMyrhPnkB9hv2pKYrKqaRuCpbb7ytWZs9dfWGxpQq6W7SQt1RH1t5xnGSiHtS
I83PmQC14Nf5OXgTEJ2lg3bYWsu4SZpNjHTGQxKn3QIua+ytiPf0X8hx30VCxRiBh8eektvSvop4
OR5pUMJhgUODAJ8tN1Zh5++Mf2xp/S1roufLpifU4mezPEDXq+4AI8kbgGyt0C1+eA0iaVUSFA84
FlabJhmsY5Xk05WXh8baTZL2sc3x36Qc2T+DTGuSi7iK0wfzCEgxW9JDKJhwkAj67B4KtlwDnt/r
86B7BCr+vZ76k++f7l8CgniI8WOgvSDEms4WyHRn2vhB6qyBcBuisdQ4xKk69a75SI1U5ZnZmfkO
MtuiKBYsT9jShiARjNyyhz+5AX40JlaYIUoCk7akhHqG8uS9V+awg42i7gqP+/hYlkO+9cpuvLVt
G7atkXBes3y47kUc/TQ8c2HioPamhqxeTCM+pA704HWayuRc1KGxRwBN7LqCu9fIa0EW0q7G59T1
v3R6+MMg++DnlDZfi8JRzzzl9Yr50LubogxBVXua9lNXp2drCtI1REXUYwDwJAxArO6txX2W1iCx
24VbhvmKsE+/5GXdQ/kMlkrAsbKDG3T9VVPl6Qbieerej+Ga7JopDGuSdps0ffizia1tlHnsK0Lw
Pr7uRXvve1E6fwIgHydHZGY+fwIicedPgIYrsEPpEwgE9lSm/gQYMkFrLqzkDGyTuZ9CS+z6XL7W
Zm9deWCbImYO9tt8Ngn+VLbb0FsFXlIhfTbVD/HwAPGjHLvgT28AdCzSReUgYa3foCnOsu62pIOR
BOZx0yd8E5DCbWd5ywq/j1ONxOQ1qBw4HGgBW233C7kY59Gvp3YX1ma2hSAdNHAwkjogt4eRskuP
UwcyXqmmx6l8AXCSPcXumF673PtGpZZ1/l7hf7qkYh6l3joIeKlBloDD1QEUlKH6fKRinTinKvS7
W5qwMl9cu2eA7CGBoSd0QFC5Tr02sNdyAiUEzgi7OISCnWFwa19KMwchKvQOfZ7xvdnBryFy0mRX
4Wl+kgbE0R05WGe4hucbOeQZLHu6Zp2q1rg1hZqguVAU93DCW1dZ9L2tpxipUrzIuj6KrhnObBTt
0mtG/OQy0zt6XeQde7D8khUg0Nhdju4u0HXUgEdVuwhC0zxGDo72XeAEey8o/AdvquESDOKX9Pf4
CXnHbECuDiYQwDl5gh9NfJQGDljX/aTMR0z/bLbSBkmYmzDzsl59VXUgU6AtidjXFkmCHmGTXeOn
+CjHtMJ3rRLFPmtKdpO2HXxRumwLGZ9iV0nzkIKVdDRBG1j4HrhJYePBWiZiPyab/7SbbIB9pQrP
OBQY9gKoY9zLHWQeE6d0b5J6QJpSmgWwN+qEzFK04aMLOBIS9ofKTT6/TKP4V3HQdTHjRoH7wcfb
eWBWIG11mSOLsP2DqC7ALiO8Ukr/JugQKmg9GOdG3qvTOC+W6tgttznweRzbKUhSe6/YrgP8OLnj
qa+RmOji+KFreu8VXofQYg9afBHhgPwcQ7yY+kNe1dhmoQPaou5WSrXuVVI9DRBBOSSJgnhxhUCg
l4/fi3go14i3xKsL9I0kLhCOfm+Ayg2oTW26AcIGcFScEG/oZcxKQHc6/yuMr4P9pV6Mstxf+sKd
+/9x9l3LkevKsl/ECIIGJF/Z3qnlpdELQxoDek/QfP1JFLW6Z7Rm73vPeWEQhQK6Z9QEgaqsTGgM
AEi9IBfgON7lgPi+1xWg+vnifJ1FTUx+Q9avOycbQX8tvA2vp/HbGB/ojBXihA/WC5i7TLyC6ro+
NxYvQZxgTkfg2oPyFQRepm+DGHIPxrN6FQEbsyJIW4edwD0KQSnkQhdymLSOraB25+fMQjY+Zumi
B+RzBcpRnNaJVul6UbFPlKSWxUo63kmMNdu7RHSWTY3cBBbkTXtSSfraxv8jntgCuEzw1VMeANIF
SB6GYH9iCkeGny+glKpJvSDUamZnwrwwXh5HEm5MpbuPqrB9cZwRRVBT9t1te/A8g1D1Dghre2cA
4bq+eGhlbyxQDtvvSHHV5R86ammhNIZq+C5h+VrnQI2Elo7IlLKFDTSPI99osgXKc+sDha5B9IpT
TJn0B7J1Wj8scVaRm9y3eNe/taxpN1oH5a1eQGf8hSujxad2Y1TNpxFcm4P4dK0m/mn99mV8YOn2
EVR7kBWtToGe5q9AabX7KOYdNGb08lsPwlB/yjmq1bKyu/MyBNlUvrpO3Grl8TjeTaqJ0TkyAvNo
xnWMxnYYun0S9WUGB9dPpsgMuN3c06VySpBotg30PS423brPM6286xRJ5pdBFg6YoOkSKJOKEusm
6/MFin6cI5KT1g2Z8Go2b6bQwIMY6v0C+Aegp8lIPmlRLAxAG4BvSM2lrVuQFwTEybfxh9zRj1OY
Znnibg9SHOS4yHT1SPO89+MEO1HUISbLsAn6U9cU4BFO02RJhCJ0ERlSqUWBddPp5LSuK20CWUAE
Kk4kZhl0TqGdzNQF5xfQj0A4bd0DmFIHjB9B8AACmqkH5KOYQDaroHwE3oM0YrIeNMiQJqTyJb0J
DFiRC5XBAKz5fdauvdppdg3D33m2GW3RIwr0RzcvveAQQQ9v0TkB0EKECbLybEB9v9ufLEveTrYR
7bgykb1ptXGlU2LtM8DRd5m+lC0gn/gNT/WRLjlPmkNlvGBzVh+BSQRrDd0igluhDgOcxlUtmY86
c3bSsWN54rxZUpostKXcIaeIeKgifrm6yQjHBjOoHLyvh/KNmxbyM1eg7QjcrRKOyBeWROkRzsHA
4RLc1mttC7X9E0c0ZrDMbA24db7gQivWg9TAsnptg9EH8mqB1372UyapSqxXXXBrHw69e6y19khJ
x04lHXF+dI84qRw7xoExE3Y2NykjSW40SHnMoLTLHDSc3PAVdKhvN4rN3LQWpdTD+dsbspJ8/Rtk
WHXbdYBuBS0uLBQRZVCZXjuZ1u4NLVhd8ZcE/CVg5tXm9qCvaWMxIzl5g0zEknrJ2VOT6Jjkyygn
yL9ZA2u3FZgFbpBoghps4oJDFy3IKKCEVN1BTrC4iaxVGpjmLf3DI2y7VrnWmktqeiZO1GU1OB/g
mhL7qQFlTeJG26LA4QePR+xsBrNojuNpTn15hf7YlGO6m5sz6oHH5nYE5sXSQiimyyT055//jHHt
7Y8giflutmEVKXcduD5QSoHHJlFiil4QW2t6gIBx/sgtDtlw1UkXmpQGaHLCW5KM4Kn56JU+Xt2D
l/NGa1oOJHcxIBpuRzgc64m++WsbiOV4ybQJj7iejEfL0iTOhCDUppOdAKtx6f4Mamy+kzq0HmWY
QXdVQ5Kj0UQG2dXJW+Hs4aD4FGMo9gPwc5MMCwvlnKCmBNbBg/Y59Cez21BpRF4hETpKhbmMxZEA
EiBGgCvkJEAZJaGlQUAKdRk7KAGq4RJPGhLZYoyRnE0icZAgwUZ9AgLKPbBROwe6T5sobYKHrOuU
6JLBf7Q8WmSoKf7IeKzPvvoA+hJnYCDXdkBQFSVQ7iAGF1tRvxPbS4VXx9whGINIMpIbtYvzE/jS
x0fweJ3oYMv7fFpC2ELbt4P80demhBA4yH1o7aIlaxyr4EDNDkobMqgzAKuxlF3tf/O92gzHtNYx
Cz5s8LsYfZUfrrD932D8863yKccpPxBa35BQtnRHTa7MYUhuAhtbH8p1hYBGrcfIBHmbSn1BhGzw
7brtThyvpxcbuXtkxF++DKq85zS1QQU6lVsx9drvL/uL7Tc6qIstVjHOa6I71qrfxpM9QVGt//lX
1cHzoItAf3O8hxCwzQ9s36wlAODTAQjX7A5VT0Dytegwh+S9GtzuwaxdbBehubACDpe96cMD9XdW
VSyLVj61sQXwidexg5lY7EB318t/tPXI1Fd+BNUsqEzrFshL/hjc2EG/z0zuEw5a4DS1Sr0Qy4rC
TA/IRZ+iIb+nFl0MO7rLoC4zw6i/+FuiCiDDkt8Txvq/+tPH0fzKf2qtCKQpxsGSSjgW8JuNqbsl
yqzACQRJKtAroCihVFpq0ag/WwgUvBgZisW8JkxvHCcp95NXoIpEDdLDIPAtoj8w2ILk6NUgswf0
bzCNfw3KXDDk0CD6pP6fQbZXPgaQgxC2gwyp6BZ1Gzf3WJYysLpX3nFA5ezO6nW57abUuuEpKi8R
BBwfy7IzgKJk3Tsfw2NRexz6dcZdyKvml15y8Fr/M6ORyeY+icCozqzJO7Zx3S7NyIM6GoSRnA58
tj3kClEsiWbTJ9kh7w1keIoSAe5KuotQm4o7cuaAPC5H5ZwxaLaOWW3jz453R73hBT+0Rlk8OIM2
nhsXW12h0LG96XIE8GS4Bc82Xvyjd8AimM9uMQ6zfqs2BH9xo9kSSx9xnIcbDRflNhmDAK/8MC5P
FekvjULzK9m1ZwMcpGAsRTPO7fZs67KG7kBX31bWr/bZw2v3V1WgRLj27OcOLOhLt+y8m6x1o12s
pzZwXGZ51jXeLmOrKJEz0N+hnQmhsMdE592vwHB+Gxs27VFUqXOqgd4C+AX8eUHZvMvQYD+FwEGV
/iBjgWODlscfplEMfhu6yZOodY4NDzDdMnWTLUfwEhEJQx5DLZdr1wJfw59TghiA/ZwUV38GxTET
LHobHknskrrW0o90adRdaweLFAfdvWY5I2g2oojNvSjpXxpThZ+wlJBrXA659pZLsRuDeGUFIzDZ
ktnPiXCgt1xqxRGHMPvZ1fIbbPSzOyiMDs/Rk6d8RJrz2yopbmlEnDHoWYLA1qcRFZSuNj0Q/Cvq
ZTHIK1GtWGyplxmB4Zc2A3JBzWSmiFGKAZhCz4DWT8XOHo5XUDQYoo/K026hQZ899Vloo5y14GtX
s41Xq+uX5CBzFi6HxvKOqRoZgXvI1yM9/AAj+13YSbAxNl68Dyvb+jJc2lH0ocVauAym7q/D6YOv
I7tcY88qmATs/5+vYw8VTD7S0NF2hiNWw2Rt8hGyDC6qvwMQszrVbf5BL+YkMYrApxHS7teN0Xir
6w7FTjPAau1p3q9c7b0RjT5iqWJLJTuxjr37BPGQvAzbPbgHv9HegL4WfYrhRBu7DnG8u2wG8rGI
lgAIQevvAq3UJwtaCQh5khvZjQlMqyD3DMDVZSy4XuLgFTrabV5n4g5Mp6+FI5x9qVpk7xwzXAzc
HTfUpEvcYBviRpO2vNoSS+obVD+IBc1EHXmkuUAuIRB4+QRQOPEblBQuyEQfQ/4Mcm8s0f/6Za4f
UnrO55fBEfbt80QgeWngNA8JYoD2oDdMt9fLpJSGA9TcbBI9eGaqRZ1kv7pdbR6TPzve24CoBvzU
Wbe8wn+Sqy6pE5jzBYuVtgiRj16SrTMDDQWCakAm78jUVHm6LFGivJGmGe3wfg5XseeNr5GHCr8w
ydIbC3yYEONwZ/vVLfNQsRXpPd9D51uueRdmO1O0w2NmD48UqdWCAtrro5XdOl3UHZEgxtlPRWpF
lKKKv2m/0UhLjQx6jAqTc5H2d3h5YZGzARGI5U830mMfan3aE/Ii2tKzWpxjVSzdAHRoa0lXA5Ff
A07TpkxfO86ewclJoxHu6H5yNdpl7TtiqkWdLxPpFOeS6/a+cfBj9vo8fyxgvHertzI2eLMALvV7
MU7OMUmc7LHO2mQ1unW/piYqJ+09Q3zTb80OvQx1GwkzEP0Qbr2yzcGAxmree0sucpQlBNHaRiml
hl0tcp6sqncToqdY/JS3iJEqQvbZBgeSNVjHDJvuXNG4FQMqMPPUjSAmGoUnskEzoBWbaw/AR6gb
mFzQJOupe1f3zj2BmKQNJJQeueOaIE6RVn8LJ825FSHHMg6vmLmPoEdw3grX4xH0fAbJHuIYiQus
t2CSHR5l6SAya3D8/UdijJvvy0g+GoiBb5tQilNSohqmdThbRRCbmgMLWtkMe5OBzcYdASqkYAP1
zh22vacWXWYX6vCwRTQiUEOqSo7fKj7+2tbLsQIXx/hMvdeLroILYTOEK3xlgFidIdoju/6akgY4
2bCqgbKrzcfVpKTGE9EjNw8tSPC61OaRbOQ3VeU8lim3aYzDhQ7y+o1gdrUFlaMNrihUj8yXKqx/
s1FFiaMNFZLzuY3/AahGhJnA0ZS0FkxNFAplXayp7M+q+t6G9G/6aWSNRJRgwrvU78C1tkpIanxe
LnJaNL4uHbQ6pIFYDq3n7Gb/Cky3B7AptstxFHzpBMN0K7DHnioWPRmNWT161iYd6qJfIEGFmuHJ
u8MvJHwKm/SZGVl3Qy1sQoDEaMP6QM3aQc0wcNdsS83cRdVWKzsIO7EiekohcbgJ7KxfCtXsrana
j5YGhiw1sZv3BRgG+p/0FZzJGW8tR9tRH5iiavWFYvpCVQyRr1wRNhqh8ThHQasSey0TCrybyrPj
+/miARTqSXlDLZChIAOTFAdqOVOa3IOfqd1EYL1bXAclPU7m/2kibZGOHSpjw8J70d0VhYhAfRse
4lg4CyqrcnSjgb4c92YvIGFjp97M4MIiarVdUSVI9/dWe/xyV0CK4l82g7W70gLLl94wZy3qvLxx
cvfzzrvcUe/Uh691DOZKApKLvmv8TLfrIwWMTY7yKDzBkBdS0WXqDVWTosvU21lutZxzUMXItwSD
Mb1GHFJrWIGhENHvK3CG7gBhEgfQ8S6N0LHOFLnvogF4TOQKlk5XIXM9BCrEX9p44UAntr2kDmSk
6cscpXgrm4ofUaOztXkOFUYVyaIgDaD6xTbQ699tRdImGy9+RFKzgrgXSvegCw9dd817gABdd7CV
HUmR8egVqQmsGJSghTkC4I4o5jiMBbaPA7tnkIxGngo0yxcPPoC5TQOu/r96gUTUWzuMFzst7cZt
zGNvEdWj2Gpa80aIIvqPocsVUXTxwOOSrCEY9y74pPtl73gvWtrrvhWWwUuY4S5Xti+9Vz/EY5eA
AaRHpmoFWie7a1HbcbZz3XyyeQSyl946EwWocJIvfSHD3+gv4y6edZvUN9J23y4WmvfyKZexf/mU
y2f++SmsRf2YifzqRnhg4PTA//ke9+NCKv0ILLopEtNe+jjUijoY7Dz7fOqGM/kaw8DfO2MAFMj3
cMb/YcTjv9z7xv50/9vUSEqhiNUuQdhQg426nbpZtNkLpnWidf0zNyZjl0lQERLvppuw2U7+Ydd2
Kzdlw9MIsvMIIDnbBWFAULiOjz39dO8wC7RBjez3IShAT5UBAg/Oi+TFdfXXWQAGgzIXNdk0iFXu
BMjIQbiV+XKpq0RkvL/R8Y7zSfcNQsr/VGmqg2cfFRvWuuCPp/KEtmucBUWwEjd8dXqH7SioRRdA
SYabwDDWDRBUB9p8064c1GjOxpUDCk8u4UXq5WF7Jl+yg2qiXWVeJpdQJizATc695fVhDC62a6yY
Hl/ys2Mt2ZqaMYDLBEHb3Aniozkl6VGiKnqFmDd/LCtUl1Do8J4j+v7TdoFOh86F/WioIU3L4mMS
dekRlODCz1qgffSkcsdFU3XDp1pdzlemBJFIX3u3WLtTUIpe5BjorusZ6sbRC1L94dTakPgAndUL
gIC3eml639WN607ZNyjyLCrUWyK7YY6LSeUxrxcUDS6LJGGnq2lwumI9Kl+kTBGiTaDONiZxvSSO
aK+Ok1PdxUv6O5BJ9Fl/qhE8z/EPXeZh5WyoPLQHXG1uVop4iHobPXI21KTea3PSoKbJ0u+xnkxv
AFE3foDqntspR0gF22TuFxUE5cEU8veOIsCa7wEDemqzsJqBNDoX4Y6lwMwSnFcMvHwAGc8V4JvG
zPOhbcR2BAkmf1my0dfbQQBXr+SgSuCTjpXRrmiHgqhZuupTz94WnvcowtL90Dv7LzeW6Sa7EvzW
C8Q32ttalstkGNTGJlfqqWakrSnxCLBKe9uiFxSB3aLr20IJBWO9w86hDLMneqFxJFicPH36p6ce
9WuDeuhFJ1Gyp3rigr8ZeVfsKYHJoX6zMsCXtKDmfNH1Zj0nk6DHjjKQNFoIHciQsYmsLcqK0hm2
iF3NAhIF7pq33jTzO+TSqda6iRQ6QfGrWj2EOGph+ajXENCdnusp0Xes5HIly2h88yrwmTgThNk5
Ax1Qy1+4GINHQ0584xhesWW1zB+TtPvgcZR/vzhAVQokBJ6D/d8Scq/Jse/Ue51uK1NHYRXCj0dq
Xm0miiMPGDCSb53G6a7o+SPEi1EqPbD6QYe4N0QQxICTmSxumwz1IAJ0hSDEQYGpQgRffZl0wPmS
Rd+QmcdJQPTfK68ptl9yL5SFkWz8LsH0i21uGS6wj0Wdg0rRXH2VR6OGX+127R7S1qz2lMO5zE8T
0kByTbDCfea/EyNe9yjl+56I+A7ivub3VqR3F8u/bwBwk6sQDCu7AUXAi1wM3a0FRa+d59njJtRY
8gAcG0oFFS2FI9+Ra46+X12HHBV8mat7AJoFqGzt8M687Go0oE5WU264WBywpFw7ROf5Y2/VN1Ng
6FsnBCXSmIcDACAmoiOT4ezBE7e+4gqos1ceozT13WfkPE4jDQT8P0PRuje006KPAaVWvwLcCIne
IteKi0dleO1prhqZt3WfSVLgPxhqjQxz03ejQElrbT9Iz6nuvN4CSzmKLcnE067yS9TqHErlQQMA
VBPL3IkCFetFCoo1k1ibadngpQ0qpThJs8WURvU6Uk3Ip1v7GPIUqITozKq+SSbnxTIyyGynOrRq
ePsNiq7DcvJi+2QiEncYUyDFdaevnpVrVovpfS5ATlwLXGAKkWAjQb4tJpEuqEkXt7FvDJDznGj9
AN4MGuPdDwql0qXsIPDulraHat4iPkYollplie7TUaxSFf5D1Y5nZQqAHoK+iWRrWln4aCJoFYo7
WnQcABaBldJuL33cZb+1Grx+V6h3AiRX5Zr7OKnAFNC/XnPRZKfmAIWAdvaj9sW5spNgk3L3Qcb1
huL64E0/Z2UsUKwvUrAONNXZZhDF7kFHuLVdfDsWIgYfo47ivdbbDcX1LSs5lywWj0FnLumXFfAJ
5SdibtCP68sPbtDK5DSlS+z+ze4ZXMbeYU69q4w7pd2pSZeSmX7ch8HsgQrGndY32qYumuYuzPQW
py59RcthIELsxI0J7Ptqb181kEvNBmv4ZEZxhkqBlvo/2jYHNd/IFFNK6zRz/SSt0m6enLBVAHOw
yjmJCKlT39TS2TY3gacIFliNG5Pfgh8TiqyEM6ozYH10VENsr89mnEJZvWHW0/VhMpkTggoRKSoH
V4D5/RrVzonvCWNugicZTdjnG5l+3gyp70Yg2RuhwY73VO7udMf2VtlQ6G8heAZUDLcswVCA8nf9
wPshveMl8LcU3B3T4A0CG/2DA5WfeaCW8UkNhATgbaub0q9SLjb0AweNUHXLPbmMocBTgKDKBO2y
6q2GBCxddgponERau4vaPdXvzYvAaDcCtM2g0Ro8+9VDCcwNUWzptfuqqVYwDXw3TmPpd33QbUBv
gTTKBQoUWNNaz2z9TI8ceTgCvFFtHfVQWzNMJFXiXtU5XtmrKH0PuYM9lP3kjvL7xpWmKar0fS7H
cAfkQ30U2RBtzCR5ZzFgfkuylbXbtT7d6lg+j0EKH93I3oF5rvzP9YwXqTxcT59FVDtIbeB1c11/
wTdT3AjF83FZq2vw02/MIDZ9iWMKCH/ryb8idQiUQ80Iv/HS5uaeTITYITsUCoO1pqE6ijqgM9Du
AXE6/Mf3cID9US+O4MxGiTO9nultPbfp1ml6CXgdyr4chx3sCjHPhTfo4qSaDjWtOhCnMdf/3kQM
3MOfIvqeTRoAVoQjq0xEDVWT1iwRhvbcnKMElyb11hfnL2Mrowb5UmCbG8JDxaJ+Mw0GYUQOxFTT
CFA3IzWDIxM0pVDPkK2zoRvBPoVegkvpspgHlJAhygV0/RIsajuUTborHNeHt8rLlppM5MtkJDEm
QiSZaraVPUAe+4Up+5/+ZC+sJt6JLEU4xjJHmieNqmzTUT2nY8p3Wq6uq5fh5Iuoqc154braB1Sm
IPY+7K+BOytrYn8qtWBHNnpbTHkZ+zo3gt2kCFk68OHdhu7iap5JZKjN1NCxC/Fn/DJVqqWbQPbD
nh4QfFWl5J7c1aWJAC7Z6CKhw7XqnGkzuKhX/EIS5ogm2QozLfy8E/X5pVYlQ72dfuO2k95WSJg8
omZnyevIfIHg0niAeG65CFSd0VAG+cqLY4Qg/xjEIJG5blwL0fDIqe+MFCCwApIWW2rSq5RsIAdj
23TImrurLTPARyxyyDSzPhUb+gGheKBduWOgzS/Ta7PUwG2j4R+wbBGK2XSFPSwtkKw85rnpnhxP
exQ9Su9QjBgsRMGmO6mUXw3OAj8Na3dHvkXZ5BvHm4Yl9fLa1o9188G08YV+zWkjrRvVop/6pUV9
YIK2bqyazZ7U4mjRW548Vd+1dZkzSQIoALexvqaI+/VCUXgTQhRISyOESB1zTBxRSkhju815yER9
kOrSxWb128WAcssBeBvPd2ycKa+91EFNILijjcpAJ9zoDl6gdQe6uzZLDdTm0GD9pzvT+/iTvQUv
0rWclFq8MT26QaQ/proAKXFtnck0pqODIzYSbNRkoD1cRdLK19TMS+ubRHDRH7SifpWcn2Ph5fdJ
joQnZ8WLYEb92oxWuhmDpgcQEF56WvysZOqdWyyLD7lR7QMdXlEIzBQO+BnI8QLrLusM7+BNqCAp
+RkCcYgcUpWvCdZOaHgj56ua1w5nWqA2gJ+9MBebScdvqxgFoM9G+3F9p9OiX+Op8/OMId532Yhf
fOdNez/6BCLUq0QV+fy6rgQzGxktG25tVsfO+wmgul+C2+uWq5ptUH2B5xO0nCs2MryADfA6DPZw
r9VlfQqC8DnNovQlc6azA33DOyZF84SfmDo2JC+opitvIqhUAceToxmCiDFJHWNJzVjX9WXaJ3yr
6vUOBRByPupop0OmLnSXZBE06gEQ+9oxuYAA00Uru2m+g3J4A4hLZtl7M35geM2cJhaydQq+OHCx
pNGpqziwo9SDkizcho1TId6L5Eza3tR5flQyqUdXZWdRjTTcSscyQccjwlVSxcMtdUQ2FtS2yc/k
QSbqdCygKgodb690ygIkyqMIhTKWsaReco5zsEFGhu2DDmRtOQIQhrAuceZIS2jQoNkWKE1hPAk3
1ESmEjtPIx+PhuplckBBOXMe8tbJ7z27PJCX/eccLOs2qV12voNz5csYVW+UAGQgmgXs/1eZNL+Y
F0/PSDMZIEcWYFAyQrDCAv691fNJns0QRXiXwZR7hOrvkCdI4oo2PsoGLFE2EnQ5Nl1PLJ7E/YQd
SMNY8+R0pvPgDT+piyyt60d4hh/JMvF0AY2Te/xxt01Vto9DBbqxOoyjV2ki5dX0gfgoTPvMTKf8
hcriBRvKAXzKUJ4A1CHE/qPBXrrh3yurfK8Bbvlm2+YZ4nX7zE7aV5y3jKU2VXKHvVb7GgL/XvLa
eUTZZn/jKFpQzNm+5gCrr8CmXm1plMvBy1Kw8CECiPpWr8UPUbb9E+tQQCzG8tQ5aXVCBZtnlfbR
8ZwSqzYu9uWOvEZDJtg3oEDtSwcNpxFeGCe7sDVv/jb+akPW7T6smLEl0/Ur0B3ZUBaLCgN5LJug
GX1sSMdT2mct5PMaZIS1iopkUYupOlABO53IloZN49fcmdZtbkAd+epIPn3kbrT0RYe87pm2zkWn
Q37OlnNLDsY99dFGWrWufcrzz3GjmuXi+ZdxtYoJxvX4t3GV2YQ7rwz5QqTWWw8a/FNvI86W1G0N
xmrwppSNY4NkacARVJfZeu5F0dG28WoQN2k5fxxDjx+BPxKo14Vz1JrTHbZjK/IlEyqFFkER9Pfz
bAb/f3xUmpXZmkYmf/mooex+iHYlGhH9wEHmTDeQyUakYAh/FNycLZeuy43yIWfnn5tL1+Xmj+Go
9bJWgcEjBGLvObfMX14J2Zgsq17xFSEBDLnZ2zSys60OzmpVJgycnlWGK8kh4dNge+mPgA3/zLOH
y+hgsMpX1Jp9js7kgJx3WYWLqoyHtdsGuo/Tnv6sjczcolJBLgEqA5ouS50VsjRiQ83YdCcwV4E+
k5rc7iJ/gvjUzeycsw0Eu6d7HqvHq1DnR/25Rn74NnGCW/IZB1EdFTIKglSY/3//cRZLopsRbydw
P7rRykNOZchq9hwx3T7WVikWxAka96BWAu4pR9rEGV5RE+oH4Kue3QyrBfOosvfIdM9uVlmO5Had
zbq4aZb1dbaytYZzKPSHUYro0UoX1pRJ1I3hwmT5YjuDfaIWGOIgzgKi4C01s7S3NnoQFEtqlhyU
tIXBPtqEd48Ob6LHCcpw8fTbXAKFXb/NBUbKYmuWXgNtdROv3gurMuga+mXkpcPi6+Z7zIHcoh7y
BsTEb7xseCny7KOBhNS7uonZON+k/9xcui435GPz4jrq0nW5ufoUrdgOqNzZdiEQfhYYzP3SqFZl
2YbfgbQB6cFQj4+xQDarj6bphKAVsLEtT7eoNHfOoH8tQP0TVS/CSr/nLSRv3GY1z1Mz4ylxhf4a
ViYIecGeeqsPrdxopmXskWU2jngCwjX2HO1DiqiAj+IR/V19D8vCnswXrAQVKb5HbQAXmIfa8PV7
jCJCNZ76Hl3MiiWCvtVLHMfz9/DAYZN2+hMPp9ivQQIBJqPxPshy5wQyLOdEd1HvfN4hrBBDGDlv
N186yJnGJ11/fx1Kd1LNRHdJ3OJj6hzK5zI3NiBpCg/aWDQ7fUzBjgbt9J1UNqQzmx1+0593RYDH
pAuSXRL30yafSudOhFAkNg2ZfYBma2kg6vVTjqhCTVvx6hRaj5Ac9O/sSQY7SJxMG0Pz+DwIVZO/
DeImfxCOtshGTT+gDA7nQl1MfoFs4oz7nE9d/5iuh64BL7Qp0u3TBPJmeoEkST4swLVi7uitFOrY
jcgks35rfumt+s7a/f+ObdVUV2eaOc3SF3A/mPG4y3nTbIBG0EEf17vb6HKnQUJqttEd6AZQHnCx
/R/9tNhpNijETtdjome3hiIBGuPG2GlZgMj8H0cEz3N+NebYIrgPO7magETvIk/8gMpzu0fEu/Zt
V9Y3AJUUywa48zeUYwBbIvmP2Cs+CiTZn8pB5mvp4Ndh5PzTVauL2TU3JPvGXRxgrepX1wn2EDhC
3ya1Kzf60PVPdtc9tlGSfVcOkjXsAUWI0xZ7rf4vDr2aIYzsaZ6BISGMMvdmngHMJb8cEDSdLVQS
95rhYdM92ucvd3Xm2ecB6be/9tIIqXpb5Xcda4XvNdOdQ6GDrh4iI49xOHYPbnkeBHOxcTKtBw3R
wJu8Y/JRuraxcCxL39bS7R5BRtxs8DIcltQ7DYN+xNkIRJuqN0iD7qHUEJTHrHRJRmOezMrj6VYb
y/cmOKVpgapqF6ToQ8beqJWzNNprveCI/DLtGURMAcj3jXAz+2pZvMBpRh6oVxuyc+4Y6d0Yld7T
VNyMagwqjucJqUUTZrZjL6hZQkln5YDCYWMyVu5tS2pjD4ZHiKIws1pxZ9TeQwOboDK39TvQhZkb
UQm+c8Vg3nCZdsvIyvLXtjXuaSGYMMhMk89BupWwu0INAnSa76owgnyxV02LrmPOYuQQcuHta1Nr
0Y/KNjx/smV4F9jQGepA94pofyKeQJ35QR62V5x0vKFfcERhK/BSdQeRQ1q4UXPFzPwyV4QSpN/m
Gl1Q7NT4QU+pXwzMQwUvonExUNIHIeM3CsuRqXWncWm0Yba+xutA1r4rhdHd/KdBKDHb4zwC/gQD
IccIAMr7wdLiexaIt7CtUIqqTFANApVz/0JdZFGRt52IkLG+2pISydz/Ok/bZd5tGc/zHE1oV/Ug
uuxxaMz7IP6syrWhiofXSpsiNMOgq35NblCPXuTpGvDOz6QbYplWj8K/BOtvoqefuTeazZDxGii2
DpDgiH1rOsAVM+MVzIQT0EN2vCqUuY/tJ8MeynsEzoubNnZM39Em/Vth9+XC9IR3DE3u4cFH9FbZ
OwnpZD4k/faPWcWUT7va0D5nZUhzp6P3+6x1rYMouHbEBnjsYIHfNt/XpTe8ZqAD6b3xxbNbJH7B
aLLILWt8lUgS/+mlI+S0SzPIrUBP3jtbXZycA4QDXeGdTbv2zlAm9M4I3ccbs5w8/0tHDmyTP9Ve
sr12aJCwvMxBZpoa8et4U+Wm53Ok0Ja9XkaQJQGuZ7LjaZW7+YRo7MoJmuAtT7Cei1Yrd8iZxU9Z
0YM7AP3IiNeQ5UviGweaL2c3A2ldggq090CTwDjV2kMJwcu9AfqGecICEcYh8N6ikf0+YVl3ZyQL
4jPE0SbUCperMYubx1Ivh9vUNrDDloiWgt11a5spilNUEw9CC91AqzxQ0PQyaAQv0y0wnf/D2Zct
yakz3T4REYAYb6l57K4ebd8Qbm+beRACMTz9v5S0u7rb3ju+c24qkJQpaqBAysy11nsnxICWbXVL
kUeBOk6oM4JRPx2q4kGmhntnoFJdqhCm9JIf4EZyj2QKrvEMEV2jX5Pp1dNU0c8or907K/1GY27S
mRtm481Z9g9rKM3nummtvUSOdMY+WwUks/Q8rkBp2vkX1rdPhIkGol+lN30LdYY9/6q7L+RdFKa1
LyRKLciqlMjXtG5T3dgx4zvsEQv1p+og5S6iXi7Lykk2Uabb9wzglcNQyRj4YIBtZgBOYawRkuTg
XlT4mzcHMbnWfepl2uwQhU5ytuvxUUcN4EkbkDuni3QqpbPsa6iy06U8MORcoVY6m+l5rQfQ6R2/
kJkDTfqtl5UBrXSczrCC2E3EgZYnuEtbQa73zeE6OuKiftekUdpZW8qXRj/5OhD/vGf4MxV5kKKg
YdHpUGykGeu0TvfUpCmEPrw2aYprU6i82rX5374Dd5NFDzD4Oe60nwLb0Efo6/SItxrGPtZs+zwB
HrVsYs/+5hT6SpSa/Y8yhfxF/BhxmPrKVPOwyYRclgyaSAMGv+nCJ9laPxzD0n/1IGDCNritphdn
NLLn0tCRMQzN/CblGRZtrqttI51FN6VZI1fz2xd6MvqvacFTy/oFgauXqfenc5pWXWA4To8nljX+
4+m4q2MVDHbOXx3n/mM31O0qdjrtiCAKP6S48NZG65v35DMoH7u+LXFrIp+2Yj7qgSd/kevDvKkU
lrsRtlY9jGVhnit1adNmE+FcvtJc05hFbZRZLKb3Zrg/Ljs3ye/bsBs20GLUNpOL6j5dZIc+bOOX
iNv1wh6xRAdnY3gaxmJc0ICBGuwEgK3nf/MEYLZeyKJz1FX7OCh1lNbKNhOiV7fUKlT2AUt+3JwV
KNBClvs4pAiv0KhUDkVUfHawuYg2QpqPUV1oYH4bsQWAEk1qcL4G2nzYVuDt/xKxYe7nWcbX4ZSM
c3+MKNWcG1P9H+1ToIVXEyK0kOOu6+qMu+x3oLzAiGrIdLpvKkTbfeY6J0eMxtmMEbwuDS9+mTLz
YJtD8xSCX3o7CSirN2Cqfc5Qsk1f1b96AiaOJ0kSrfXSNJ3NZAzGxsuKOsBdtXpktQ3kD8uNE+6v
yb6gny9M9VsfYedFJEUI/Jk+x2tA2I5Mrz38MzU1MtCdUT7ayp3b8tU91XpUMqYSV1/hiSAL65nY
OcubS+717j2qhfsDD+ta1QAP39y8vehDieB51t1PttOfQlUvCFWItHjwmXnnJW0dpGM7rQ27zPDo
BKJSZRETgfhZUUtzS/3ViBvjX/qVPf0Sk2O82rvgFw5acD8tCcWpj5CrFboNgDCBRl0LKW4QnC9n
AKim1cCMmWs813C/IWO76kGZoC4c8IgmG4AD+cLOwx+gass3M3Qw96BdpEsj31D2jfJw1753u0YT
RSGJ7lWrVgNBg9oQ0QYqqwprD6bbB9oeFUYGWgd7CpvAh6DYljrJ+M2OWm0egr+/d5ptHnrsnLi4
ZIDI2DhtieJu1WV4EpwWQg81QBP6ak2d1ttwOSGLLZGane3A/uEckIsCf6MMz7zoZAA2ZL4ZtWj0
l9IK442UbApkHSswTDuyc/bVcbMQogOqRyiPsIbH3Oa44DaD8iAjW82aIt4VjcfS8kHCkAxNjUxI
VKzzKgJ7YxzFxjFTFI4ZyleOBXFsg8kWRnzK12aGvZABiOM96Ci+gPTdBudS0t8X9YgrnJXhggbp
5QYJ1VfjJMy0Rd9DbI9GpN67R6vsv1ALKPd5OlmZNipkMTlNV04iXPRgU6gX31J9AFUBQCrLcES4
YqNp7c9+6EfsUNlQbfqUfcvtqgnqsup3Nlabt12lAZGUZu5Lj8CKZpeg8AS/GvAQA78PKy43ZAut
mFdbJMYcsgXIulj19ShuysxcJFITyCZwcKw6KLMNVJ8SFvl8NI8CZYY/sPL4bzs1WqICHPDfHPQW
SnfQaLC+6ECSDKDXwNny2z3YbfheZ2AwtBQRLb2M5gvrTHFHjaQGE7jfue1WKuJgcGTy/YTKztme
+vpXeyxc8OdhIFREiKn7bI+KFfzV/rSluelU9F4QY0O9tGnUh0b3HZC0R3JTmblziCw/Xc6366jH
Dcfv7rN0sg9gsQKzirqNc7ed+8n+L/2G8OwDQMdrpwYam26vaQhdubDLvpqFDgUGPB92EC6wH9ws
vSeDzIa8AsQQotvc8qcjK8FdUKs7d2EZ0EeO//BEne+9gERY7WTDKh7taoH8dnOhF6vous21T7Mh
woJFVrcZa6NaDFjNqYIFZdPwb7YAzUI5cuucRNI6uVzTF4hFxS8oZN3EYTk+g6Wv3XR9nG0zu6qf
YpEcyUDkHKUWifHqiXosfdGpMihu95sMelfPHFWy68QC11dZ3UQhbxbt5CBs0llBaHDrW8R70Ftl
QNNYjlfeRPrULEwF21AWMhZgB6yMZEW1h1RxWHVgGgR/7Z66qDDxrV+iCGYPShUUMEs9hBbZb1sy
oy46eusvWwGao7e+1tD5risFCMEXgyEOeQ5yG1DSVvs0BkVL74UH067DA3MytwmQdLKb4P3xR1Py
Jns6KjKrXgPyiQdNbOU3bcseaAlJLfmh1RXGPAZOhYIsaSnqqZYay0H+sjIbD/WkqkJjjFGozQC4
Xl6fDCn0eOY+n6KQZMPD0QLThY6iu6vP57bCqVeOTG41UODcWQnkP83QA22lbaZ39AI56IVbshB6
KeiSoOqAnrB+Ty1ySsoEiHFNlMtr339ONJmVfZMmIKlXjzAbsVALVJVnelDRA62YMrZKPdD1kcV1
4KMtDSbcMleabmko0f0dTPw4L7WoEGHooJYMnNrrvNfJHWsImKez9evloCWWWNHvVRb9F5TA62fa
LSBn8kX3IblNv5AaA53g61jToExCjf1/+PnQ2d0WPULLtRbdayHuJX1Ygz/RMFFOX3k/CqPTUTPD
4ntVq7GWEtut1h2tm6wDWSm2ZzaUPOMIWDap3cRVypdYOsXfWA31aaXo5lTiO9Rb2GNrdPnaqrTs
kLl+eSZT37bfmTKz/u6LAdHQDKnpSp9MsPyD5a5WO+p2QrTNjBMsJ1VzdJD7qmrLO3thVz8l1Vfa
aMfcN48Jc+yAmpVfvXeyou929diZkLc3epD9oBq5RbZs7G+GMF8BcCLu6CUrIMHim8CEt3qMOrQQ
lI4BIBuAgCsP2/P6G8fPZg88i9IL976mmUi2dY2db2QrYb5QnxKwGwgf6xhHgK+6ffYhVQBJFFtH
JSjow71mGAItm4abbizeDwBni6ti9PubDiVwnz2cphqg6+gihuQ3m1jpXjFTHFHu5B3ppsxV5azq
SrTRO9I9mfpVV62sPnaR43yrfnOqe4CHXJCDgkcOqebAU9yvo9twEJKnYp2yMTpR37vhqw2kwsAU
affbedYRAj2bMgJr3+tZjNiZ21lf45uCIM9r24fEymbw237TxlABkQoxgChw4E5J9aJleBBzv3Vv
Rshb7zQtL7AcGZx7y0Xdr6XoezqglMm2Nx2wIJvms8mEnZ3CWGNIz5bpzrNQbdIr/QXu8j6wXDc7
2w7QJknlrgjDrPns1YyaZNYZYbbKUK+9wPWwiRJH/gI2dQO1jP7XW8+fBx9sKp4mgVPxdq0xFE+D
uRilG4CH3DpugpKVCusyataKxx7hXfug7KgrNuzidu5XtoYcQTtbQXNAHqeqnu5ayb0FZK+zneFH
+KepJn7A980otrKdGevAvqhR9tFYRlm5KniTxECk9e43SKhbEMeBIhdkrr9JgJhxJWtKyEUJd4Xh
ax/I3AClqar7vsWVjHh3f+G1myAUPgLjlEPi0gGxKUB7xY+rhbRG4J0RO/BjrcWWCbnDwHVR4w6m
911uQMIVfLTFbaQQZoCxQOIqdrNNpyvKOJ3rsx2NurkWyPkp2hT6zlQk30WZuc8SVLudQscUigrc
Uv2uog0vwQceeuH4rUXebm14IK7/Sz/Zl7rcRCqaboW4NdS57zwnzEXGQ0E5dFSjZYnzLAZerEq/
16F6mRlHMjUKC2/AxmNGpYGUKe9DsCZIVPgO2cMI9pniQddtpJtwEUJrcVy4QzwcsqyXX3IIeIEM
gbUxqn91LHISJRxCRibjw2GMu/IRIhaBaVWLugbvLvhHjQWUk8ACYhvaLudVstE6UEGzSbGFVsz5
58228SoQ6ylbu1b44VommzgP19hpyltgJl7tIdn4bm4XyY3Znub21dxkyxT64m1uoBeLwEftZRyb
5RJl0BrIdqLkvpOtuE0VIxsVmOcKnxX1TMNaDcSQEINtb626QeADJLxTPC+RrguoBNmUXc/05+u6
zDQAlA1T7Bd+h9kA1bsvRyhEADzHtrkS9EHU0z95roIKo2UpxZ+rhaXkfYAI9k9a2awz39i4cd2g
FM/SQKvUYDk4uvVXQ+LL4pDGPYyVlUAUz1giMM6/1ihO3YBOrVmT2QTpCzMH9IncY7u08AeCGVPu
rIxf3WVmLpG8thstv08aWz7gFOsRaMlLgpLnh9juDNztTLanQbssGKCPQ7Sm0TrKm30P+F0wuEI+
DLLtb1GGvqVBchiiZq2ZVXwhgyRr/pjNAI8XyN10BNkGwDrU1miK0wHcp+Dqoc0K9eUppKo87t5S
Fx/0ctkrB9oJea7dH9IK5X60S7K73llXomf8BbG3OGirIlpCFTDcEr53bOLXJkF6aRQFRuGWmtfR
GQz85qtZkb5m4M1bddWAP4/oLgWQDPtetXxe+Ddjr4MLGGWrYQIoOyig0NehHn5VVlO3pCYZf/S/
9r/5U1eIKGPgWAn4g0RRLsbUr4/MGZtnY7gQ5RK4j4x96DbxkoiaPllVxSXJ8xxgvJw7+kqfQr53
hx70ePiVoj0g7We6Z9LNNLXAAAz0locvSzYnH8qhF6MDwTkCpRUwSnaE9OEw/KND8hGERy7Eww1j
3Tm4f8oE0YTUydOn0Ui6peeP8e3gZ9MmrsBsh1UrHhdOoSHUFEaXauy1hT/F9TwnCh7Hf7LJep3T
cM13c7oDtF/mX9HHo/YuZtUPjljDkeLvUyzMdcwBY6Xo/JgOBgQzkx1F86nr3+xT7HYXunCR6XUV
QwYC/PT4oZadVrem3aJCLe48GqMHl0iLU4uiodPkhE92Dok4qXA+eDSiglx6T1kN3tj2zy4ysEQt
LkDavFoZ2LsslBPN00KWBESX3S8yVdPTXNT6y/R02jdnamEjk67CCHg37B+gk9BHd1yB2UrIuC2q
yc+31PQzPu29zOsDalbK5C8OLDLzLWKH9Q1KGnaIrYY3JXQ3ru8n91HjvQPXBm4Lv78CMou6CGsd
fFSy/egpwf2NWynYdVBDrKt16HiuJTigmXCfwTehf+2Rs4bIKpZPViT4l4Hdx32J/BIYYbeg8UnX
GrilvqY+FJcMu3pI6wb/iwQoTur/f5xV09x86aSagVyIZWYCLMYgdKy4VxytkR/9CXXAkSKVov7S
lRc8MlqUcaN/7ipLkNeCZ2oZkuJloVwVmyaZXF9AEwuGYqg9NynucnQp9Vk7LHANsHlJBL2ZYYFg
JZvXQNRkanRSCyZNjV6NtUnrF1tRmIA3jY4LTks3m9UBqZlAofxdk0ZjaNkiTdH2+Nvh3SNFleMa
YfnOJS4sVG9Y69aoQOihvgL60BakzM+VMAMnGWLs+ZSLaZX5LiWyrKtLYkCcomumJycC//zAwd9N
sQ8bRDg29p+PWuMg2GoWGcLlY/qFmdqKDCbHcRZaODUn8oQwT7IQKmqSefXsWRnjq6c7ZOkXGcZr
ircUk/beU6+8eNEoarK3c149oTw1n5Om/punPbrFfpJQn4Yc+jfZG91DliYZdgeZthHCMx/iuvxK
0Zj/MqCATudgdapmAMAsBWlq826GfzOYHGk+OKz++heDj+8B6Y1DhoAxgMxgWHNN3T63oM0Hf+yI
lFrSx4+jE/1CNaH7D9Bs4I5JnW9TAy2tT6aV5c2mjtqVvJnSrL6a1XRsY1/r4EJ7m5VMRzAcoZra
/kamMhO3VuaFm0GJ0RlyZ+LO8oTSwe7cDm4BGA8YOcH+n25EIkD7q6wyYeCfD3X2059OVmtBR0nx
dv7NSbrYKSVqyt9nauqhO5MTzWX1uMQ+nenq1Je4ckfv6X91+v32yKl7+0zXM7lIT6NOK8XPrFjc
JBQLTihw2/YuuHg71wKlQegWO1tU2nFuIghaYm3oJRuyoRdTQHfcESxfsCS1bqnPamR2koncNjxm
7SpkNbCKYXi8eiVFWi2QewTxTZiz4N0zJyx1cCqF7pruv/NDpwFXLPXNO39T2YBT011f793URzaQ
W1BPprd5aG4ydN/moabTOTfGxBOUz2RIOmRTEu9bxSzAQ5meB9ZA6jN1IupTqttZhxxv6TpOF3gD
Sit1jp97bYxh9MNKmDbeQWULlDFasqx0z9swVSYwelMGLjSNLxrWlg+1zXE37tNNr0BSZCEiDZrI
iXemVpU5f7gPboowuHLoQ2O8BS3BJozCZm1AqnRpGBz7XAd4orjLzTMkB1/5MWQJElSRe/GSuDGI
DKNTkEoPtloL22s/kDcQkUnjZBkTCxAZY+cLolaJDO+Ej4ON4O/5OLW1FGJ4/oTFZCzSO9ptzFsO
vwZvqY2PHakdiJ2Z4uSXkElQLXqBuDD02ZQFNbNCiFNYx/MctKmZtDwMUs99b+H9trjOISEWsSOH
j3OQhaPeB81RQEIChY9QByBhdmzDIVQaVTfgYBOXj10qh3JpFMpcWXUZSi6oRaYfu94chbKaQsgE
6HHmrDuzlYd2yOTBAeCwDuhwcE0JHKgGXLNnJ8BnTQbQn6qThslnNp+NUKtZh4t33WRGro0cfzG3
A3Ej0FkHXknQFxc1CPs0yNQfSvxKCbT5kN1zrChavesk+7kN7ZqFaTKPt2AIWKF4nZ1txTToDsAG
aQ1S5KqLXnLselgARp5oEadNCQUH1Z5dlLWTaevZV03QEiMhWScgzlu7107h6PPcs83V5zr3uxOC
oOlJzOmcTjbh0gLlt3BG9SXiNNe3h41Su655BTzexwGwBQI1CK8GOVxERN8+ojIjL/BTgemB4cbn
6BkoXEHVb1gsDCZURu1sBR5zIrs9jZF5oUHqAj4Id8UOga6rRQ8Lal0trnPYsWxPWmzNFmPm+UEL
qsKDTBjY+arsMdN4cgnd/MIURsqUvdjXSBEjMTlVz7UijG7r3NrQKOg5AG5r3OFETTVHCQ7mx1rX
UE+IOZAZqp8tNQcHseMi1VPtoRMKN40sdZmY7XYs4gk5ETSjyAFrr3iJQh9JONXTOlIP0kbyPTVD
y39vj+IKcRe7L1DK8YLerqaTl3feJtITFYl20meWa1ssz5MXD/B4RMDa9DzprD0njo2knKKPnhqo
WuURe2qs4r1nNEU7MgiVJ+o8QNU+l/j4PZNfwjhcccWaLHLj0rVd9wVysc2Sua2PMtLE3KXgQt34
kZCXuO6g1DGV1ncZelcnGymHL5VmArGpm9omRg7LyFnnrKFAwVb+2AyBDySge0ft2I0OTGRZ0MVx
+cMArQZARwOEoYpunZmOu9MQH700odUFLALRlLKIO+ANhGi79VSN7q73K/cSYh01W5huPltc57ha
iLhw7twq+pEZog3At1MfaQtPzQhw/3fNRDVpRx/H0A75NEq+MxUYQAifR8kXyuHsEVT270cN85cu
rBcFsz/7EAF+zrsNV0mAZIqrkwHoQkDNuu35uoau0YYkECdul8F/OY1d6oD6Leci2VQ18NGTIgZw
sJY/0hG9qDvGXovThUlcAjTKUuEZaxqBghqIX1atL4HVwUOoaW7kNPk30h7LIIRG7RbAVjRVH6JG
05kZv6jHtgA1DJy0s9auC2gbbibgh/ybL5mTr238snWbHZ3UWwveCNTboeDZwZ0SRSE2IH+/u+jo
rZ+swLGCdCX1gdx9tr06xKLzwAf72k8OTM2dqn41d5l1yWIqIB6McjoPip2hdxywH5SBa+neEX/n
YitD455a9AKNsFEGsw2ZRzVDLWEj9u+Gr+Y0LXIoDfCK0oBM6dvctjrB1ZBOJezpfj5BPkbT79PM
Ro210vF7JmyH5052RFkGXpy6zpbvDpOer4ZCgqQiD1HzejVU1hYRK5D1fCiHZqXbhbN7NwMd1jT5
x5f2g7GsNMBbKxfiw1qSHvRQTw9u2KQHaqajlW5Z3Oyon7pokF5sZXa1/eRKA5/c/naKq50OzW46
2bXresZPrhA9zpESB7yLFsVMj+2dzzgiUmr1TS9TNOm33ipEyrJdIQzys014uLuOh13lLesEhMjz
6nysbOvdHIZajptOqd/GWK6r1Xw3eN7BiLOLV4v1lKbj90aDRvbgDfyCum1E0Ws+7vxhjG+0RkDs
rq70L0jG3LZKJFY5ZYM+fC9qqHE5XcEvIVZym5jDKa5i91jlPqSGQpCboPRuh6wiSGxBKh8gj1/8
cBCCgcq9eLpapKEnkiEwh9TcdBCeCguv21jYOj3VA8ICDSQUj9R0S+3gadK9dFCIexzaMoCcqvZk
VSae5eX006qa6BlkPiOYipJ0SYMoN51WfmQATaxsdcN8nZGaIWjiacZUrwuakU7EO1GAx82f9pVR
HqHe4s8ZP0roqa646v0j5f8o46e6wMqKCnKVJaQun9ezFbXI9M2RMoETapGzuk33ut7buLfhzQlf
01YiZNH86YvQSBejnsgDjfaNvKlYn11kmWuPVnGiT8DjsL3pmfhGLZqw8RuIp6rvAmUurxPSqOEM
rxPO3xQmTACXh/RDmy5Ey/uTk+sWEE7gcs6iYV1bpf/csbrc5J3kW+nz8BEChWAkggEDbSs0PKr4
hjylZ1kLVwn52fn4zrOyS751+mqbu7LcYIdpPJSyK5dlr4dzExdVu8EWalrGmWE8GLlgh9qJm4CM
sYtOL1Lo64T5RrcQGQJPneZfaLBgXgoGm6w9UnMU9R8TF5mYQJmL09LEYgj568Qm8Olh1zcLMfbO
8frCaog6UbOLcxS7t8mhqL1aIg2uXq/Dsw04BYG5BIHKpwEavfa9zXXtbwtP2+tIs+A9hufaNMMz
6gTTJYqFPYj5mCiqm9om3rNMu5CJkTCU0XFz2ImuQ9BWABIR0Iij/ITym208RKX3TuJfaFa3egBK
vDr0SRsfPeR90yUdzm3UtuIvPhaLVprxkfqatyPqEw2w92saMbMIVcWJv78aXz2ufZ8maCZsUWOO
c6RTXAhE5XGm+dDg9tZ2GwRoQZJsK3RqOYT1jtmmt8QWAxXlFgAfDYv9k+221SPisrNZgaKR2Yy8
yAyMpN5sJrrk3WxJCaZPxCBeZ6vVbF0WV4/qpCCx0ZFFz42Nw4zVKLLwhhb6fu5UGxTrA0usdgHz
Qh8W0HcIb6hlVXE9W+jEKvHmT6PYIdWbBoLQS86Sd/5gilN3UPAwD8T+nSo2cD8HODSV476KR13s
9bvX6n4tSo1Dmek6QHmlPx8lsn89uvZFf+nTUtbscyaWVjXxFaU4o9QCt0QUm2fko+qHpvU21M8l
N7eoiuYrqdKlZFYPpnGOgcRBtVRcLyC3Bs4CsztRQIYiJ+Yg5y4Kz1D/W1drqMRAC4pCcpojNs3v
Jtk6fPil8XS8gdhAg+SIosbEU6FZuHYiTrgtAveu9Vuv7wcIPrrQPpr68VuHf03AhFWdrwMgNLcX
ggF4Bsq4Mt3EEGA+CQ2TUmKyBAXM0bfLl9ZMUD/tGpCZt4243n8c7VBktSsrPPH6VkdBnSYr8IGP
EJpIENydj6590V/6rnYlz5ydhecFk4DSyGFDpbWAOk1LZM6r5VyR62XYRNMhpOqRW2rPlrAtdylt
Pi2TKqpnO7Iw2s47ZlCg8No4PgFP1a+SVLcDbWIALJUWeN3pkF4qp41OTma+2iQ6oLHBZyOp5hg8
ZqM+DOZX73eGZGNHHCQ+Q4nYNNgOStN1d9GgdTPc4tq8jpYIoMyoVxrV20rOxlLgg7ku/5VX0HRD
KF0RHeFoaIW3o6ad8GNml+1dVPTizuha4BMG9gykmrf75ER9NPrmJDVX3JnYXfy3k5Nr2NW01Xym
Nyd6AzRrwrvXtwfhsfsoLJLvow+GSSgDJ4E6wnVQo7j67ajkv/uuo9e+f7MrIdH1Ajm7dZSaPy2m
GQe6IrO60PdIcSJqRBfsx9E0ka+jukRio0deOIN0JdHrEeOeY0bGGUJIYDHCzkK9XLuZjZqQ3z3X
bjOZpaP8Gho/dZ+YK0rLMNBcBbHBnTkPY39sXkfJGODvaTb+b1879sd1knHIv2el3EPL0QwE64oH
/M6QaUTWj1qoji4enKr8BgxdcQJ/b/HABSQvdPB+r8ni6k6j+KX+5j4OP0ytxcLfATMeBAYLZwRB
XRha4HKkjrlXsT9ia9jtvcpe/GHTtoUeoJI93xZaeXFVtqFFIWARasjmOBUIGiR3jz04+I4IIHGl
UDk8/2mqlTo4FbFELGqUffEinou7PFX1NZVxGJRg+FpR81r69ckOhHFQOlV2RZu/DD2Ilcac2wsZ
eZD3S+wqW4K5DxyzWmyAts7OZHZ0QKVxdL3ut9VbH42iijRDgVPnLSTYeJZU/59GhbtN9PI7gQWY
a9nuMirNHz6YzrdXhACNvtnOZn2DHKeZ/XJ1XcnTJELfmDZDeq9B0BtihcOtGcnstmILarQFiDOk
eplsG/zQZlVsP7uSIdmQa/xU805HHKBJGm+DNYO9aQc9f+JWcmaoVH+xRGYFGsp1brUSF29vufaS
BpK1X3n8BRydACiYQMNnrBhvXQhzBzTeQBBZJJn/2IzYBwmf/y8zV0MsXxCA8Fzj0fTlDgTb7LYu
uwX0AvQzoCTYc7XIjAeeV9dbGrXjwrqNBZKZUdX6i5FsgK4bD9AUuNRNBZe3aaTV6ee5j6ZBOePr
NGRC03h2bKFof0Wfok2rn06el/d9DxLjsnZQA2Po8dec6/PXACCuvsA+IznHbumDAAvlA/QpQL6w
dIHb/mpqyGnYY2ztsKjE4kXrfv3b1Mwu4q+g4vk8tWf43inP+Lcq5xct9+uvpm9NgW6F4qz7nntX
ZM4t9fMe0ueRGMBIntj8a5SBtLvNwO1UQ1EaVWkuckroN9nw6l57lXdnZNZtlTX8a4w99RrV22xp
VtqJ7qCT1dr7GFnUYH7EU3lShZQ+0Lv9fJP1JtPee1MIBVxVqER2rG2ioLVw1ussIsyqoDOg1wRo
xfB+hlRk62iwwSsuUlQKgY4dHL04SlKuGK66/jZSR38b/R/soKDqlw+WxrBgU5VMCGKrfRHgT1R8
hC+1vvOsZBGDkL9d+GI8pabLb2gQ1PMVWJTybke1S1Ves7WHgs3VdSYRD4DNqKKot5nmEidV+gQm
utPERLHCAmPYdE4KuT0r9R+NHKswsM/E/xiOtwAwF18Xh05snHDnezlGVmBHVfIga29YeTIBjXkl
zV3hSWCokzG7QdrZRA63/zzTJGIRBZpo5pkcV2uCSXxjndfdgcAl2sZ95G/1AptfM/PBGYU67x+W
vaG6OwkWwaDX+1dTvav8LS6afzW9zjoqU13a6TzraPnXWSuG/C6Z5sDTbPJ4xDnaYsPVFYeqlG2N
wuGHEAp8R08KXBvqAnc17IlNsFqdgErCT8YQiVD9rLfDNQAgxYYuZKPQNp/cqT/zsOFHFcvdCOa7
GyR4EczK2/Rn/jMZ0u4nr402sLBSvx9tFE5HgBjtncGszxqQ7kvob1pfbGiQywwCSfhvHQTIzL/m
OkNOswI/WsNUeYBX55sGW577wtXBuaX7yc8I9YD+1P4cQCOI6jJEF2n+srbHPStFfeZuDCJ3NT84
xzcOouQxL8H536FyL4TuT2Bo3s4rBXtxEsh0YMsSPrU9/rb25LiXAaor6zZMO2xyIpT8Apq/42bC
jm3BpnXFUUgVdz3AMdCQfzQY0qpG5ujfhcdOPGGozMmdd6epG998QeD+9TSQInDm0+hd8/404Px1
l3bbj2szacEo7MWgWlSosSuIbD5SfYQpoyYZd2mOIjAFNqM+erEqrPx838vOdeItwdoLOH/reuu2
S81tUhv8MePAVrMxeSlDFKeDPh7ESX4Wn8Y2i5YUGVGenpuO7zzLOGkep6a6tSpZn6K2RGw6dcuj
IYanOCpRFG+BC3lpmGDZRskf2h1vD4l0QcVRdu0daAxK7Nnlq3GL9MkSRBbgaEX9O3Z0AjJxihg0
tFfpYNm3MzoEITFsyJzXFlTbqEXYxKgsHCRtYu/QWYOz7HynP4+lL3bc7yX4BBp2g8BxufSsynlm
xvTFYUqXq9kAS+r+5CYHT/pY10+h47161+Bd3KF+Rm598ErP3pbDpgeJO9Bg9tiGRcYdQxb7Rirq
aDrSgQDeh954V5Jy+bXvzTZSy9hEvdAcHbd2roZaDTcHKrSBUKTKL/QAghprSjAYrcSKTw1bYgSP
MOUW9BZMGqKxFMtL42/bvImWxIMKwiN/2yd9tDQlGB7afnod1T82afSTLzVH5Ut0pJGJUIY0qxFa
gHgHNUK1q3YssUKbiYTnYyIhvnIMY6XdBrz0xhUNENkwjVKzbdt0XY/AiUW8ry/ClbsmSdkjz1P9
1Gj2xi7zg1Fx+0mMmXP0UEIaVJLZT3GsG9vUgEAujYKdtV11dTxufPznnpiNyiW/KLvZV9bRQ++3
xS3ZQpKg9FP3EVgz9+Ihuk4u1/nJ6Do/nc6ByjpqpOS4oVHNrzB/ZY7byE1v8GU3h9Fp7UOT29ba
9nX7MvkoCRtqO/2KLeBDC8JcPHDLANk/7ReUzVBnaXRfIN1lKaxIdZHe8H+0fUl33LjS5V95562b
pzkPffrrRc6jUsq0bEsbHtmuIjiAAwCOv74vg7Ioq1z1vV70hodARIBUKpMEAjfuTbY8jsWRYfX8
bhxdQXUtVeL9OAG4pRQwRK/lgT7A2RvGnQEMtIkHqVvb+hJoKli7Mm+31OxaQKVT1IpfMNnPPsf6
d+r+26AgYNZVqQb5TmT1pF26m5KBoBeFosGTyZLmKLgTPpidCh8GZxUHefNAPUGKXzEoX/BQRq6P
uhKsZCHxYLVLcifDPOw8jiqjZ/ttaOqHoLqlfOB5x8HiTA1bOWC7rBz+cIFaAYFmc0ktxW9m0vFP
oL9qFg7L2VG1Af/EbB17e65ZrsnqZXw4jZGlMYAZA6/wD5F61LKjWzXpYlqJgrFY3VJAVVa6k2Rb
mkbZmUzvoxS8yJaL9AsmUdC7d/x0sg4F1LWkBknJUWpikryuI2XtwDL0dVaRiIU7fAt9yDxgdQqc
a5/cE4HDW4uKslApOtkoF/HWItubZ51AlibNfQ0LGV+soCSa3mVZAm3Mtkg2NnYIHsHr/Uw1CODS
3IH62H8i10Sp9C4fXVkaJxvOWv/IdbfcewMUBAjSV4nwATKr0eMA465FwmSTsjL4yqxkRQ6ok0lX
Zckd0KfH7oUiCUaIWdMUabxF4s0JlQst/gN0ThDzUnXlY98fEmWGjtcIXoxld25nU5yX5hpPBQfM
ekKs/HFZSQdaTE4lRNDcejB6FJqQgdaWAd5hoInoK+TqbHnSURK7MTSbLZuqbNm6H9tQf/7Hdpo1
n6PauFmAW36B6G+7xRaMuUZNU/klhLrXElhX40BWyChcCtXWD6gQBSTRbpbUnaZ6fq5R5ragoEav
223cF+aarDSGDjppFL3gClWUXngy5MtOA2Zfx3xpA85Z6wjeHv9Y1hW23/NCuyrRYh1Ve85LFZlb
Z9SfZGUDPmPseQFaHS39OLOvFG5wZR2rEmImPfDLU3ikZIhaGN/+DDzgqbY1CCvqSb6dPnL69F//
EcC8TSbMZmJwR03VMh6EdFfTMnxakvPEyg62xVbg5MbanJblr8t0WrjTcjzp6uzgedGq1FEIOP2s
OhTrboeRuKXvOej1ClZMSPGoxWtcDtAXHI0EF88bO8PN5N3xQwAhzVM/Ts/SdnYDlgPkQHrMfef9
JciNrXxFQ9JV3gJoHH0MkBBFmK7iFcnNrSCH5vMoGctr+a0eou9EVdF3UPQKHQMLW1OXx7CLg6kS
GlvAiV1qIwjTXs+BUCj5TpXSFJiVrHmg+mroOC3eSdGw9HNluNpuemTMUjMNDJIMCZKqnRBfbA4W
mcq1tBumA/1ay1l/djmY+BiSdbuqtPiliDwUngQWZqBDkkM/s05+oMRomQoHa5xCDWAWrqyX3400
9Jk9ygK9jgSCaQMTbu+bPvjI/UesCI91AQye1PpvfW5ZYG7whlvm1QlQJEqe3CDPQRPmBptGsPTq
anq+xOTRfs4H7eC6IISRCA/yepjCIa023Mwajyojt17Dk7JqFv6gg18BgLSrP44xaJr9LGr/EJog
hoH27TQG01wLf9Bfx6BboHCRO+/CPRva1G+3UCTsafpOFgU4i5LsonmRc0jdRF5EV8uLGg8sT6Z+
6io6q1gOSIRsyx7Erm3CtK1CVcgn7vts76K2bElNlDM2oHpS4G+z+CfqCjwJhbs6vIvHLgqngciY
B2n8MVxv5Rbv3ddfYBH5E+UGTYKR2kf5WpznC5rqzn0dAEeLaWpMPvroM9E9olZP3we8+mmPVJFB
ftg7+llbrxLkN56iTOcLX2+Ni6vhS5606on6oQhTrbEvhTUPN8snrbzLBod/zbRGHZLaQHXJ2D1H
A68K5BKiqd82Y7FOs37dsJCvZpLNmT2T23249Qfvu2dbClIYIy1nFEskmgZhf4k1vd1RH8VOPhTC
Qvs7jdLFurXo057vwKDJbqHKDkxCoJdakMiLd53ltEtqUmlypeIDai6cu6oW+NOCuNwEjVsD/B6i
+NOqnQdItf/wwLL2XEpsAYBSND1rles8BE3xo42K/jkKw3rZjv1xmLnUT/6JAWAmiCeaHMUpVeEe
aK+d9tOpq3G9Q0xlrH2iJo+p+RYwFb2+Nafd+dIGp+9UM9SApGojPBc1Q6DN/ZYgMwmSKifRt2Oz
6sGTkog407fSF1OzRRGegeVso6/DDFstHF+9oxIVdJ4LycGAB8D+1NmGPjrJbvmBc5S2xf/anoMq
DjVXcqeDh51tZTuRoWGfBZwHQ4ANt4z5hbwJPNc3igOE9laY9VpP1aBiSI4LwtEQUo1WhhqQhTVk
+m72jlXe3o0DUNjcH5o/B5gNUpO3Vo/7PdeqEw9KCDiMc0S/YXtouMb3NEUE6BTMpW1v78gImiKo
n+Eli/JIBER1IS6qLE/TXHMMdWIjvp+mk2NoAcn6VZ2GNejBMu+Yg7P5GEKrbmMUkXuFtHq01Fx/
eMmSfJdxvLKzxt/m4I946Ri4DAZf86+B1zWbvPLdYwXdhmOg8Q6Au5/hcS10Cgf4WxwdPeMb5Zlf
VBlqtxzFk3uda9km9Fj8DFKDBcEZkqjvVlaaRadIJha0BSMgUkacg5k7U2SP6pUp0jMH9uwic1ip
ovuqZSUU65DjgGpAuo0b0XwxywxPYquuz9TUyhf8yrRHrEOdi2njx+HbzRf8Dc4OJe5YCIwxWhJE
qz7JowNZZR/fG0GKWVLD009dgQ3c0avvGTv1FaYu1MQe5+t1X4dkeA28Xbf3nvNEe72uUerPFPPh
uizFdQ0H6e4ozdYslfpnN2F/5k5fQ/TA0ZFVzzduOCaBYzt6LJACpW6GHP99Xg43amG5BtRxbziT
0VU9XoeiNlfTENkwrBtodG+nUK2poS+VdQdqjpfDJ/n/crlqMF8vR9ccsITbxX3IkDwY2AX0iU91
7o/VBoAarZoEoJEcbyno9pVtuKpr1u70RI8Wk90KuvZOKzdxYroR2JSiJzBpjdiCsg5XVaTlq8YT
zkrrJLcX2LKvT65W7vNcf25sz78Vwsn2TakMvL9TsI8DOEOp8r6DsLBylH4HZJ048zjXpiR7knmL
RFrRs1c03tr30hwU16W8oqgVy6hxM6GwTfyvmt+OTQ5OgHXc//exe7cSZxWKd/ctc6w3UQn8et+o
WpZXH4RU031n+Ey6Xz+TSAv4SUZRj1rnag19y+4BhTTmp0IhU6g5bXxq/cr4hByzWjmOMLFusAyU
7RrGFkkXtSKr3evslLugtaHYJK7aB12pNRkpYB58HG0enIxiCOWqq11zSwFdhlrksKgxOOBEp7Yf
06pWxrZK5BoKs3L2JAU/l00lblJL+7uUAfoYcid6ChRGiswA6ihjs19gyqV9hRi8wlZCI1bUO+Tg
p2Uyb+6gylffqtY+UT9dwyxqlGz/cg3Wu93Ha1gVFwe6FbA1GWVxi0GMRMQ2UVEPuzIWMaoyBmTL
Rik/YswJMUOcDNRHByrxBqbvvWGu8Z4N/zyUBBRuoQSozMunjrvhxjf18M6wBywWOYQi0iq8owP1
01nvx8+V6QAfPxrnfhFl3TrwVb+c+8ilAInjSQfWgvp15QLa9DZSaTNUeLRSW2pA6208cCBCEKfa
Gh62+AbQ5X2K3NJbmga2kMiolUrfD23EltTs7ai96nhyNZ1K8cOpJJStWesdydoEtQC3SsHXYHWl
in7jnBTdoz623q5VhIW4py5tfNl5oGScrhVjBjddi6xv16LBgNH2V6+TUUu4+SZPGAhDekuc/Lbk
y4wjL1iOfSUUcNWCLL1evfpQk8yzN/WJwGFH2/cWM+LQbzRwDrL4bkYcQqh+6pqmSuFPD5pbkdvY
5Y9B8zgJ8IeetNjURa5v41CLXH/tehsL2unxnQbYz0I3cnNfYL1zas3h87wNp/PSXKSRZeyprwki
e/YYYqtcYQYA1oF4AKYnzGJwUQ3DbuAdVo5jiw4QaYFQFH6Wm8ADRNTz4gRIJvgJLRTHYihcpMFH
M4+w8+yIBjibORrFErswLuSxMEqgbWwD3DofxmF6GGz8HA82IrjQmbYC9h3iP9JDtkcNYC8awUhv
/SVo5/d+77z2ewxvjtE/H/vJnwgxHPSD5CKFoI346E/9nZUXWF5UDzXzbfAHY8er1UuUUThCPGMP
+KiXg/wTxbxbW1jtiyvybOkyFl8Lic0pWSBBMmh2eW7dWq6t1GseseKCJmwaWH+k5WqKzvofwLF0
n223ClZ+GKBAA0iG/XxJLanfXbKrE/mnh0uab5d0LBlfMW/k2wRvzemSYOyTwNwF+j7VMIeD1oBc
SjNmnxIU6q8aECM88BwvDk2LwDwoS4X8X6ZOlWZn+7QqywPoq7OjTHW5k0Uozp0WWxvMhJ2Lnati
3WJP94oVB9RMQ714FKzQkAtzq69+mUNmHE+wl05jN15jw8xGOX8E7CWDCORBltDXW6AAYBHnLY8W
ZpscLZ8N36NOPod9nz3nhdksgELWPv8HN13bnpxuOgm7v9x0nPvmxnTk600bjgSSCZjF3950kTr9
Xd3h9WMlyDUIbIGfor7prqBhe6Lv3dyfKa+7BjJ+ou/R3E/+oCKf+nuF1DiN8+ZP39PYBdxmHn/0
p/4P/u3P/nn8RAc2QoH+B8wQwZ/Q9BHHIO5t3CIyw7HhP7ZRaF/bjNvXMMZbvrcsdzs1IxU/lBFk
0kfjFFSAbyIGUS4ETbIYNaRatAE0t79MLoL5ux4MNCjoUCBo+5sLvob+5mK9ElCYxM3RxVxPCLDG
nMDBUqwhadDfBh/6ZlxDbnJs0QEqewIJRxYcqGkGrrXTfafCXj9cqqoabq69g/Sndy3GhjaE/lKz
gDghG0TdGcpy5J9NBH6Lpdvq57Zw+zuKtoH93MS9U6zJF3nP4KJM8N2oWlZgWMKV89z2P145JrMD
hrbxqjRSA+XnZRE81KIP9hGqpL+GA4hPwyL/XICB/mzlsb8g2gw9UyBqLJJwT6QaotLeuYEIwV9Q
f/+r2zhaGSXFu9HIDZKQzcoDb9MeOy0fL4o/73U0cgtGN7qHX++NLuozgZmkge0lqMZgi7zv40tZ
2/W5s4FVp13TPqo2aSu0L2GLJxl4IMWuySz/UXATWARsq7agxPoYSUu3DprdFAkGSL61Ff9vIt0G
gHvakO2h6k2RQ4NHWf52TWBJzuRAyHi620QJbLkzTITqBnngctxuM+ysPCc1cr+0+zY3CQAX4k89
k7MMm1fnOTYyYaVYcp5jaWSyzs5knZv/aWwaVaOe90iYEkN1t6psJN+wL74jcjuAGuNVIDNvR9sj
ZJ2bQxG8d55jNTBNHF7xV9KTX1PzuwNeT2SzvSE9AWUCuNnbwZstRogZC5ynrimEvDNozx+CUgfp
la5tOjM09mBMCu4xNdIWbm4mPwb7FvaDDlhX4i5jgCzudBMLe54pa93GOWQfq+DcQGjiB0rXXuy+
TB9B6IaJjTCNfWWr4D4fxyIPjOXVsfFuLAsrqkOP7VgI2/tIibfVZ507XwhbInVjb9RSPdkB61eg
+bbPJliZjr+6EkVTBde+VNnRVAW2bqWL2ltVgEm1yk2o4GLmMoyTFjrzajasHei7TBMcMtCUhqwc
uApba80ThAMwSGYD7NCLlB+FCyjDesq+5tzDE3xhATZwKjxsk4LCrz3WI4FgwXvnYIqkWGhjWi8R
SXwjF+yevrq0DR4M9lRb2QtUEbehibI1FJ/FR8MW54l0k1YFb320oPjgRx4FKqK3E1WU6UMHONV9
oX9LfMPbJ46+c7gPFEMjyqttme5mMANxlKjyO7WhQN08wxLJRxnaQgCq/i0o0o0/IgrqPj94TNOe
KbyxtOKq+sDdpAP+8wkHdpfCoyBUU7gG/uiloaXRxAZg166zaVRnLCck+tyeoOhFUriTnbDoIHH9
lMok20ej3kQ36rh3fo3nG9aqa+hudud3BrKOh9jpsSFXBc4qLNRSJhIbXa5MjmEtg3sNe5TV1vYF
W/77X//z//zv793/iv4o7gtU0hX5v/Ka3xcxCEv/69+29+9/lVP3/sd//duHLrPvA2AVOKbjgTnP
cGH//nKN8wjexv/gblC4JrcDlEw9gpxO3gEEYD0Wg/FMLa1roHTQdngWdp695BXoj+lLkAdKXJDK
2PpmjY1YZHDsZRxiZ4y+NrHys01iZKh1tvPPcmROLHw3WKZWxE+u1LTr2J9BGn7qByV8NveTf2lp
7/1TIwLLMfHSDBZSIPgIzZ3NNbXlaWw8Wq11IzaSPMceS9bL7hZIoGnIA8gk/dM/f26Gr1sfPjkw
JruYzru6aTmeblsfPrkMVb9Q9QAdrP3AUCwNrqcwb7W9HJCsTlHvv1dtmRw1Gcm93UYoHhz7fneW
tv0/WOeI2Q/Mf4Yx1MgSAk+CHd5m7VgiGMlsCutPC1DRRTs9qqNhHzFovvEm05f4P4N9pi+Qh8ai
CjyBo6WBItgy4gE63QpMRJyJ+x7PA5Sxt9axoyJv0yy2CiSfK2qCfQ10OL2zphaVejscosF55L4P
6LkUK0D0k3VrlM6xt/pd0wTFV2xXJkDRtNUBVNX8IXCho8eSgX//1YM7GZjKsmZP36dc96ON54cR
dJ5HgV2pjSu5+PrBSN9M6vvpQE+tQovZFE02OrAKiKo8vk5f5r8ZnqL/8dr/7dCyNF/vHAs6tayR
8t+IkQabuLBRtF5uNWjCLqbmm8FMqwJYOfVqnSPIMFttFMkuqEkDZEMarntbBzDDarqLxp/rfhjL
NA0BjHCKcnKF53lWR/Y9HWKl8E9KZL+e+/oYRfdJhToNipJjqBhHc+0nD2pI2FcY499Gm/pAMi5W
LMD3ACqqkNirgmpkIx1L2uNLDmUkH8WXNbIBFodYH1mDOn4B67O3532dYc6pteoYDu3dZAV3PjQC
8FVcT+2WTWOhqhBjyRC6ONjW+jlWEWjPaQ1RuSj6FDgCsjFdKvjabWMb+wO+d695rXdfi9Eja/FT
rcB3vvBtqCT0lr2amuTIcmDMRVWfsWiGS+MDrVnUYb2b2qnI+HpggbXyaQjU7cf7TA7QLBgvQ4dw
HLYjndymvUjA2Io0cx6gShDfhULtMmA4H6jLaXN+ED5+sNQkQ4D0/gaci6AoG6PowJhXr3SzjDZR
xtNkmY3a3Jrmh+/Gspvyvs3FcJqH8uuThBwdoM0/Lx9JtZuHLZL29fLzLX24PBno8olMog3Fxkhn
rwbLB5e+h08HtXRIWltj4adl5kc9r7uzU5neg931/n2oX6jhjT1gdAyOlWY+Tu5eWXnboU3zJbcq
74H86taCwHAF7mU7rOpkGVVhN12CRiAfPeFHCDS+XgZMVP69W91PY75dgtwr7i4i27GREsNvzoyz
5hBxzH7efmjIBkJZ882AqnGQ91MzcfJjHTRgUK0Giy8UOAMPrXWweKJdWao7N2jSS8jbBg7q6dCs
ITq/F0PlLqhJB/inYMO+tjJy3/nrI8DC8c1gz1GhjqmVy8XSgdTUODYF0tiul7k78pVvY6eA+4ul
VR9a3mhXXqeg/MiaE3I03RlZv+5cOlAUDqXAOhVMhiiCGEUvyEJnQZrwJQrRinVsZDCThaLJHGlh
NplDFJi9RrMOpWaFC6lDC38NJNCsZh3EQILSITbZax8fGcfT8UB9woaWAbl0yN+86yMXcp5j5/Hq
QVqrOfbDeDTUfF3yIxdVBOWdHKwNj1NUiKleAHPZiRuLCv1kD+oJ8nfiRl29PfyAoBQDahhdvo9P
OYh8viQjHaCbsUJWtr13wlTcUKRmr904xSbBOGLo2dlDY+b438NIXUOLqjTHqsSOhgRf2HBK+/6J
jNQFvtgfnnTYiYI0R71eMwNiqhx1OlZl6NaryhjyNb2gQJThbZy6B7/IOBGnV1Fc2ktZevo9vbVK
23Unj+mlyHVzaUOB5Z4CZuv8Vhxqa4pXBp61eq2DW9uRF3CVguO/8c8FlCdQwRel6tL11dQnRwyG
niJNgeW+WEiV+eepSZa32Hd+H2Lr+kcqkgAyCpUeZ2uwc9knrcpB3IpvCn0NOr2ZugQR0KM2yj5F
SXkuqUkBc5Oc0wFkaeO3SqH0mwnPucYe+C8tlO4skR089VgffanLwN/bqZatnLFIr24DDmmYwdtT
83cBiSYA/nK9Zake5h/O/POgvjhyjJPPHj5098L6HDITeL4ua1ZFagP8WBXqSgc18B0o1U283NCF
4oD+yCr2LVEVoAp/F2AOgXFn1d73AFQkmPk0KOkJmnxt2z5/rhJzCfIU/p1jObfMc1AEk4dK8OIV
+HyfkxJaHszeBKUWY3nX5pW8b0f9DFvUycIBFu1YjGoZRlrlkDpN5coZOWZDyOHeJ3a49sYWdc0B
FF+ZbrxmeuGm51TTrfRMRcV5P7RQWLBR9zqeYTEQTGfR29lsnc9QFBDsY69qD7NfbsofvO/wz3O0
9pxgIZwguT61qOsdWnG06uCF2LusLI6qanao2tK+WuULZSWLoB02SHnlOzV2Fzaq0Kz6Xi8MkK+A
bXzlq5xf6azVmuzvz/7ZD0DP19hhPAP7abQawkdaTMm2LVZhJ7odKLisx7k5W1E30u0aab5aqTlb
fxdroYjgk2tPX0LH8L5hd8JBeQ3eAO+e+/R9Ha2QRYeW02iVoqq2gTmKrTRWtjN7ZMGZFaN2xyrN
M2gavta8aT7RQTBQDwK0QY2I2y9hHgJYOdq9qspXpeIgVh6b81jUpLEKkX31axcVRRjHGscxAR7f
1kD0edWm5uCQssLk4OlAP2A7Ir2aup9cGVPY1+g1bPIXeZsuk1b7jpRkeiRrEADsqdzt7P+fjlGX
hrNhnneu8CEhqTLukyXj3hkdAEWTp4a34pC76Wru/50b9VWiR32NgRR5JdxH+pXQAdtHd22VGCDr
xK9HRRFYaHwwl1MT+/H1+Vf/OGZ39egPWEZyBpHFnUt5Lh5zfdN4oCMfE2CoMkjLL9Sn0AeBaFDj
BOmTdAzrrg29eBcnmdq3Pge7XIVa9U5X/ldD68FIV4R/GDnY2A2teAFgHksDTNAf+jFoKJXaIymS
X9QY1IxBvq9fsrzcun1QXdSYbfQUpP8K+ag42FV/NuSYtPzZgJ46NYzR7WfjlxhktCS2j7orptPZ
nUqrO7xphjt6nDTYE1qrMcFNH1IUsfaMIsFHMtIT6u/8UcqA53Ur23Upxj2wEAlgujw1dWU4S7pp
amYmUrWzNf+1SdbZ+Xex9GGYPAFeY4y1gFE9g3c73VQ6q4+llVZrM2+i58xApQeReAGsvjSDzrl8
8Iig7xRbAixhmbwj6KCH5ckZiiivIl8AKHpnkPRsyUgIQ/LopbM1dTZAZKP+In1IeGNqjtzgKDcM
LjXIowX6VyXTYB1BGfXQDZ1/jyJJsO2NK2wng/ZEG7gLr+Nm9a3A7t46dK3wmOCLBuaR8ZQOqqnD
o8FBBjj3MaVbaxGi9IkMjEIi72fI7Jg76X0MZPoeWr63KbftF/VlQMto4mptW06+huws22kcKzFC
e86H3xnscZLCQHDwLmLGh6I8M1gOpD8nVAlyeN6dsOhOjobGgMNA8e0DIBPlskMd9bNtgV+QcLBd
AjS6gGpW5BuLKh2cmw6V8w1/C4+AjN6GkH96AFTtNVwlkD0Dkcq9Y4Bex8GHvLRGRaLBSFeWLzXU
lTogqaqFOkLX1Lv86hF5XX8/3WltxumlxBedoSbrS86iEBR9kPfGZLD8oru2t27xWW3J2mFzGpoj
RXgiq+Xmq55J8SnpUwf3Js9p4oPX720MaqpYgziG9EpUdLvDMYoAWSpcwcAMrg2XpMkY1nKVfolS
7JvRGVkjSKFf6KwokCrObV05DlgK0q9cFvs20pgAwaOh3DXp4ei+F59jz560uamL9HeyoqmwYdvo
74TnhJUlZwuyOeSWuDX2yRpLd7eAcHwmXGjVAwduBIZ2GEZlG4DnqmMNbtIFXlfIMQYjGJ3MWW73
95CWHdkmncGO1mBZBhcHpsaPGcAX0xn16Y3vPtJZMFpnv9kqXRcc7ty1q2+d5n+iZwCEStimSetq
Qw8MFuHhNDdnq1XaGfZCsb0BJkB891TfHfCrtC+taUvs+w3Rj3BBcs5cQXiMo7jx4gILduhVJjd1
0ZafG8iFk4ee9Dc7U/VnGgplPN0BYnj2xYkhSZoYuvbdWM5DWX0VXFo/aJdYxqVL29UA4XQTMCJ5
OluQkIVtGasi8/MXw4iCZa3J5OKZwAuTby1aIKVCaABQbQqS66u0zm0s7vCuUHl5yFPsMFA5syuN
eBeCTnlJKIupDseEmlbCnEmtgfkKL5MGBUYzNgMl8YdYB5sWdTnByJvZAgpAQ85j1BAnBIKyRFKp
AO4YVfgPZlvkB2WzbBMzJ/mqR/E+iRL+HfTnA7bWzeoB5BH8APqVDNpGfYHtT3y5Rc8gJpcNf8gU
XAjNKIQSjsonfHCQ45FGv/Zi8SUwhhgKjXiRtRUTZxQcojm+5DppVWfsFsQL+o/PVnrRkZViyYrP
CBxnKXDyTA9QVdYx8xGU5+26ZgaEAlGfeJS8l8DU9uFN9Ua9ADWT90OZBxdPhD8oCIJixqPnu+16
qIRz6rWqPQJiKjcWVKL2AeaCKx3ITyoKNAbIiyYoZ5lbGVpUEhj73UfbW1zemd0i8cBXyOoB05Xx
U/ShHaCVMniyQyXWwmbyyHjoXWaPPMSCqWYQgo+tFAsHX2CKWAYl9v9GfZY86qBJ6aEcSNrhA54S
3+EELp0c/34HcWc9YeFD28vJP7c89L/5C4wTGoAW9x4LVl6M9Af9GR7kFI5gv3Cnv1FL4/dN5EeK
YwGkl02/0z7L1ArzHHlJhwhlAuOZUfjp0gssCagN0LALIRZg3hQrPUrcl66+0jsylrG5jELW3NkM
S/TM14c3h5AZ2ffI5Z8LS3YghMj1kF+DqCqW/kgD2tauu3Vj1wBas/bv8pH5k7FBfbW59UD/1sTz
sPCyrRcK6rroNahD9dK7IGQ/65FwAvIU9roMh+ic2kGEtS7O6MALLpeCV+ZqNjCjjNsFtQsQ4G2n
N3gUgHXR6cXJrHxxojM6BLwIl4kyreUHQwMyHbWYHVGQJE7am7frY1fX5xDoq5s6uLN6o1nS5wZR
+4VbavylNzV3hcpAfpo9aG4xeii35S955qJYF6jE/8Cj6jgkGhs/X4WSHf2YBwfiA0GlsGYu2lq5
m4obxoI6baIzgoDOwdPw7iAiI+IMmShEdI79gtE58pxd6Q7yS+lJwLlyz3kAPbzapdhW2hmWYT3U
WeQvbM6cH6esg+JPFJV/cdRbDnVGB1URJB1ro6R3nfSYayV4LzsHatulZkESGcqyL23iWbvGRZX9
DGuzLODa89BGhnToa4YkD+Af1CaIGzk6o4/hYbt04jQNjfaFCulAWmGAtld3AdYe1MhFjKca1dlN
JXaoqF5DDpodCMJHSEAd6tSLzPQBQGwV/s0z4I/Oeuqc8IEGEgBRAVUwstTgdd62nfxzEjsh3ZMC
eRNoW0TRxkpRO75VFna9tczV1n6aYbMI5SfFJJNCFvIk1ZTBMMD9Z72ARBGqUrHvbcO21O9DV7rL
BmXnX6tiuNK2rMS6rzWgcxJpFbjGXS9/HADHBeFNZJyxwEk+hvddNoUzM3L+7AC3Bx5HW74W4fJi
cJZ6EVdLpN/E60Qa3CsVgB5KTDPpcMxaUh/5TPqHFFN5nnhX3jP30Qw86KMvkRcPO21kyELFYA+Z
E1QXEhcW9RGTFp3NLnixTAxbLuu11QCKgm2Gmejaq8LgPoq1co2p/OsZ+BCD+2S0FnoZArDwi98H
K7bV/uKnK91dNVKt/Mi015PKLv1GHEOok521Ky9wLG/VBZ19h+KbCtSwvr2eeHZUj2LN0aeWPT8n
IV9SQSzXNBf3CMI+gnUUY1ND/mIjxkQGvi3uWphBuyEMCGAvAOT9av0QS8208bIbRMFBUxBDIyxT
V8915DVAXm9TD361oiYZ8i74noaWOFLX0IPacAxitUKabw4gX9fx2SEM3ZuuBWDz0EIGpodRzrID
Ocs/taHlBiqfwVxi19jCdgNqw2o70y957x/6Ih9LleviUA+BjdJtFJoVaWssO+51u6lwzKrr3YdQ
PQ0Pc93ZGN40ULEEEuWWOVl6NByUFgsfO6IVBDIVfk+gaohqeahN8cj9KLgAowl42Xjm4r22GqDq
sv5gQCHgX+JFXT7S4ImEYnwdgzwiBfgPCZ70Ks1O+5T2oCmJGcp1lInfIs+ggzESbRq5joQCJORO
lo11C2qq3KmWRTPTq8cy7ZPXtsEudwxz03r4GY6RhJgyIrCtVIhuWkgSE7bLQRULJNW6xyRlxrmM
QigrjZiv1k/tyY2wXW9u+PffKuAkMNeAlBOS91GGFdsChSLZtcggd9tlV1ogiMQK13nWgyNrWhF4
R2M0TssFFYTrupY/jYg02yy7UrXZHEkD0SHwjk7HY2xcRxBarp8h0jUcZ/oOYvgonAg6DsTf8dOD
KDwmEWk3tZ5fJ0mWG4bgnC7+IGLbpnpUji1/dALy7p6d9reEVcMmRbn4EYve5Ox2GioYSif+HFfZ
FFNZjzwt1I/U5f3CD9v+xh5yCBRWR+A7QLEc5NbaMyCz23p4AaVI0h/MiO+mcm7uiPZ8y2Q4HDuO
SpAhzeTn1Gwm6JHfeftw4OLJMnxAj2RnnXlm/K2rlDcTQsffbDvFUgIK6be86eydTC2xzaHo+whV
AqixgYF39khs3u0g/vF/qfuy5caRbMlfaat31CAARAAwu33NJrBxE0ltmZJeYEqlCvu+43fmaR7m
K/rHxqHMriRBjlDVb1NmXV2ZlBiIQCwn/Phxz2jZmx80mA+TjCFUifXr7z7EHQOtIRYJ+9785bXx
8XPoRG92sMfjmRxkO2SdALBEcNj6sAdisX76x49PR08DCXeySMyTtJ//cAkY4OR3f/1w2EH0PgFZ
1HZ9L5adj6/+8dMty+U/fv05V8QCpth+/yh4m4l+BWIE7kYf/4G/8VIFf/PnR/iP4N9/A+tA/SEP
stcc/gZ7T8wMMUqrnT/AAkhUy2yP9T+do1VulKNe7rKAINX48fH0d5Oy3o8fnuzBCK98Ldx/cFj+
xxn5p/ogA71l+VBCi7Oe/fG/b4K3MquyP+r/mn7tzx87/6X/dt6z/WvyXs1/6Ox38NU/mzZf69ez
P1hpHdTDbfNeDnfvVRPX/2YoTT/5Vz/8x/vHtzwM+fs/f3vLmrSevs0LsvS3nx9NjCZJBk/nTwbU
9P0/P5w68M/f7v/1v7J/PGTJv/73P17T7/84lv/6P+lbkL9ffMX7a1X/8zf1dwVGooquSpKkiyJk
gX/7R/c+fcLwCW6vsOgVNaJCjg2fgOJQ+2BN/Y4qU13SdZVSSMB/MIMqlADhI0H8XSSypur4hxJN
1hUQsv49GD/pWj9e0XX6FqFnJCSqMlHEg6kKm1okojR9fkLfaoI8VRP1uTbFzhy/Q4VJtkGfTDb1
qjAF6SE4imbphM7JkF0jjU3Upl+ksZ+twrlCVqisgwaFvp+2igt2TXr2nI/Nym19jqOXQ9GHC/J7
Vj3E0becyBsYWVu9yIyo/9ZEqV1Bww4n+R4QHR+qCiUdB9VDrvtVVktjEj5r5VUh1S8qHDSmi3VB
JdCCUI8At04knpuut4ueGUPdAxR7aAtQM3s7gcJ0OyomVB1tWU9vUyavabOuvdvee0elkpHDT+Hz
vpNz2pcq6aqoQ69LFSVJlDE5ps9PRhxY4GTPVULvETyz9lYbAqPo7yhkzXA/MhvIwYaNyiG1xZm+
kUHf1HPV+vwZzjl7Px8BhfaYgZh/cII/fwQmVWPQSuVESYCmQmDEfQpBdIQQ+o0OVe7PG/tgAP56
2ZetzXhuqQQ3bJWUXHEIYD74AnH43ZstVzhseaWMQy334Ec8+jbcLbR8OdREnWYYEwlgVkJnQw0q
qFgGfcNbWJpDjRxsr4bXJDATrz3WyYa1FU9bB6mFdei/6f4fpG/Mzx9BUs5m+tT580eYPj95212b
yAHQcN4ZAHc26XqwaGt0N8GqcYgZbFCZY7ZWyfiwC7e1JZrxanwP7rW//cLxFJqiYcNgBK999sKJ
UCJ7nkPMTK043DiRXjWFcQOtTCA5r5/3GN94rcsnjc3edwl18bGoGo70+n1Y+SsxFfdRTrY0VrAU
n+DufVOlolkkveUSyWQ+5ZAnMlj/KEOQlwxfRdCZfAAcCS6ZmRabKUpdI/nBb2+gv2Vp4WiVGvQ+
2m+aEKAS07egFmEVFAabbmgmmb9Ws2eoTUJGae+qMFxG/CoVWwlSIJCHk91XBiooqW9TVH0HNTI8
areJOqQ4EuIU8JZLytyGBb0BT1RTRLGlFnRGS3CtiKnTQzJiBA0PEpZcy8Fkk3eJH23gl2srcJF3
9X7Fov5R6sEyHiNLF4ilqjlOMCApUroifgCxHwadQuQtdORAW15KgKdD3RKU71XzPqQRl1LpTs9a
rkOHuYj6Y6qi4h272pi2nFBh1Qqogyj79dBUHN6Jt3HeAmA/Bv64DeQXUBVXEepiPLwA9qrA5LCA
dq9CRCdKpO04IEpHmVbeVuYQf6vdtwGK5sqocyagBp70XBP0fQycPHL1bzFJVr6LvKau2TD02xO5
M4tCtTzpxQOZGXJ3Twyo9CDkUGP61gce3KwIh3IgXm6GOgQF1SkA6txXjAtK3uDsJn2VRckcIFCk
hcG6SRm0+ULTg8+IHoB/nUnrQIKzS68a4GgbvhgeccM1s6ZYCTm5UUh7MzbSTslcs8wy23f/8PJJ
Qxvs5Xjb62jLgwl5TOwSaAfy04nVjuJKyrr3ABrWjMuSQVXNGAqJowDGUN1nooBdJ7ay5QsvYw4/
vQzK0h5MbIWE44q2JSw3kD66g2niJo39LzDLtSsYJiEJDY93WKNPXH7SmmAJ8DgLbkgiP4xt5iQa
NaOa2v2IF5qAhcbgjsWIqcMDJ/EGewieSBXbDHRtJXjUBcVMAwW66KLRqa0VQTJWIfeVB4z8FdCI
M0ZPfi+BlYTSGyWzUSt3E/kFNLkkI6mgVa8+o+jMjgQfBxw14g6nBpHvW/ipx+1bAhNrKe83JFMM
HTI6ozK5swE87V1bH9ob3w8tAm2oUSR2WoPvnwi8rpJ1QHz4SlGuirkt6QGEBn1jHEVkIUI7LveM
/KFXXwZgbr6cHxo3vev7BwaKTK/jdxRq9OyYaOsCAx2hrExgAZT3csONwNKsIwNRKUQ0IM1d+kcK
NchMSVaahhrHFEzJrQAv03I8aDnheXIHkB4mZUDBJchVQWmwdNtdpbcep536pZHDfcUa29VGoGD9
yiPEEFLsqm5tg+R3I6TuOo86p8zTJ+hDPDc0fAx8eANSFP7TV5eIB1dKHscxXKvpaBRd5FD/pogR
M0PJBPC9DaMLmFRFG4/2gOeevFg5CJhkXZm8tmEPs+/E1FBBXgzpDr5SXyaPqh4FAFQEy1H0zEpL
eFj4Tp5AoIAVmwp8N2gB2VRUcd4HViijQlWKgbXuw4bCLYg+tkKP3Qw3e5wIpN33/puHraTIBRv4
92rI3nVsTpW4YdjmOhg8ZhAi9YNtpLuGnxGudQOvBNGA1KbRAe0d+31doPKSIdxwD24joGRYMHoQ
GMpXAFmWhKnlPqbkqSQucq/uDtqSGBvGczlwejGHuERkySDqZCizUnqYF7feagDC1CRwUIJi3edn
CNEvjxBN03FqqxITGSLE81NT9AfPTTNQjozelAxU7aGaQuRJsWu3dOS51VuZWT6C8pJisvJMWTWr
hSeQLp5AQuSA+FuSMFURQJw/QThWsJ7Mv1WWcOgfcE4/FBknhmcg6bsaw4X+XsZjEqh2EpNlpCup
RGbdVfwxE+XurQ9xCmogTzwUgg94tYKIcrUQjUlLbWnnHevbMEzV7i2EdLyl28xijsw7SzJ8AzW6
dm6TbWIERo0hDoxsl6yHgDNbdTwDJgZLgzwN4nlkCLFtRdckTVRllJHM+o3IDSm/9rsEF1+tOqbw
bVSDKUcV7oocIleQYgqS1hALui7qpcIV6TJMkSh2OVmVmYJoXJm94SrBvtGwF8ohV7t1X0Z78mbs
ONAfj5eZyXaNme/db54pc3FTPpWPwXfxqdshhPDsxRj52kicPsw0HU/CRObSQhnpz4cpjNCEnanN
bGmrrhcm9vR+52N+2tIsJq6SGNrL9AX13HvcfSSDBJyY6QH2wXYYGLhfGf7Gx37Fyxv/5vO2F4d8
FgyX0siITl9qs0fU33CIHCK18ZTbmVOu0sFyd+q+eEyM6WoAZIVrW99Sj7UzrANbXQjMr1zDzl//
LCSmiZp6A8M4yHZlJLcShtwAk9oBJ50ZzXbxDV+dbhpEeXVFk1Vc/M/fcNwFEaPui3ujm6XZWRB4
axCVcs+KDNkJV3pvVMfcWeqmJF553VCoxz1EESnII7NuglAl51n92hmiMZqgbt3nkbFGbKMh322o
tz+3tG0lcvBZ5HWxtMQvr2CoC5NERBuSomHEZ6usY7Wrqhna15x2l9uJExidne5DHpmCuTjIV1uj
mipquPNNt9vzQQbRty9I9lJZvUnMCmxGQzMVLtqpxWrefV0aXXJ5u0PvGKUaCsA0AjTjvD0/68VO
+bGHBCtoTIe2ZiKwNquju1W+pYa2sHtP3zdfvKftza5WReeVRKAvIYX5HtCTBC/t2+drdAYITRfW
8y7N9uQoLZVRZS/IexsMFu5fQNQ1a87uw/2wq434tuPsB4x4hiKelhAuNjk7koiAdEyGpRhx5bb4
InCwVcwEfufG6HjAn/Lb5Q1Xujzfz2/Es26O8DNlYJVxytO19FpVNojxTrcvDN98k+7de3j3CREn
G2KwVV3w/MW1WLVw7F+ZPtNDaDIBCgQPqQl5PN314UHZhh4QpmYDw6Uv45qsmMB1AzWRTxS6nbzj
yt3nr/dywhKVyYipmAawj9FZt2laFUlU4JRTHiBWXfbP/8HX43TRxakYFJjLeYeSImSkUDoOBNdU
ysLMl4AMcu294bAGr0XCMhfnIQODPGwUxR2XxFtYovKmeU0VgkKnbJVIUyY3N3uoPDSwKxtwgYmX
0DsYG15bgpoE4FRVoSilzZY8g5b6SNTnwe+Q1usBEngbMMgteRSsHJSbuOydKK0NKYFKEZE4GQHR
KwFvdJxr0tcQZnYpSgretDyxclyShSjmrMX/epejxsHu3Be9qCFIhnthFthuNFqkbK0OIsasEt8F
kToVHKYRSRoFiAHwcNp5+ndNTRxfGMwEWa88vIuAo4Tse0RgksneMiBgQ9vh4gjf8JAccggFQuwT
QjUQWoiPPRgUSQqt1HADdhDkLsnW9fWvohQaLpXXeQhcFg8q674VK2Qt6ftUQwwETd8Ql/1Qhj6C
NqwVFDxQlCfnjYb7jArjioDHpILAif9SCuu0pw8upMmgEMmhNGYoYvsEQz/UQz9RxV8j1DbH+Kte
efApv6nwcCMeCVJFvGwehvF7DkKLX3dmoAa8TSY5m8BMEadFlbSGa8hNEvYQQ8s57jlySmEBXgFM
Bbg3dKYYwGsn3bASTq062Jn3HSqQSjdF4csXUBUTFTlDVlrNUDsgYKLuvuGJAJUNstGh1DKVUrvh
1y7ZS7CUL7TcGCN4TbWvyAzBCKSykhAmHYN6V42NQUJYkhcu1PBQvFfCXCTZRS5bNWph1QECGRgF
5nt4TxiKsmVk5E3xVojJXdCBhQT+mojWw84cgFMAPgEO0Nl5Xm70AtLVwqM2MSe81ioYCiFd6RZa
9Abo+JYfSus8x31UwH2553n7lAZfOiWDj5awIU1puQoGRAbg0b+qvWQnOXTjgrrikAXiepquVRoZ
cO+5aRR67JXkVovvaZ5CHa51ai20YQRnQjJxwC1eZr4Z+jAViuyxajmKIY9t0m+Y0D6NowCviTdS
AYSTRKg9P2V5u6F1CLcMbVVBu87VBQgR3HW+imxoY9LkwQ3aVRDvw1i3hs7dBbByKDWXJ2B1uMKR
hHBL0CRD1w859AFE5h1raS+Hr74Ck2cZvkzPcg/Xq/wBs9cKQDLNq8pMId04Vo2VoZSODhXsyjdQ
luBUb8CbfRFU3RkHdsjU0i4KupXlAEWQqaEG32oosmewdIHbnjME+TqBQJ48vkMm1GCQ+oW/UohC
dlp1bwOJHaBDEH3XzEFAs2JkVC2oJPGzHwAwCnYtzEBF9SGPA6eWIlSdQ8DwSJUEdfCqGaRQ+YY2
jNsd0iJ4xXZseTIsiYd0XfcPfj6gBhLQUQ6tEWKF2m2Giy9UsDjxYBhAQc0ExGU1gsZRQwWZCxd2
2QkHKwnJkeGhqlGt6t/WYWMSCJHE7kuh3MqY8HXtcV3Fy5kKERkxknLLoPwnebrjxU+S7Jl9iW0b
RQEQnLQLqYN2717IesClmt3rPrwSI+TgURwIyo/fGDmuhVqU72vXs/3se9yOttu7pg5CPzgAtuz3
htZix2OZKRS9XQO6BLWOy+ROV+qVl/aPgCWMvkz3hd4+ERYZI9I4iqavxwLYbh29CO0+Cb82dYeK
1cDu8P+sxwjAMjAEy5pBiDTUoB1MRUsdRkOk0ImIckdHBgu+u1bbCiu/ABUK8KCUvFIYxvqi/xgE
VYh6i4THggKqwC1S+yaO5R3Tyq03QNAqOGb1U4ttrkrgcoiZA14ZUk+US5QYqtqs5VZ7UPNuW+gp
wDEUNSdJeD/08q4C3Y6SehMImUnlDkL+9aYTtYNM/E2jBJBZS9YhkFwNtDC19gy4coG4mdglNrox
97aZKzpNo9wEBWQZerIvscFq8VsFk5M4JkaoiRxW43A70XOzFuuNDikOoJDavQrZ+EGt4adD/ZAH
UnODc8Us4tgY+gxWRP0L5GIPMaXf3QHnU6dDIXd8zZt3V1dQBwx7XNTDZ17CAZOCxuzzhNJdQ2X4
d31NUtlRoKo4qoMZ4TTTBdmpsJeEdBuEKtRefTuO8UaE9kUZn1oYoOr1XlSwuZQDDyE40jb+A4If
B7wvUFhgveDqb2H21peZ0ZSZXYsKT5JhP+rDRqfZ90jQN9B5f3MbvTCBzxw8CoXeBIXeKMJtXtI2
VCApCt6WF3qTXEKwhhrPmzyiQBY4ZQnEq4Z/fFr4VtlB655lf7TT55F0qAE/wgVQokbQF3hKj0Mw
3/Rr5J/cEV5MLSttvamwrFr1VgqE57gYDS+DnKI1eRVp01mn+82dVMbrxNOeKlbjUVIYgbew1UJX
IPK3jwrpu9TvSPeoNJHTIu2YozY4LRHdlYI1MMlw4QLlI+xUSmLkSWwkw33mSRaJXUvoc1MaJKg/
ljs/hfLIhMoy4C4AcUn8JUNZMYFTNqj9PMBB5WW5NWINiT2z/TBcR9GLXCk4HWHXniumNgCt34rA
kYn4qnbFAeJjEg6jNKhuvZJZgxxboVAZMC5etT2kDsOgQn+gVoRsI/Rx7agcb3X4BAwDA43Pt2pF
RE2Isg/VbI1S2SPkkIxKlQCSw0sM/EIGMek+sGTsTFH5ta0RWBe2VEylP9C7pNg9KkzmhvsBbJqy
53yaq+Fj08NuHFICN333SDqNwzPE6nN57YVwDR5DwKPwmPQVXraNlXqq0SstIPpvJTnC2Arg9B3q
/3npPwp66lSAedMesQRI/oG3Yp5uqZikRX+PYv9NHcWrioRm2X1Lq28ydCGGwoyGnQzUVRvGDUte
3LTAC+l4r0eolU8t3wPjvkkRhN3TuuNeosEIvYM0U/8Mm+cnFqD2yxXNXugsWlbrUugdCmRD6RDQ
wCuycJsvrQiTXhUKT/UhxqbSYDZUJTIxiTGUEKtsVmmyh8yggZ0AJj/ZqmSyUcZwqkNKIWC3uK05
goTiJlpwOWVIlBwppEIjSrAHwNKliqDFgO4S5M8J9pGhtsGit3MVTGbQPwL4YXdV8R3GYqvQxUof
UOAbPpTlEWEaV0dcNoaHCKK/ZeaZml5bMlsN1QMRXvMWU6mH6qX2mrrJCsVXiHKegvFrLSwhBFfv
tBqAH6ZSQug8SdsGEPRAQF1ZxBa4ug1NYa9aqjMhUYHtO3ASX7p2TZeci1v0SYszGKpJlFIZNLTo
Ov0TsX0jNseH6eaHWQrQD7kPnloQDXL+7uUIN2udUQATgLUv7l6Is2JZEp7bnuCFPav5377aSRTI
EuBMeUJA1Nllss+SsmyqF5aHXI3fmbL+/Omv4FdIHctUhpCNSADlnF/tGtqF5VDj64nVDTJvalhP
dPAZ9BfezpXpgHaA+SuiqCADMOsGtMjrselgw4CQR9rQ4mtKu4Umrty7kWo7aWM2ASKtYKhse1Fu
FCfZg+ZpILTegYVqDSauXo5rfD50i+3Nxq6r9XIM+5dwnWxrU3jDsWuyjkNp0ZH/EDbSammmXaFc
nHdwhhP1DNb1kPamQPbdjW+wP2STANvvV9mT8gTvJwFLaxEMky6X1dmozrAF1C+lsdS/QIXiidqV
IxjwKrhVbIn/hbauLGEGPoemUNCgGLhS57Mxz1O9HHogycFefRrXE4brWeyII/kescKwU1biV9dI
tp+/yEv0BMP6q1V5AltPUPpRlzJVa196CdmnMrDKNl+aKVdn/0kLM7g0bv0AwsEQAeXysX/THAhj
WO0KgA0uRdIbMvs2VCO+f96rK5jKebemF3vSrTiuqpb2LxNFpdonwPtQGfQi2Znt3S/iwVcnCRBh
GG5KlOL8Om+LNJB+FyBWbid7qEF+AH3dMVtn5rCIzl7DvpksIoWHkmMRxOLZYI5qoza68iJu0mbj
adtgO66Yye6LnbvygRG1Rr5RdvDpM4o1s/8Cyw1dmR0zaF5TEJHB0AJ3l/Ou6myU85i9QG4St/K3
Kn1aeG3XZuPJ9+uz2Zj6Sd6l7ku4g9CpxTCUbshbjmSvMZjlRjhmP2b/T87l8cejz/idsz/+Rbrn
IX9P7+vy/b2+ec3/P+B8YmT/34zP/xl772XwekrwxM//oHcS8jtYmrKsI7mBAx254n/TOwXtd2Cs
KpKbog6cFVaR+Ognv1NWfxd1hSHjCQ4ecMyJFPqT30m033VAs4oOYBGScagk/jvszjn7TCbIvOgq
lSWkYAhE+marbaqZiZS8+67dIM1rRxYS5nZ2U686J7T1u+xGWYMsv05soIu4iR/8DTl69t89/mQF
PdEk0FapSpBqlWdPIeUdKOtpF3NhpYH1lsNakXtOvynW0J81cX/0nZMX9HOinmUUpiDhZOldtDjL
KHiakMphjRYhq4+lEVj9loVcWXd2uCpvAEQUf+9kuGhwttbrNguTsUeDfrsN6ucAl82FLk2b1Sdd
UmarnQSAuUBmjHm8nhgRCFdtZg7IEecOXQj15vHKvDfz1Hjvg4FclEClFaeE8q/RfusQVKo8X9WW
v0pvASGCnFAtTpSF16bMDqJchfxgNPVxSuBNURIAVeW5tKq1tBKOVc0XE4bXRxXRLMwGkYuZB82a
VKVZ7dXQ7AYNQLVj00XmXXUkU9wuTcrZdv1jUCnyIlShWPfzzEXq6XGuhlWMYvRjlTwzcA0WpsiV
4SMi6DLIJIkExJnZJPRLCkifyD86M52uHa7IyH82ZreTLagnHBcanEUrU5cI+HoKmMw4XjGI5ydc
1aV1rI9oEJWsR+l1UqFzUErOAWLD2op7RmQCm19YavNw5aLV2eJ2UeHjo1nQmRCwKAZBegLn3pTm
zezooCxkJ6dBm6270z6yadBPgqNQjcWuHEGIVBxvJa+wd9qIaVeLXJhrL0+WECvISDyKF7nAlMFC
uUQtEs/hIr/O7XYlfk+/iodmV+99Szguhesf0c9ZxxB/4ZgBNQAHEOb+7FJSqEmRJj3SIjA7soGt
3asJgoeusvJjagsWudPuIeayghS/ivebGmyfNfbCBJomyMUzgAuBCyVOQ0WblufJ4OquqGYoTsK2
ua6+SFZsQ1byXrAAYpvtZjQURGVSwmG7vNT7i5kLKoICzVoV9CM6iYafNyxqfQTZK4jfjeV66G6z
aiXFC2yXy3k6EUwUrA9Rnq7j85tsDYWF3k3AaPwxT2Mzea9XlTmdt+lN9nVhKC92Mtz+Ubuiqajk
AOf8gjIXaIPsQrGYx7v4mFjuEcibUTzUTmos7ZpXBg9Ja6g+EYY8LNo6H7wwbhStCTB4PkqrQhmH
eXlDZc9Y6NGVyXHWzGydV4mrZaAxgxXg1Gvwlj1LRumrhdSGURvj+7BSVsKzvO5WizvMxVrEWJ52
cDY7fLFGca6PlitrtKc9JrULg95Bkcaq7oNF2srCeGqzo91VqQADFzSXCorhazdQLkN2bpFtMH3N
bLGd9mq+2LIS9cPqpO1LcPVphhjyp81kUmqGqFWtCxuC3tsBdpitKy+8yss3CUwKi40B6mQUZ9/5
hPEBMDf5VJZXZyJquCFnSpHVhpA4/d6CA7Uwby7f3oSAyYi+QaUUEf2et8b6fKSNByL9RHpq1/Gh
POBUN1QnvauN/HGJUjGnr8gKiJuTITRFTI+If37PE7tWKcIepnaK065Tswax9pv4XH6VHX+VHOAh
DXKV8LzIhJgBch/NMkQtFGQnUILnRAQh6CDQLkx3Prv6Aug0sZAfY8fAaY1p52yha20kS7vMRRCD
vp42OgOW4iGntA3R1xqAUruuHITyvrKGOszHqkT+pGhtd2nqfoCL51P3vNnZjoMyV7eBRWP0EaZh
kO9hAwYqODbUzcQCMEAPNuCDeBC3yPlG97Iz8drAMFsPKBRdL8yvGYQxDTyiN40Q3K1QVDMP5Gq5
hga7hoFX74ktWeNKWhMH0qbgBnvmIpR3Ze2ctTbbBT2a5HKaCCGHlUmpwpLlURQfMx3iJDLyJiso
7R9aIAwDRiTxd4UK4xn4eWgHWtuh2C4s5CtnGvqOcxN0N7BmLyK+2mv7KiPou7jBa7CDTWLU4GpW
a5R+bOWF+PLKZENjGsBy4Nog/MwilATyTcRjSMzHZN9BE1pTkoW94nLnnbrzq4XZdPZTZaoWxuCK
/k0UqAZEyLgkrRYmzJVWIIwgQ44XnHbxIsqJE7D59RLJUQjGmrItm3DrdrQH4mTrAnieCibk0u5w
rUmg5zLYXuBWI615vgfGadJRJcOdl0IEv4vX8nDjojD+845dmZpwC/zVyGz00pgwcCPQL+qLVtHs
MtwISQlyQHGnSks7z5VdHY1pBMxOCYtuTiStkJ9MfZWGOJOnExl8IFNDjBPzYo04wFyae3N+8LTK
qTLNOwLe7HRBPB/BnjTQBoGOJtS3cDVUNKN+IKu4wu0GNtoapJB47SySs6+O6Emjs8UO3lXaRB+N
Wu5tibKuV3VFeHbD1ukKnERH2GTP7U10WKRgXtnTzno7i3i8QYQWWow19kEU3lVO5Cgc7TkiD8wl
sESevm22nVME/bDNE7EeLkpg49Dvk66QgcjcqmZleXfT+wxtd6c850d4HuED3ObeyEozxcN04yJW
YmORGK2FOjruW5hn6/GpWYHkY8Kpx/RMZn0+t+cplI/3j3wk9h4NWS/AZ+fvP4cqfT1EKM5Poehl
TRBrtJ1yhOUqupGODUi+EqgSh2rpdnttCuBWzUAmhjPYxbEOymIidSKGoDTh4Vg/wfIBCSpoSMEt
B9driC9tsrUggae+eNRc2zTgaEghIwSNOXmOl4cwvItQmYmIgvDktX9oYTli6ShLMkcje1AdYuUO
iHhL14kr2zyuLr+anebmySVQgdG56MHngaNgmWduCmG0eGGnuhajnbUx7S4nbVAN7tJQEcKZ7fPg
Sy+jrsg3UIQmWCjK/IOWNriTZn6zdM28OotO+zb1/aRdSBYqozCg3fSJOa1iNE7i5JYGdiwkPm3P
yHuum7BhL53FCqarE+lkWGdHQFkKEIjqp2EFcIGK4y39qlvAhhwpx78QID5C+oKafrF4ub7ED7F3
Yo8GJCRPDNl5dg4GfvBIVZJpr/YfIK89YTT7N4XLf0hmbsBqben1XjscThqcJ+Yqt1JTYZpC7uN0
wk45rOCxe65MdRNbgkmWCrbI5V0KPcQlYyriJ1MZ/+y9RkGjuHAp+9gvyU5eRQ6YUevssHgkXFuU
KNqWkRTAoafMQb26JgmrYuxDGMtj+Aw2ivkGgpQ9ZXmgp3oDJ9aHz7e+a+vxpMWPvp/MWTCdGlC3
MGYUNBUPZC4JfOvPmyCXaAWDLfCfvfr4/KSNLKSlVIxYF8IqXyuWt3FX1a5EUYi3SPdY6s5se+kl
MRO0aSMPkxdReheVw0Jfri20077M9hYQehjU6tDAhPPAycqKXpD/Bj4fGVnAgyOdiga/aneCvdDw
5SBqmA9MQXZJYrBemjUsK4IfS40bIBinNgpBfVMwIqQyO5//hdqaKZo7P7TPW5ttZUMNR1FcwiB3
tGNWFvMRO2h6LxjMVA6BIYJWkJj+7SIuutTJ2Tamgw8K5WA0O21j4rgJbplJnXiVx9vAXqqvuXK/
mS50kqhIExkJubvzdZ2yAGKbKojfLYrRuW67a1wuceDiJj/VKzkLb/BycZ81N19qqKaF26OPzg23
o13ckRVqu9XMhAX5TrFDK4dMwSF2lg7ca61KwH3BQSLACufn/Ih69CKZOqkkEq+7L3oOYrD//nnf
rk0XFagIBnHK/83r3ShpI2RN0YgGh5gpVGr9yUjRjuCk+3lL17pz0hKdwWesqSCxEKOlpnsc630T
3DF3KSq73O811LP82Rs6iwZrXQ/HHDXwvNvka/HRXUuHdI97x3ppBl7uVucNzXarRCSKD9FDeMQO
2yw8Dsrj54N1/ftlfbq4AQKfgxd52/TQxsT3l+HdUN90wfPn338l4tEm0SLUNGFDQmHvbKRaFW6p
mBABzivhALHviZjQQ/uTK8hWlvvuACn7tbBeDAGuzIKzdmcDR2kHZd7q4w25Tn1MNr4ZGdq9jgvb
YIqmtGq+LqWGlpqc7b9xQaB6GKLJYUxBs73z65qn/hJ6cGUDPOvYbN9NKVSeQYNFOc262Jf3U8Eo
yPW8OiaHxf3oyuw4a2vq8cmxLGUMTGwEy1x0BqMbjfpIcKrUqze4JqaBgejN6bylWGB6M7OD5azR
GYzQhf3k1jR1cKc/pWZ8aFeATu9ko30EK/XvbxZnjU2H+UkPiQB1MQYtaeihQf9oAKikfcvEu4VF
ML35eZcm+XCgz9D8usitwe3ZJX3PsMoAkwqcruCg5zCzNxokYvObxUTstTly2t5sCEsi5YoWo1fT
9b1GHaGLms0E6QpIkq4/79ucVYWLMagp0ClQdQQeuCnOFnhfgMfae+hbZ5SYKKrpDpb4Wk0sygS0
Dgqb+5jDku+2v5VRBLWr7/5CWfO1OTMFwxrYJFfA79YFNhu4FN63bwj4G4N+pO5Vi/Hyi+Aa2kNl
dqZkTsE/JPyoAS7xfzSVTp9hNugKidoB5BuUELk3qTgVpqGoINX/k+Vx2sxsxo60gNXo1NXWHkCh
kXhs+jZgAKPRnYmtSh8+f8HX9oDT9mYYFJPCOmsFtCd5D0P4qC7tmleQNVwJRSahShtVlOAknC/B
CvfGvpkmkHovArj+MhFwkRh9EgZjtEK8sSW86XqLEhAVQKHgXswPPdb4TIwkFHtNZeiwiTH0b9nN
VHev2FB0gciA+fkQTlHifPnj7vtne7MhdEmSICJCe4pDbXmlWxNnoHQWY+MrMdZEJQFNDPlK6QIg
V3zUN8hwneD108QqLg/E5ZAVgAvnengb/yi+s8oMrfh9WNyzr2xwCB4oqG/IBjEyv3rocAiBZR2k
8CeKMfhIRscMkIoN3UmttOfdon7ClSE9a3CatSf7dhGFSt5SiFXE4Uvpv4jqqulu+xyXVER8WHwa
+CCfv8Rrs4aB2oIpins3MOfpkU6aDGtZRMkc+vgjfw8q7otgvLkH7ODGX9ASuDqkv5qbh7GQCNNz
KPcHHLpN5qTVENrsWb4VHJRbbeJFKYErEAZSOOjd/yXtupbbSLLsr2z0e82WyzIbM/NQDoYAvSiC
LxUkRVaW9/br9ySkmQayECz1THSHFAqai/TXnHsOlhHUKzPSGWM0aee3sMcCK3KV2zGCx2j9n0Bb
5HNL3HHouqguUZRlm6VD663VvuR2ape4oQW4GL8BULiQ7oNF0PfIoHdh8sTcGxVlUt6HwsjGBmK2
b+iNW0UPMUpVvRPYxlW09YEqWfAsJDYM7tRrGioU4LmAl67zYRVpUprlHYzGT/qz+mS+Uc9/7NbB
gAJlh5MxgZjdih/Ue/qyeMNdiE9wDAGH15B0A6EO57iBH9zUSnoc8IDsPfN9WflZvlq8cy64GmeW
uFcPZNJZ0hFYQv+7HVyVKx+2yErzou2irUtH4nRU3EtRRn6U1ugqs4abzgGlByi2cbnJjxMr9+q/
08NwwaU/Gx23VRND6Q3C1rBxWNszWOJAY+hMKEQwVJs5oR/MEh9RgHAXLpulaeUvG3CDoX0bQzX2
xha8R9ufCUXtajkhduFiAxcmqmiyrOqqhJah84utMUlXiKJJ4VGgcw2tGmwJlf0A1EDqmc5/ABow
kVMBCB4Ms0iZ8vCPzMd+FUyfgudi3znM4Ac7E9mTbzW24Cy9vhfHd2qPOY8nFzcVfDI0Bez9vLhB
mYe3SXfBhLhpVoE3rv7y2p2Pj23jE3tCXof9ZMBeVrsVoHsQdroOqQN9BXvZ9b2QOj23xr2EYIz2
sw7SWMfbNLttUap7b53q+jfKkXMv+9wUd6sMUgqBoRwDYxc3owhj0aDvsdNOt/9BOhPWUHJFhxwy
wzOGJLkBMWXa4wiYD5Oj2dKagoSLYXGjl6Xy+NzHBeMBGjNUtOMhrc7j4gcylKWmIU8aygeB4C2I
Dwt74sLUsewHMohoDkD1nztjZWR2QtUFbA8ODkhEgc5Zo2HakTsL4tb2YplgflViRCf2uIurNRRQ
HkAy87hUIeS+3tBIiWcHTHlIvfyO83nJooIUEuOv1swZdJrqSQi6a9SQ+q2/0uxpnTnderwF7T/r
HELbrr0wpUsGuY1vdvrQlD4Mqqv6lc1naI8eAOIeI5NaviblJXvc7u/HVo6pCnvd8+hmTvlCPZAs
AnBQIwSbrkBBCh1tC0GSE1nyG7R7cjfalqK1WLxc+iDck2vSpjIyA0AntCveN/QKjDLUMn6AfMZp
4doUG+ouTval/Xu6utz+RVqjpOjlDpDtH124vlvTNb+1juqJ695a7EC7OEKNtanoGjpi+LR7Hsqi
WIJK5+iLmtDsRO1Effh5WtzxLbGFpYTu/KE3FZxKdMWgEMVabs7vbKVJyziPwavRb5VHaCyE16ob
eeE+uSrf+xwpwxyAg8XO44uzitCPMK7HeVJ8zNUxESAJAfcifkXb/zqGTpOVPUmuuJZuzd3XJ+bS
Lces/LLGRxSDYkCqXgZLkjqm4FcHuckSxvniLCIHA65M+L06j0GsaQlgpwAic/ARr5pcsA0x2wxg
3/l6IPOkMgFBFhoN2F+odPFYdUWNB5l0Q4CkcrNL3cCt1sI1CFr24aZ3EHGuor2wHpaqvLP5gzmw
ckoMsQpYJw/gNkktmkGM/JFRNI9QO3LbTvIWRjabwaMNE/hRAODRu83tQ3DUDmJqwkb42SKQBvnZ
PkUkpt8xNsJjSW3xbF80iR50MNCjH32GbAlQ+xFJLTFli71c3JP4IemWaqKzzAQbFlYMaR5g0Gb4
elSNEywlFqxxQFexDrfJDUUuXt/7D73Tb9AXYouivdRic3Fkf1rVuUpQMvqqkBUTBPX8h5KuC/lg
aNuvF+wYxZ1Feeg4JmhL13FtoKGOXzC1aAVNm5AF918SG8zliRXekzVDdSQozZNrcIS79KoDlXu3
KmwAQu2vPwDPjYuskom+AsCbNYAJ53G7WAxTB+TdJyNMKMljs8t2iteuQD+WWYKLFx9xCtBB43eT
3slomVrydmeh5tE+yoYgYEMdiT/zud/UXUPJp7oC5eGd6ZIVewCL1RJb6DyI5wxxz14wdGY7qurn
v7z4AIBeeDTCqvToGmmtFd0tJbfZq8Yvrqb9OTbu1RPMRGigXPSpV9smf8whv4U+BwtJImthG10c
HEsVMKIDUILyAIhK7bI0rvXPTn5yQuDf4Fl7Hyv5BmwlLG5Ybpmf5+0xnacW2dt0EqXQVGk1MdI/
xa3iZY70HX964Td4EjTfAFzmDS7E7ck1IsDNCHlRazHEvTS5px+AOQEnH8CIxJx2kv6p3ADAiXZU
DQw4d/eGE+90O7nO3ByCtkjTLx6YC9c4oPnwIEQd7vhM4kTNwjD16c8Dc3zkV40LNT8AJcQ1yOo2
fx15hZk+Ncht3HwMK6hma9i4nSOsWX60XXXrGCWg6a7cMPwiNEgWr/VL0ws8OsDM6K5HPyP3kkwS
NdsKe3cA854GddNgWx+qsF91fr7wHM9ysWx8Ov5DCxVTMuEW0m+avAKH8Ge0QQfANx03QL9ZPv+z
ZYM0DbrC4CmhiRpVJ3bZn2yXyEy0BBmMTyF5yVpQGN0t3KOzx4L9fvY8EfyP3cHNVxYAzwIhFNyj
9FF4Zj0+05uATL1wB2rFh2kfOksZwtkKcRa5E5iUkJes8+kT6E+GikDl0MpyEOv0eyVdcP2OiLez
m0wDTQvCaNZ0jSokn4xshDGSm2r8FFdixXJKK91T3vadF9xntyzhk69Mu3aMFhGMYEO9zG490SN2
tyd2D/aM+EF4XJjvmY9//EToA2coCiwnd7dOZj1BzF77UPeDF0D+xHeUazRou6BcdoDkcRfMseU7
nwBZQoWS1WB0nHs+e5+GZkuqRv3ovG7Xroa1amnH7G+zWIaZb1QZbyES6BrrcZ/VQtC1WSZ5PX1M
5U2Ns9dL3xaGMntxsUvByotTjR5bIL2489aYzSDXZvPBzltyE67yHYhAnMBbzMDMwhMkBUHvg5wI
AeX9rDIH2bCCCsT4kWzA7v+N1ZBRyUWLOeukWfQjLiyQgRcJLZjI0QMrwu2HSKFmN+XlD4yqs+oV
K8jhJdi2D3S7lBGUj6EOtxvOjHHpESib+VUaww1NuqJ6apXQLIb7Kc1lsdOsWDf9iEJFTciDZ4hz
aFG11oaqK6FUG8d+Ck68Xm6FKABfWJTI1ceIpWrU1NZLIfTFWwnTNg5XQlImgbbS9UCEcEbajmEv
v5DBLLvsQKvEhMbRIMhDP0BNYehosKkJjYddNwlTuZbyqNTQTENqQ3kazTScKLQ6CFQQweo1mZDp
TkeD6s1z0+clMNJGMpJOtMBDVoq1q4UE8bojK00ZvslJScEJWep+1x7kuhnQvJ9SBRyPVQ3uPHdS
Szm70lIhB/4yjqoWDb5DFLdUsQII0gJ1HqiRRNCOCLclPLQqFWLRnZpIGMINrZRJHoF4Aa3bFcqS
RbUBQBZXW2jX6LyDnMlEzMBUIcedRBnZQ0s0SirbCCWdCtBxUKTxZupVtJHZYVSjLcYKwyKpJZD3
aY34I8rAFoqFKNZ9R/z0O/WpDuEMApJNkDai1mNsRt2QaWslJOtl4unBCCVDsNMGuuAVUyJOd+Ce
yeXrocsqXLC12oHnD2snkUdwmFJ1DWq+vnow2sHXbiptkiAaSfI6BnddQgSVQJinUdUgseNIbkPw
tGWRqD2JqGENGzUfKxT5lagXFE+oSujE9CWkelZKw7iBoDsGhliE2rQloJRVyn5Ity0ZpWZDW1No
S4soSZWkViz4WvRDrwwq3Y71QIz7ET8glZYIXfDxRsnGGEL0VDezm64LYumpzfRoAv1iUxSTrVda
YKzUcBzTaT0lTd1Ax0gvzLS0hjaqW4AyRAnkoaIGfc1NI0RVUtq6EI8NFB3IKMfEC6A3LVUrLSeE
vqdJG2MZaA8VF7Evuuh6yitBvlYbX5o0V/aVRrgHK60YbAjIVAvQLAuSmaGIhpVTNDcACXrshIkf
0hLilH4qEofIkQAC3rrOAyi5+VGvuQpt0mFnAjPRXRm+InffSlQGoHuTBiyLmGXBhJ5Ns078InLT
UjA6zyjKqf80akLUbmX4bQP9IbAfl+D8C6W2RfiqK7ibGtqHd13ddr6TjXUDmeFSosp3KvpJ8pDo
eQAwQ6QZEB3qJi1DMVwBlyV9ltQpaWswOQXRaELJyTSBb6J69dyVUdzloJxNRVCgCzWUaXatoSW4
3/tQ6n3k+Zsq3MQjGLavs6iNphwJEGxzVBrSPtN/tGUjFQxaOUBcz0L/l1+7BtVq6GCSOte3WuxX
GbkpRUFQwzvQc6riVUyhgChYk1FF4/CYxTKJke4wIBd8HYDptNqFRV0l2yIKNXMvUi3Trtuu0yOP
QGAn+MwiM60ybNrI0DeyFkXiZxViMa77sFIq0DQOhp5BQlrwIQxvmUYTRfS6zaYMCjGCgWPje4ba
Df2TQkUDbI9U9zV3mDKzsw3d8EE5S9TATNd9JIZ15yhSlWfguddxokTLV9UBKl5NhN/gZQOQT7qF
bTCWxMWVqJeRm0MwJoIiDoRQ/RDVtVDq0DTrjYY8jpnpUUjEg6YaG7INxxpMnILS4lusRqRRCH7i
bgoU6NwiN6T9UHw6BGAO9Qdy3RgmlNtJ2dMgt6ZaGLK9GstmsY9ysaWQ72pSQfZUue+K+0IRpvgh
B2UOyBwo5NAL+Mh1KG1bnC3/Tgx6M3qKxKDObsIKXW3XeVnrhb4pQjQ5QM29VmX1mx91yoSuUuiD
pZYu6CWECf06JJLVhyEOy9cv/wXPAmkURQfdnimpQFucu8BTOKmFSvFE5sHepNNWWszTzFx5DSXy
EwvsE5w42TQsO0MaYzzCxJNu1K1qyx9gy7GYAowPllVLWokgyGKJjMUU89whPLfNHPQT2wJYc4Vi
iH+gaLaD/tD9L6UBSwBf1vY3AOzs93E+ANI2OvLLEqPY0Dj3eyQVuiJhT4UQky1eg0fHBekoS23b
gFlAOUu14+WmqrnTj1GihQy0JQrEOvlEc1aUqlLK9EcJpZ3WEjobegNuuBUP6TODcRZXrBdHXKYA
vODLndnlRluGrSxlSfCDcS6pLuNlAXkCZHxY6m0xxJ6l+9g2Ohkkt1EhR9sqiRJhKVEKehU1Kzsq
fXRw7gFK1NYa20OrpXTfHHHB6N0gWIHKl2kYM8d40nw1iOLgB8sQGU/aFn0/HvEh3DO46J875hKU
cu1/Xy4Ozc8NQ0DC61cVWNcNbsBV2g5yKQB0hTxGBq4WBa2SywCv+Y5VREaZBWecaYbyCejEzHy0
DRvvphoFdgfHBr22Jq7dr2+ZJSvcHTBIQwgHXX9X/dsMtVBRARX7w39ngjvqcQy2GaR+3ssSAqB9
ILdWXUIAKGvNzvra0hHLd37KMWeoIMlQo4cQBZ82GEpBK3Siv2svLJ+uPuFN7tcqGv/sPrTyW3XN
tMPiDK64tcgbMr+vAQlDTCMSQwPfC5+CSYQqGIS2fzdepOEqXIPM1pN08Hwi3IcnmnrGd//6r9eU
cAhOjXIHXYghKRiG3Xu263YqqqIsaOueZEBwl7f9HFoBYD9qZiqiXRBNoXnk/M4eaZih3qO/M5yx
6ErWMCEna74yZhQKBm8bhaaF9bwwp8gYIHUH3VIQ2fFx/JhClDVs9Pdo02x61Spu9OvuO7nuPdlL
XMjQB07YLNi8cLhZ7yIWkMWMyHOdDzJPB9IPBnmH7BcYLlj/MUB4yzf0PKyHLCjwk0CJmxJgnJwZ
wyeTqtQDzDBoRXKjuyManav9YqR9aQpPDPF1QBMumDaJPRx9wDiEFLnmwAXyXd+jhxBya2u60t4W
sVtLRrmdooi9GKC49c7KFNWPGB2ZaId7rvAiNCvjugc768JGYfucO/gS7koJpESoPM3E5FoyQZhl
HHAlmxbrJwf0DoKTK/YMLA7u4g45scWlE/weWZqQ9MCel0/qk3ynrZhF/9bf1Wjr7VbTqkFNtwIn
xqLpuT+BXXNimts1YRiDpT6TcAKN1bTLX6iDFpf2nXXs997kEgPCq3bgGdfm+r+b4GOB4cRfy0ln
QnNFfq+e69FiYl6+0/cQY4S/Rte/gT668C6djpRPYYLeBkm3rscOMlZJ6MRuDoQzg3KxOQ6foU65
fCjnNpEtRCUbFxwuAKTAzo8+ND60qRWrV7Xy/PzVCO8nZYFPbn4umAVsT9QitDkzBynDhDZT9ZoK
T0xflRjUWVinuQV09qExGSVlMI+ZPP+R1NTQ1JiSVx9cYI+TMzyEW8PpwH8UAh3usfOwlF+7bNGU
NOQnwavNMyCloLc2cyF+nbRVmD/6Qr5wIV94djAkkAWzSVNRL+OWhYI1WBHC+FWkeHfCdb0HMcQD
dMS3YMu345vFUhU7v+d3ybk97nyXHeishCh+Ld0OcY98x26U4gZN5SjKk224qtwJRbrlxoHFgXKn
e9KlQUuV+JX5lX5wJH4AbLnagezQaW/pFrIyX++W+YbHLhSR9QUhB7IlvMsSqGjTBBDudZC0WzBS
BmPl9mLl/mUjBtoUCCJNxi3B65w1LaoBflK/KNUmpKOVVgcIL3xtYl5Q1cWfUqJ4r1FdmHEOgJao
r3LpoK4GgAc7sE8e6TpUJ8KrV1mDSxCBtEulsDnVAczioIFHkDlEs8NmplGWIlFw6DzF073Ia9ao
h+07lyF6fBsiNH+ZVZAzyM7iyS0swv8au6w+6DcSeA7yFUFUB3kYQOCW47rZMwelNfhcYPozJbgo
/LGLFaoj15awOUUNhUmE9rvfuOhZsHR22jgz3GmDvA7wbXVyYE4lPUCze1255Q4iRY64/g0fduYo
cOa4M1an8ZgTmFNX4xMrzDKixOJa/q0ZvLQtoUOJ3rwjVmIm+mAEKM2FqvD8k9G2to0B8wjm/zvW
iYCH+kHq7XbJab6wbowqAloaeGEuFP/ioY6SoINnyaJTA7THUCdZ/XW/Elv+1Ayb6JOtOKVBY4Ar
4p0MXviGwge2P70BrnttDB5zZcX10kMzB4IdTSpA3uAeQd8Kt3bKqMP5ycJ3aPLazGsGMw4YpY+0
vZBds3xLBhJlXMxvzFz1c7M81bpfSxltYJZCaYCJmNag3/AtdZkF9sLexJT+e3yMGfx0SuM8Vwap
id6DV/Kse+VKdyvQT+E2kXESFu+SCwcPbTJo4DryR8xAytUwxuOQhHCZh87qbtHBia4cslV/YpSX
75N5zxHm8dQgd9Kzvq1LGvhv7EJhaZNu2++gD+EIS6/BzCNB0RvAGkRvIGBVcAjO57GiUwHSPPNN
XBkr8SkBd2hsBxvD6nd4BpDMXIo+luxxA0OvUY4eTeUthyhXVd2PxWbhebuwMc4GxG188PHVAxJE
b/JKgroGY8aaVmSlbxlU6K/XztnsIYWBRl9WqOfzToOuJdA/YsaQEUZKwffSDeuhXZ63mfsBSwZe
F+DI4Xuglfd8nXwlD6gkiG8EDK/+vR5uVXXhwby0MsBu6oycH68YX2YeI7PwST1hZcAppkBiMV6C
El+wgI4v1P4BiQFTIR+nVLo4TanZv5kPLQA/6b0Ecnb5EG4UeKe/I10tz0JAOGwgdkI9wESrxMzd
hpg5xMmS/m14Vo7iRcN36Yqxpfu3jBogBCseatpI4IPAPbCz7biG5p2rXeuPpbvUeDYHyZ9/Fv5m
bKZRztOyf+vtbNfag+dv3yCf7Yb3GZRLfKe4ap0SeERs1cTaDsiRLr5C7Ghx3sPpbPBXpq8EDRHy
/k17iWxtZYCjDXz/TIYZamL31Hsnd0CCbpcBdXNfHUNH/hmpMDhH82yfGfVVHNblG0sChOvEye3x
MNj0/gjOcMT7r2+A+S5D0z2wrSauUKw9zziljnVhKlP8JunIARvfSbCQor0wHBQoINmLIADg3RnR
VAn2Rj8e9FdIiHmiy65MbROsVEiio4t+s3hDs5N9vmySApQaStGIsiFYxd6mE+eBkg64CGq8GvvJ
U0Giauyia+YRMZq/r2eOI/UBIocgGwsoMuBeYKKBUMe5KVLTyZ/q5pnh8ZCnwfEc1sxthmyot8Tf
d36hHW2piLtBBoxYFU2o3IXW+EQgvTxAN3DwRPkqgmIrNHb/+oCYEhdal3DbQNWdm7sB+q8QXxWf
zQcNvYLSFUM3TZDTgMN8tdhZdP7y/BzRqTG2MU8WKoqKtFJhLHyqNhrSlPB+nstN4sY3ib2YzGaf
/M9dMTfGLRUEZ6VYTcXnaJPfKwCp9eqtuSfbzO2vhMfWlskSDndpdBxWU23GPhpj8Vm50bag6diC
z+qBTSTd/ob7szQ6zitBk5ZJYoxOf2BtguVeQEeysGcAuN8ytzQ2zilpgfbpqkx8jlEaUzA2w5Fv
evAUA2+3TB2zNDbOQQlzWRB8TCQz1q7CLSi3d6OngKo9vvmNqVwYGy+HUkd+3QqYyvCJiSVEN4yH
ON2ZK5BnbRePwMLY+EOdD0UjDzAWvFYgPf5pjKwA5UWAuswrwgU5vw4Ba8yHW46Xhb/qh1LOzSSV
nlMDLdZsNqFFzBjMo5Qh+53kxXTWFMypC7fKxVH+aZbvnmjGsukgM/usroRn/wlSmLb6I7Gg9gkG
QEvYNEvtNeduzL+GibIxeMDgpCvc9oxIPmUD7CmCJ6sPEWBzO2nIgBmqraik/lJIcF6j/mUO7qYs
SSZcJP7BAUiWZEEP79mKU8cAKWVpxwEGqdt5hXlt7BR5xGyZAvT8oftpl8U88NhQ7EGO7fz+bKYy
BOhKRQaAJWwiT2m9zu4dVjCLDW9hDc+9hLkx7rIGxh4oB1F9bkewJE8IjCNo5a6wcQxLdqo9e14X
g+NL++Z0gNydnRtRNISD+hwklgG+EyjxxagKGDe+BW3D32BX4TyV+SC5O9vQchoKKoQMV0b80Dmi
y5pBxdum+za47E1fcnIvTKqGqpKOpC+2DZp5z1fQyGsCVcrwABHabsMo7USt7dcLK3dhezKqA4RC
CupXiCXOjcRxnVOokhz0B3UfvDJHhW0W1ONN3daewTkCGsDAW3pwL7grqD9CwAxxBOQ8+NhFpV2X
NSl5nvT1gHboQHjtypeFkV0452c22FV+4kAIyRCrTUuOB4C96UTZjN3G2KWbyppeWFQ59BATt4zW
UwprwfiFzXlmnDt9Uk+rMtTIc+G00JQ6cv76G8aNRYA9t8e1uEiNc+FlAp2KJiP/huTDLGk6qElY
DwM9jL47uhLyps0a5TkKwujfITuYL6AuMjI/ln5GKx+fv/dHyWjFuDxoxvdCcVT9NQyW3oX5gGAC
TFtHThMkVLjzHcXorJmaCvnS+Bo874xnFKLGYIOeXn6jAjK/Ls+tcYc7HSGRRdsKyWADvDT1Ci25
yM/2v5G/nO9LXWIsmHiBGD8NX+sLaRCqZoOpa3a5tNPj+yIdLRVqViLUwb/ehhdWCelz9CCB3BGE
yHxCpe/oGNGkPxj5yh9ui8HV6UJZ8UKQg7a1ExPczT+NQVcEcY9VCtYpxKQ9VvMTUhecHmgVkKf/
YERQGQPBAdODwDY/P9Rxo3f+oMFc/D3O7zUUkKKlKGd+dNEVwNh0VPbnjEky0gapijo0MYH6JQC7
QOAGH0xdDP4yuhvJkrnzHC97VY6ElURjLSpIFnE3RdIZowFQ0iExb+L4OkjBLQfE0E1TVFaJto7K
sFGPdr/eF5dWDRGcgpPLOqlmG6OARbXy20PjaJXFEr4m0pTRtW916BBb9PAubMMza9weoU2Ux4nQ
HrTYCnT4QMjYO6jqHACezXOL8ZFXdo9s0deDPD4i50EdnC7oXzBVKkg48J1WmpCIo9p0ENzGIEED
ldwCkAjPC9ianeym23QFH2yj2P6Vadimhgz+4sgv3Cpg6mafAEJ1qCBzYXkVg54GEQM+gvnOMpqm
3UEvBrKzodcdvh7upUkGxhRJfKQ3gN3l9hGRkryE5OWBpF4QvecxLpclgNKSCW4dJbNOM6npD2O0
8SMgHdNNYC4KTrJfwq/a6TjYhzh5tse6pwU0NI8XSocVizyGvBCIFV2zE2g6i3fKBcdOByvLn1PH
3f15l2tVkjGTEHSusD/iFdCOrNgeZ3a18t3UdL5erEWTnG8ni3pjDCVW6xfDjchEUltviNcj2CP7
dZN5/6VFLuxpjTIw/bo/VjvDdTpsGDZ3sHtjI9kKLErZQuRzcSHRFQpUC5JSUFA5X8gKcOi2h0El
ug98VFVNY2ESL21HcCSgtZbpIaF57NwAjXUKwbThIIxXIF6zh/K+Qi/6wrSxT8lvx1Mj3N4IOjRg
iMF4kExoU1SPaPL4ntvdFaNWGxWQhYgeq+D697K43PJ+aQZPbXObJNP7pgDF2qGG/+i0TwRKuqxd
TbzxH1DvgfDTMvXZxTmFZhpeWMAK0Gh7PqeGApKnJhsP/jdjxe5IJJeHLaVgWlNs0eo+IKJgOuXS
Vc0mcTbJf1rlkYJECdGKlY4HQx0dodwWBUjeACOa0iX3gVMmPr62MpjWoO0EsOwcaJWJJBsmQcYp
kJ4nMNYJbg71BpCDhVvlvvfQe2AnL51bIfVQ2CZywu0nvfulaP0+/F/wkd/+HNiZTvCl8Z5+Cu5o
ZGmINKosH5rnCGXItb6OwGGkXLNeUVa7KXcTCq+LEL4Ljs3Z2Lm1jaMJaZ+ejX1wmEzr8MbcGuNI
OhN60pJjc2n3ngxSY47PyUUuGHJYQ7sa5pAS2NW2Ajk6m8mEw8t4Kezo22L9cGGAfFASgqQwjTVM
K/jlRDd2u2Ib7Cu4ouqaDhYBJmfBxbh0Wk6HyEKYkyEWmTppLYYYSndC71H/e6QsXNvHIJ8/Gqcm
uGe9QgtCDtznQZSEVaE1DyFgx1P0PS53eVk541Q4QT6AKmKF3jErRxei+Rn01yQFkVk7enLygqZ5
KxlLN6tsvwZ9iLEtmtVUXKnmbSKpThjsxACcVoNXR0/Q09LjvSLf0e4gTrEn6MTtdXlh1jhwyr8O
IVicIVGK94HHygtNR/KokZFzqOAN1hN4rVihPLFA3Bw+JusKAfLS7mebez6Pf9rk7vE46bpiwjxG
6DEG/xGgdHS9XBXk2C5+DQ19AEhtsBCF34KS1lVTO8oIHuJr9VX+bFeBq952tui1XnBXAWEkrMDf
j9pWTBYFFhatc/uxT/UBHcHyIegddVt46EppPbRDpmhSsxE77/MNSIv2ihXtJqR0gszK+oW1vXjo
T8bPbVdBCuoC1cRDH8sWaV5DuuBUXFzGk9/P7J+cuDFtayK1jD1vfBmVe1X2zDpwiyJ0RQTSkmIb
48eCB3DxkJ+YZF8/MdlRudRyTGrzfuTHxWYN96HLKBsQpzEgaOjI91/bXJpFfrOixivJGKWk2uB0
R3ttvbBMXLvKz3165DBnzIeMi+J8UFGWJHmAq5LhB1nCT1Bu6JtmSTZBcxjS0yC2KxAcms4SORiH
XJxb5lYwVrXID3IFh9+Elou+ZuJm6oYlW+rHCFnUxUI92/TnJx8jBEcYqJQJoFu8S0NQ06ha04Cr
3bvI7KBKH6/8tehl7rhejObnm8VgdAkAWuNiZqLr5/M6tCgDxFP6AgXfxNM01HwjR7/v7ALknHbq
ka2MQtESx8V8u8AopGOO0hcgSeEWM+0USDA3+Uupo3u4WhPt4evteCFaOTfArZk0TBXanPOXKrfa
BNTpjNqU5XlEcE9ZjEZj6WHlWuzYLjHBcg0PjclLo8eOOwFS3rSZWk0H4I48pKS30Y+fGHzcZ6ty
x9T40pvuN7hS5ut3bpdzudGRrsSknw4TvR/r0PKVj4o+fj2b84gCJo6a2YBToImQW61RUYNxiMVD
rvduVBZ2k7S7flJcFORuNSO6rykUCr82eeHFPbfJLWDWkkLJqXggAMXcjG5yUCDVoD2mOxDa7ZNr
AcnHtbZwiV3YNaYkgsPOAAKC4AByc4kstalWgYhYQlv5K2ZRfQx32jGRFnhLF8uFlQMnEOoligEy
x1m2x6yyauw66dA126wEu77uxcbCyrFZOr9JTDDbALgOYiCAR0TucOddLATomD7I6YPk46i18sI6
sV09M4BMIFAcYI5RVG7XZ1FDGUvGoYfoSdnd+doqCvYg93D++nYACuZPO9zKYAcm0I6RD4oEojyz
Qn2CNUG/j4GTfBo/1wciNu7XVudPN2bvxCgX9OR6I1Adj1oef5fCWxr6ti+Dfky4Vkv8lW5lgOeP
Fv/3LNCq//l3/Ps9L8YKdCoN989/7sP3Kq/zz+bv7Mf+/W3nP/TPm+Ije2iqj49m/1rw33n2g/j9
v+w7r83r2T/crAFXwl37UY33H9BzaY5GEBKy7/zdL/7Px/G3PI7Fxz/+eM/bDGxJ9x9BmGd//PrS
5sc//mDsfP97+ut/fe36NcWPWXlT96/ZK/8TH691848/ZPNv0CmHviiAPEdqbCxE/8G+Ipl/M00E
xdjhSOpDZxlXU5ZXDf3HH4Kk/w3YTAnUusAJ4wCw1uM6b49fk7W/sdK2yNoJUc7G9v3jX5/t9uf2
/rkql6NjhQMi4FIExyHKPuAvBgmmCUGL80e0N5pArJq0sEbdNyZ7qND8A0rHkKTf/DKqVcg6jmKu
mRaoMo32tgc5ReiQUhglJ5eCCNEEWldF6NnLubFJy7YXHLFNY/+qpYWuP8pBSP1nSetLyLq10lCv
i7KOsl1OeuPHCMUL/bvfC5Y/GOorDI8gfYF0bG6HRJtAH9MkyhNYU8RqT0GdU9uFAvgC8vRmvhV7
1HFXRh/SwpYztC1d+Y0eEFuuEr9CUXVqS89UAB20VFDwKBYgqmbrgIEnR3++SUbiBlKqdJY0tRpw
3mIsfGuDQtM3nQTpG09CV8TB7OvxQ9ITehgIIJBW05ZGb5t6I2bPNQtxriOxHQRXH0AO4GKSxXGV
xfBgoY+cxaOXTmNX2W0RTajxShiyUyttjh5lKRNBVg4gOGhz1KnBkxCV0kMdtEO+6fUoh/peXCF9
XeVgL7W0zFQedYEW3Xe5Lo11D7mozE30EibQSiJ+1n7UfNelviaWMQI55kDA3DDXcdOKxkfVFAlq
hklKsp1O+r57nfKOiFujM2WKJzdts9GOOsHEh2xioW/faimm0Jav+wCVwFQwIgi5lOh/6Da0YNxG
PuTBu3JDUGyovCDNBnqXQJ2zPQB8aJFiVOWDCZkLAgohQSJuW4hSsZbBcjOtIaJoyDf+4NcJ5M4z
MtXg45Cnd78iWAtfaMG5oTVFDB1gNQ6fwHIEaKve6MQCl9sAxsJ8KtFh0QcSmIPTJkssPRsbeZ+a
4SRgMqLao4PfgAeoSxIrUhKELo2cfQ6yPr7HAa3DdRNGPdzwqdbqm6DNZGoHQ2ZmFvKe8W2njwOx
BYkiWTQ0sor8jS6BOzgB9ptaSU38Q5LEov+9zJq4dENj0uNrRU/ryYmVXDY8SaTjN0lszN4mfVuA
JFQtteojMgUKwqTBKIqnTKSFnNtg8vNHiA3IyCn4pjLgdcj6HMkhBHbpOpuSNN/2bdV0T2lXmaI9
QSHU2IYNKb1AFBuHDMNbFLWT8aOQkinbJV2dxDdhn5NsY0Q0JbsMp6UGS8uodzqYnkLoLFpKEGGP
+1OqBJ9pGVZkLzWSCIHHcgSTUJzpBE+UmgnfBtH3M4tkfvOqNBl9DvtAEWxw/kAU1SYB1dofTdn7
8QrKmCaCiawM1VupGcpurdbghb0qe1JnwAT3tWQL/dSF6JUdRb9ZVZoaiV7RjImGWKjq6E2hx3n9
mNBq6m06VINwj+6WqlijLvn/7F3Xltw4kv0izqE3r7RpyqoklaQXHpkWvQVov34vSr3dmSAn0ep9
3Yeds3N6uiIBAhGBiBv36gXw3LWaDTjT02gF6jgr7XE2G5p90Vtbm49LYdLVw5ccdH9Ia/Jlnlub
uFaFyp9fjKCjOVr6uqpPVJEgC+baeQJCrwawpPqcxfhZJ7OVxvZzN1ax+pBZuJQo7gzGfLcmKukD
u8gK80jbrFo+kbmyiOICCIfw5A1pqktnG+RC41nN0kY9zVorfVlr3J8TPoaC6Uw62bLf2Ora+K2d
0JMyKDWoZIqUyGvqLuhbJ8fU6BdgmRUtbiNVXo0Rqo0V2KWavC6mk7I44C7KU1Kgde1UaRPIxLC7
F0lWu9hd6Kq+THkcO08rfAiYpksF2hY5lYr1e57IpR46hWNI0ahaeX6fFZXmeKAtK5egGnATvEyG
MTw1igJN5brrmvtmbOMyGOBvoC4ylc0cGmMqrV+dIdPN6YRZsqzOgnrEpenu2iprYsieEatLFPtg
VwlagS8VSatSCSS7nZcBp6ZOwBiGSEJG+6MKERPrPJslvNcyGFn1HK+m8odejeXsgRDSUj/MWleN
rrOAx9iVq2a1g9WwpZ9ZTa13E5Qt3yOg6SDnycuh8zrIELeeNnas7pgOiXyfJhORfGJl2hcnXXRE
kyw3tBeqFcl7ve/aD1QjzuLNIHMYz6XcmplPrbQFbtLEiQ4Ls8wqVy/7xvZiEB7ZB/T21TbsHQvQ
BZc2c4ZJuQWj6GBM65c1sohjTRGVujF9KXM1N928rLvR+/8Miy4sw3rLOv57ivV+qDOSXWVYb//G
rxRLUf7DUhggZBhSQYMm1/+mWNZ/0FvBqChA2uBfwHTeXxmWhn/E/iXcLvxbqIqqfyVYmvyft6lw
6JgA7y9DX+h38iuuAgPWdNUGryMM6cj2lA0HfewUrZKoLRhRTtJj9w6SwSDTkB81MEgzwfvpLCLM
uX7xbg1iZZcVtLKCSLaiw2Cnnhp4DLmBg/9RpLlnqWd1XH8dyqus/7K9cv0S/NMchhAZQY4DqlXu
FbVMYDGzpapwC9KVbkydT6mcPI1UXwTPtR1DQEAxXlFA6JDGshfPZWXQyMvYXMsCnuqYVcRNNcNL
EKAucvc/8+PL5Vw/Ct+WAySKgXenwWg434bbLqyA5EhyzAJW2kp2raZw1bT0VOVJiSXBu5AdsYv3
55+mgEjCq50Rtb+96C9MpZY1GVYKU2OYvpcfzNJvj5rPpovTV6tw4xfwaYTKA/EHzOPWnuXL4q4n
B9v480dg+hcoBgzdYxD4elcn0oGnbi4Kd4EW6PPoL0E7YEIXam/PuZ98WB6tyPiI6WqkG23A2Fh0
aJZFt/ecA8hsfwT3BJEywHIUih8xnbIHgFqj0oeggRY5p+VFXO7a/cQXS+YKC8uIRmzKrDVj5hn1
p1i617RPTiECV+wdWFyLv7aWuxlybpC2kGGnMGXPMQbPBtu4oQkOLNubv6sY273jqgs1SCLMSoGV
WsNE/NT6VITRYn/hlgWulIC8mqrUZBbw/hqW+7F5XRFpl/FEFtElF62Gu+QD6SdpBB+ra3S2Bz13
4E9EZZ/ryshmw/hO6RSrFkXOXriS8jTLpTfnhj8XLzJpXaRueLMGw/zt9gHfnDjMMIPRn7X5AXyx
eNdFS2kZykStQGgJudIswhyTS41X1f5+287mxF3b4cH98GhmRjWkgLbUubp+olbsDcX7f2EE02Mg
1wNLFGYTrz0GMsRq1QcY0ecKhK6qlw/U7ZNGEFe2ToEt5sIOd7BjZJFT1cKO9giSL8io1K/pxwGQ
esa5IIuQlczPXR1yzhp3yPF9DGcsYI3N3jKMXhatgAhMvgEyvexRFKQ3Al8oswPRi6wArUtkLPxc
RBcbIPxt8OCuMzlSSzWDqDSGv53xqy3hv+RjFqhE+SBTNaJEgQSsXE/H2x9S+Bu4y6Y1ZluRAWxe
cy+3zxPV4qhWxs5PZjM9dqgJzFL22VKWQ4XOZr2mn+RG/XT7N+yd2Itt4Cd8IDFYY6oCP6HNMYnS
07AbnptSPdy2sg21bLcxf2hgKgSD4jqHDATs3sFRZrt9R98Ptse60s7DCIK4c/bcn2dPDe0w7d3i
ON0BHxmR1/xZNDS4zQS5H8HygYt4Xy2xDAAVfsT6yPhLdMymxIDDhM0xgcgToCmhCBHJMt/Nqb5c
N/vnFyZHXNOVaDBpgT34oXpYscmn1QelyL0Dog8FkGvrVN0xja3eVe6tE6gjQxEYgOuHwONyC+fC
uwlovmFgfBpC2fppPMZRhcYgOvUYpAXR8ccFCm3iedCNm+eMclEeAwlJU6swqkddYD8vQXJuH3OI
5qLsdmjPTENa+1qE6P6Ikaj6Joyhl4YXKNgqMTMD5Dz3qRvZzpdeQSULylQuhFxewL5CXbTSfTok
7rxMB7XDbZ+qd0s1nswcFFEoXw6Qnizs/mTUwCai3pNnUDLUjqbZeLoNSUzzD8n6aFAM+yTdc4ox
94FU/jhBrS9O/IpawPtaXquPHrFpqHXwmtT07TWSgezKx87tC/AUKi+mVuA82Kiyxb4ELu/OEQG/
trcay0fdESAz3YRsHLf3RlqBAZiVIvI0i8jQuLFaB5VJBdea63mBUx49ZjAGoneJLGsLepxo2TTm
rGJDbM/4bp5qsJW1Z631usxdgzJIfFHzd8cknh8oOskozoNS4w1BdHGjljTVWFkHLO8K0vU6xEyS
FAFt8vQWl4i7gGjvtvNikecyMmkYXLi0yP75hcW2IR3NNZavyPnqat3ozgn6RXP1pOupV+k9/o/6
t21urixvlAsNYOTOEXpgVI1GP/5JvBIrpSAp0T6qkOJj7BqiKSX+zjCTTG/ehPA8gypxPrqtzKRo
ary45mLI76ZpSE562xQimjH+bPJmuKuZG/HQZzFIyGmtBuVUPddOFcpd/+72DvIpHzODcMMGAqFu
slGm0JuadZZhpjeXxqUpKoGzDMAsxu//yHRD9L32Ng/NIJDIos2N+MYlS3Pd52C3hzk9Kp9SFA6j
2QIbavZUHmS83dxSh760SANHZJQ7mbnVWK1kwSjg+K5pn2tnEqxr72NdLos7hhAjKGy6wIJZJB/a
+Kys2dkisyDV5B84v77VX5vHcx5qAzpG4FFGZSEpDzpFOEKR2BiagMpG0FcCryVYE3/OmzhbVvAb
YRQOCATl0Et3UitgKxGZ4M64ZGdQMEBhxu07lIbn6WnJ2wwzt8vz7UMussOlF6tqTuCuhx0FPbmR
vLdrQGtNUWrOfi3vAEEege6pocmoMrFfceEANbIuikkgrMGow5aAeCuG0+ozG+yQjiJvy7VDWUzB
xcVsJm6RBV5F/vPksUqB3Ic1ElQP0wmCE9PP/liB+oNNZ1sFiAP6d+pBOH6+u8oLu9w3G9vRLNB2
K9xfTLFmEaWh6cuhFhgYkPBEXEab59XbOiHaB0yMA6fLw0LTZZhrA52sv/STV/mdFBAMSZdB5jz/
u/Vd2OOejXmrKQP0A1p3/sTA7tmpPhOIw0OL3hWrQ+96JghO43mFWTw0tq+PTIWOXzY7LHw5wycw
AD/S+I/bR383QkKE5C8T3PcqJ5PmE6vesVO5+gR1hM8z1H/HQPVnqLaC9gGqFUIQtGhl3JUbl8rs
0CyDR2zJk+ocabkK7tvupXbedIggP4hwfL13c782spEgDg9TESjOBIWL0jWk47/Zvwsz3HkAiV5t
9Szc21+6r8W5hFwdk95dT8mRPYiU7h8ci80T7O3QXxjlwiSUKwget8z33rPJ+XxwiwPjESpd85Ec
G82tI9H4gWg7uSA5zR1F2w/rBLXPc6IRry6Mr2ir/5sYdrEyLlJS24xRS2bbaYKbcqo9oz1U3Ryu
chMBAOcKvt5uyPzbHF9pijWbYFQH5swvLeYKf8qe7i0fmnvzKX3MPFAyp169ujSCpJRgobsX4MIy
d7UlC3NIE0s6pmwNlDT1e0Aobq9OZIK72qtSx83ATDikc80ktPr/qwXuFivEtno1xfapRf+ll6yH
oVKj24vg4Om/Ahk4s0DyxEZON1RPUzJozixnqOx7gHUc+0dI6ro5Yhj5VEmucz8HX0+tV/6Re4ri
WqKy9O5D6cI830hpNDmRMGnE/OMMWXkggbOfDWZArUgLzPmnmJ/4v1jEFCp0/qD5zL86J0sG0KH6
0yLzyKhepSEjJmt8Z/osfrEILXI+rEqybF4t5Ap9KJ/AWIyiYRIp0ewpQR5IviLymexs85kQAFF/
rZBzX8pQZnbXYYXyyQhHMDkErHKjBAP+X+F77O0L3bLGeS5HX6cOslLsTUGP2plRj+th+U8ok/Yu
3OW6OOdFsoVaQPL8ykXYsJRWMDUTyxtAZNR+sQvLpx9EXaedFxroD1n5AAPoNtCS13HOiCfSdioq
cEMDwZambHt/yOvzbAxflnHQft+nIJsE4zhD2qHuyy1Rgy5qv8QOk/ZATbkERX8ucsrse3Df69IE
P9dXyhR9vMoBmw95NwMx4dRaCCcN2bRDuqDUR81/syY0ARjiHz1TPjEfjbo3lsJuUeYZnseuO5R2
9eO2F9uJnjYM2Ej8Mc+9cWK6NsSOPaG7bOg/x6GNSK4dxvn3+MHeXOWlFd5XpSSuUqAJ87dcrnvH
2HRBAc7UXjzAeATvP/aluc9ko57DVCRNdJn5c4f4hSbgAmNMgLE40UNzBxWBSMRns5fgg1UB6ANA
ECxrIxVL6qrUjJaVHCAMqvkJFJB0N3nq3Rx1MVFU3nOFV9a4mGmuILQyG1hLj6yLzayNuL5sxDP9
B/Z2PMbbgAkkslnNw+I84aJ2q1KowOJMTQCJZb8dBv/2ydvJFcEjCt0f3FjIN8PpXvsHbWzizq67
HCtaPCU0PXM6MofLAtisu9l34BIFMXvnm13b5HYxVpIE7U80/yc0Q1zW9HI8JYof2Zj6v4iY4GnA
qBXKbnCCjByFc0ppU7cg3xiQxYGfkTW9RhcFj2D1MO2M+CXiaOQ9LmeO77yu1loYgEQWbm78mK2f
Lfk42Y+dLaIi4s/GmxkFkBQTmGuQ2nCOHTiwWO/spMMLHq2GQDtXmCEHcPRuChk9j6x4Frb33e3j
smMUmbUDxAg2FC1/7rQMclmQUQVa1jTOBSl9hbYCb7s5HFjXlQn+cKxWPdoUJvI7MEK6ENc9fi/d
/isbnhY913m/y9vi9hDSd8kK8aPWXcvYKyjG8dtPVvVv9gwhmI3EoS/OM8+TkVTQZIU+aQ8+kBxx
xChEaejeZ0EjQgOtKsLuplxfNnmxpjrCrqpW8ym3cu1I1M4W1Nt4l45TBjJQAJPQ6wDVEO8qprHR
ksqaKmCS6jvgnomrD05kovlk98ahlqvz4kj3GEO3BIa3y2OGWVmMAfc3JMGGM+QAWo5ATEs/xzJq
M8Hf3x6Dq7/PE//2Rp4vSgvq+sLOfZTlPXU9K1oriIhvmcllSHzbP8DjLBTLUYDjWXkqU4Eiag/x
V23UleroYLZIck0CmfjamF17/arIcg3QP4TCW8dK74wFM0fq0HZRXCyr7iUTBgYkVYJibmE7gU3S
/GWZey3KKtWBhqv9pRxQ7PKKwTQOpB7iCeqs5KdsLQ+UkO/YAy9ZYsPPiIZRty4HUDUBK0KZLI43
j53mQUERsqFrXQfFmDX+RNTmkz3bzg99MYHobXQcK8yMh5MzOniBx/17VUn1SDZJ4lldC7x2MVTH
XFPGO5mOkj85eO+1WamIdpLLLbCRgK7hOuH+YviHn3arjB6j3iMFeq37bI/PnfOt6F5vO7qdI3Fl
gh3Ji2psW1kYCl5gouj+IMbTOH4zY8Gp2znVWADOM3vIAYTJBXfdAnnCYgLBqE/y+AiUHDmqxlKJ
sr5rLiiIeTBONcymwPEwyhSeLqhsu7GRZobMRAUvA3WqfrQifGahdvimpvxmSVfQpGTLcfhEuQRd
i5QtKJRApxx9/9pfZ2hHR50/Yk51NT3MiUeGfccwfrc/1p5lwHRAUMRUKbedWKRlSeIkdfXnGpN3
csBoOBi1vLag+6555CUNlFoUq/iXKlb8xi6PRQMAa8pcZuEMtQ2c/ttbpAf6wNRnv5uJisYz6rWt
V0yOjtIK9KdLN5NMCDEn+qB/AOZecYmUrr3oW7N4xXkYBT1FoD9YU97mASCLrBBrXEBPzuaSmYxX
At5yCwkxIwcQF/020Bqs/8oeF6vRxyQZJH4Qq4/ZoX6khxmkBHrIUu9GcOc3qTezhcuO/2Dso4ij
1zdySS3iTL3D4BUsTc2C3ADDGNOT6CM8M4zcFfF6swvI7+aFRf6lWTXW6GAkCWGBvJMxLCyPxxUO
WsupayV9KDjDO99O1aBOw4ZAFZwPLhdRM1WhVYazREB3mnqM5MFGGQvyMccxGs6igu1btOZWd2WP
83BLOwI/YaxIRx77o/NavtBv+mcJswwLWO4HX/bzoP0AzBv0j/tnBkbTfgAr/H9cNHPDF252rEEi
KudYdO+v4RLUPib3w/5MwWeWntt70aJ3vTpG5EDRiwfPputV2ZMJoZC0dW3tUzpFbQv5aF0QOXYS
WESnCyPcpUho3zeGg7H2+s5o3F8MbcQ3P7EeEAQuBD5od0kYZ9dB64qGOE9eOOvTtNojAQueJnuW
TgNt0o768iL4UOxHc6fF0P42o3HEO8gwaRf3E3r8+FAxJKShHANN6lD6qUPNRfTO3guNl9b4Z0ZR
r7ZBEX0xpRblmn6AWoCg/7MXM1ChwigoI6hVN2hVouXr6HSoueR3CfiDIL1TPWcnzMmckwr9mclv
wr5zh4Pog+05MoAXIFIGDk3ESX4SdTHyStekmpVhfjkyKffkMcC0ElynfBjHe9F2brp4LDJfmuSu
mU3aFhr2MJkfGYsR8DwtGNR10CRSLy98FXe9vhdJyO59REihAEGrQKQWYgzXd7uZlkyZKaiwtLlz
beWuKj7fPpQ7BlATQQYITAPSJ/4FnJfErtpizl3ZBlJHNr1WhAnfefFcWeB8JLSnqE1n1F/KY3/U
wPDD1KfESo17Z/HKDvd95K6VVXvESqaTjD5CcRjvMGXCtHGySPqSvH/TMQJrcnR7AzfNE5yLK7tc
ZX/VS6IubAcHTBK/1Ix9HmM7nea2ltt8ZyUSpkLFnD/kVg71H8LEbSeBuvoB3BnRknLN2xo/wHn5
BRVNfe0dq/VXQlZ/0be0r48jqFUUtWxhKmk+JrPlaSvmTV/t5WWVZRDEzaE0xv7t/RV+Vy5nQQ+v
bCV2fljuPYJLK/Ogsw2FkNGNBr+IAZtyk9btIxEvwrYGBe0TEGWACQvPdVCFXi92dNIyl7q0ca0M
kNDybK2Jb66vlD7eXiH7O1xYQF2ZiR6h+KopfElAM4u5yAdU8tTmAePjP4fSwizDg2R/TFVbcFp3
rvuVLS6u9i2QWMPiYFLbnlxH+zxMImrjza7hgQ2pKFUFoEIDmwH3ubJUb9NVBs083mb3c6w8mYAe
Slr9MVlXUTq7Cahvtkyom+p4QmzUWa3eyZMyKfHeByUwk31zQOAK7kyIcUbLN0XI1rJJLzl73PEf
6Gqs0y97CpSWiqDy6m9MLlAP+8h40o6/eTBgztHw2kS/BD0v/i0oV2BCsC1spVPmeICsVlhS+Wvu
ZKdFNg6lRj7ctrd1ZZxBzpU1K800YsAg9ce3/Yydj/R1zb0xgYj4hBjXRtJ7u3IT6jrHHjPqH5Q8
uP0jNieU/QbGlA5UMAis+YBk0Sp2Mg0PBqqXrkTCsvl628A2d2AWAMiVAdyCdCyf7VmSTKc0SzGv
7qpvUttgOfHVJ+Yxy+fJFSUOOwvCcx6M1Q5QYnAm3Jukso2Y9CUGCBqgjwdQTKyL4FJvs2VM1+io
UDDNNMdGWnTtqVINTdGxrGs31wMmf8JI+8AZQ5BbQv8kEIW8XXuGjvl31i+ClBK3pNkcZ7MrBmhz
BHaP7Hw9FMj2yJ0e/pPRhG3mxYaHLsyxHb544DR5rpgZZvbdHjoWbg2VFXBIVtHopdA1U93hE6vV
/wN67B33cmWX29YCE01WV8PuGGKZms/YuOdTdZyODIj22zA7nVsmd/vMObNbKQZmn749zpkqFT3U
KAdgWw+L5QquwaamxZnjwtuU25MkZ1gdZO3fazCVHfXQPos1/RgHznWA4yxxbrPO51mbZSzMerQI
3sZh94DJUDCrZl4bDH7z3j6sJSb4Aw0DVCjMeoKViuxzIUm1EqqOLVaqRwBXe/pP0+ugwlAf6o+Q
dvqcSffLp/Sw2ihxMUEU4Yfd8QAYEHdQusNUHdQFuJdYgv6IXDkrrucRmFSA5B66CCwI3hyUhwxM
TyUI70TJy56XuzLKRfqiiZulSVBqYS+kPvOH+/HggBvRDJvHZPoHE0Q7gR+1EDQIAaJEPZkfD7aH
ajHWHKucpxcnjibNcQfz2NifBV+T3bqrdAls/HBx0FYE5hBPT243y7h07Jz17Fi9zHht7isPsvOM
olfGZFQBulLPDEQ9O3ZEbxnldnNWLLOipl5jssJM3GQ8Fvbsx+nDtL6QAu7I+u0qJLdKzsU6kr6S
rDTqt35rDFW3xnOC9CMoYvDOTHzRcdndVM10ZAg8K2Dn4cxJ9exIPbByuIVT8rEEkj5wcmkFy8xQ
Brc/4NtB4PYSTAkAg+iQWNA24u2kJPU4roBCqdWapO5YT+PrmDStS0k5HzExox/7njh471rN4o9D
1X1uwHUEYD9Uaa25kVCqHBeXrJPy1DbUrLx07Iwn5Jrq5K66sXqNtvR3qQNGM/AiGt30mPe2ubhx
twzKfV6tVuwO9hznXtwQ7WDU61x7i1HMD6mOzlzcorPu973yqNkZuBB6UkORth0wsdPR/pgZoPdo
mgFNolW2C6SBmjGGGZIWcAhloCJp46Z/djLbPNEpzkJ5yjE2l2gYFuiHDiKYmV2V4SKtVeCUNP+k
FkZ86FuZHG/vM0cliqYFKqAovSKHAmu9jCfiddgk9lIlndQwD/ALVod3Kah9vinP6nH2nAgzjP7y
WjV+8nrb8vYwXRvm/H0+NiQF5SU8Qf1YW6fM/mAogr7P1gSGMyFygxov6BfRsL1emwbeIzJVUAfT
IMUxoKSWlF+yXOBqdvw22iEoCWI2T0f1hTMCdpgO5BiIW45zNPo7ZXp/e5/YB+AvwuXf5wJ+79DE
0YChdmtHdfVEBRrgSZJe5JEe7eFPRpj/Sr7BgtzWGChM0NtRQS7G3XB5VIeEKlP9hiUaIvtYHBnR
8m+jAdDLAAAGySh7lm20NYsOYkeg3qndLnley08xNCLxeLi9b9uWCTOCUMoQefgyPHxzrFdHyVSs
JT/S43Sf+oyjGvyIp/4+DgS2mGff7NuFLe4jLVCcaVMdC8qgnvsQR0OU+tRdQAYQsKRTZG/3zF2Y
4y4tVaDqWrNcaVXG9X7q49oreqqJVrVjBu4BU2Co4bPBBC6ItjYKujkrqugQtfDsU5e4xBsPC6qa
bzzD2uwWQh3pnSMIVCOIQPEWwovW5IIoBaqIlBmAX/JpvSsh912xF8MhFyg876U+SENQkwamDeq1
JreHTjbnqUNhZzrVAM6RCPougfqDQjcE7Cj36r85jyZIYPDywtLAcsoWfvFAKfrGJOYAg/kRmcFz
5X0HqZ+bH+SDcbx9HJnL4U4jw0+ylxeexptyrblotMtKHX9cHbSHpTf7b6Mjya9KLhXhbVM7rzwk
AqBMBuUjOmob2Und7sCIV4G6mGmhgAoP8EBctAoql4SBiEVp8raZpmAEB4tDxY0RMfFn0oorrU0N
q3U7NO90VFfiY32mr8WzfVyfB83tD+A+XPwcYSt5AfdApgSNIHJti41wKQpzkRDAM7TNvUhrc4o1
Pe/wG0bfgW7pYcXZMaLqff5Qv7Mipogk7r3vLf3KLHczLLAbN5YGs6zwomG7jScw6z05YQOUOOP2
Kbzirv9aQRQJL2w/Fd2Y7c28XjYfHHSwHqCnAiYQqIWVIKG3IXhxQPP/1YbcTkKO49fKr6P5CVsf
Ts+3D9r2TMM4+u0yCgqgvuW9eUOmxQK4qwMd/kNcnA3zvb4KS3fMoV1fnGsjnBtfy4ZYSVKwVwPe
JsDDKdF0x+Bw4oLPzsUBPZICvkEVpTtN5kuguZ0O6iJlHeoGIMnG11t/SXwyivEMehuCNGLv4+kg
UEcVFGPEG+VsfSxXJc+AlWQf738bLLIQcbp9AjHSp7/NsJBy4eSMpJ7nvsWLpNeTR/BzHlqIaLsY
WHqdifxiTSjD58UkOpns5PHfDbA1GaxXOt4MfBFe0qQlj2uzxV4yjnjlFUwJnW+++YH+QwwR+9uH
cSd4YJUXBrnkVaEN7XQJHrY8GiE2dX5JQ5R9PMVrESNTjH2J6hPs6G2XaCMWgyV7m81Yk9x1cPit
m/3sVTy7PNu4UzoRW9neqTSYbKkNPXeUIvhTGRugMo5BNftWLGeTEyvmNECJChxTISat2aZNeHs4
MAQVOzQw+WqAZMcrGG1Q9TQe8fJiQ5yFR08DRouPTVhH5u8nNMjQIUAIIV+ITgHGeX06m3pY67ZD
jad1INurRwvgHxbxWINdUd8rHlN2E3XedhzXlU3uRoBPIgPBKD6cNv4xyX9UkGclvykIwV5xuHSO
AeIKYAcQhLlkpsqWrsM7unVT8Or+XALT00Lmmi3iNjUE2CBgcmQsC+WHWPZu3wX2+7mDCbZ/JjjN
GmBo51zvaZJVFOTDGHtRqr4/6GCx9e1pqgQggp1dBO8J2BXxzAIBDR/2VWUtlXQBVjlrFlcZwVWb
nkxRYN9ZypURLsBOy2xXVIORrjwqGKZrcsW9vVk7z23WQsdTW0MXD/xB3G7Ns15bi4I6BQmIjRc3
I+2pELyTwIL7IO8VAHRcVl8UsWHs1MdRiMbBZ1EHPTf+ZueTMmdV0wEnE5GvFvHJ7KUvps8aGi0U
e5TZszKQ9fz+8WdmISMgY7l4UnInkyICNnIOUGSd3YGDKlFfxkxUBmN/4/oIMhvAyGN6A8zC/Ds/
Qawxh65nI/ZToGYeAEcpRm/xdtDBMOIgKXG87kd7ah4pQnsk+KRbJwbrGPcxUBDDm4XvRRnEaQhV
gEJawSvGHhLjwQqs58WHtIYv2s5tGL82xnkTvGMgSA5ULoZw+iOkMM+M1FCshLTzeIYdzBSB7Y/h
WXiHQpsirgp2TnvkmiskBpJTeYZani/mo9nMBaLCd2WLC6aLOUnJIrW5u6hQr2nB8pM3bgVBx5pA
hQjD8HnYQ8aqNjSBU/kvq4Sah6qiObyBNy+NVKirBRwt5jdOLC1ywI5pu/QBjF2H28dk61sMKIka
yGFx91XT5j7ciG9mGSoAcdjUT63efKhLET/kNvcCPwyj8VcB32c1vWtPbLf12qDJghqoKbtZ238q
u/kcJ7U3Lah9T118bhpR5rX1y9c2OX9mV7JUFAPQd0yo3shctUQYTxDG+6D/OIEQDFDh5Syqf+xa
RbhTgUQGtIxHWoPnG+/sElA8TCh65SD5tO0OzvDutz8ZJur+tsLtZ4xSmAHa+sYFq/rBVIlv6MnT
bRN7C2F6rwxeD2AzH9bINDjQX4YaCWYKPtSS7PVxFYADSzTKuRk+wx1DWgzoNnSGHFTTOTc8Zwk1
G8Nkz/TkAbTcAdAZb3kPg2xDw71eKgjFCxOuHd94ZZa72mVK1LlVcTzAOnikL4yqGKKlfvsOaoJ+
9/tXTLFskKxAJ9Fhsr3X539QiGKQGVO/DdLjGgJ5k+BA7KT9huqwITDUVAAk4UEBDXhR5V5hy3le
Q+WuQ7+l8EjYfk28FkJiIlDATqEB9gDMxYMNZS+AGK9XZGaknqwJNxoKxI8dCasMWP8s6NGFjb/P
nQcJm1+TdaJsYedcorzCaLNQIkNo5bYSagidUkJHACo5d0tB8WZLgVQLbh/+nceGASUe7CVeNTZg
muxXXDwWiabRWYX0BEpw9M4KWRFlCPOHBMOCaPCKrDFXxGUJUE5B2o8KAr4d7zSMDhXh3n5LgDAn
G5Tfmdo5e7I1n+1XMbJ2ZwuvzHHeY1DXpMtMxBbqjP4Mws288TE14N7eQ5EVzv+iJ1FQncKKXL4U
zkcIR2u14NTvhBWceOgrY+gDkzp8ylqVYBKCKkHjKjJgKfm7an1eNRtt2/vJuF/Jt99eECrNEK8B
YYyFbJw78gjGbS9THPlGerXmH7b2U00/3zaxfUobVya4L7M0xUqULMFTmmI+cCymL6hi+rMu+xA/
FJy6nbCPJoeFqVjAiHCX2fe7OOJA3BNNqaH3i9KSpzQH1aLe7dXs3SI8wJA8wFeAR5Af14izFF1n
BbfIemEVWKAGfiTHCby2feT4Ilz/3noujPGTGk2FmwxGA3jAvHdb/dBqItezl5RdrsfgTkCb66Od
qDBB/RqdG+Zk4zsDBQh6L8zdtwU/sPb/vXeg5r/6PFLLRmRZOl3faWF3wkyiR9Ejap6qUERut/cA
u7LFXVVaKN1ATaxLPilhGypnqXh2PAqB2z5SmpDep8/2g2jYZcc/XBrllfgkPPhwoZDDEOu1SCDa
qpReVxTCdy3bKM65IkCBUYHxUaCrwgUMq6wTqLJQ5O0fZ7wWFHd9zaL4xQxBdvwi/Gy7p/DCGpdW
oJ6i9jULHNDQDRbD7UGc2XhQfcoy1PyoxypwnjAa7x6WC6vsbXZxlx0CnZjCQQCx783TEFX3wDfe
d4B5ZaFoIGrnUoMqgOlI2JCSANqCOyxzYSxDDzZSvEyaj+MdqHZOKnwVGvKNnyNARr/tRGAP814O
2rHwvfx7T+5HWWopkBBM71n3Sn+ajkwjUg2bcJwOQu7iLa7s2h73BdWqo4upY33OC7iTIbRpHoew
ffgHiH+2U9cnk1lCUQwVCDDn8vWpBYQznWHWzJ1MqIsp7niA9g6AQGDjiKaziFNnezRhDs1zqKAZ
yNv4WVMQLuR93JRw+OOpLzrPwbvh9rcSWeC2bhoHoqgxPlVSAmFoJoHcUUHU4gQ831AhqoaCCoY8
ITKy6RZUGKuqZgtHff0+oIxOXBLhNLiDXz5033EQUcV/YF2mrvXXyY2/3l7hNkBjDy+ssx24uGiV
HetmqWGFnQGGkRqTM5kVSa0D9TZBBWDfEirQKE4xShgu1oxOmYytha8Fwk4kn4O8PDRgUA70fGgO
hFJHFKx3Pt5bHgASFTbez5eqbChglamNfG3pMTiqBta3Hiy4bjF4ppseyGMG6V6oO9zezz1vcmWV
bcPFhhqyBN06gs/5i8FiPijoUoSDb2IKajgoPwTmmLPnrhx0iYGdRm0AlMY8d0U5xMRcauhWW6k7
hwjhzwjhPybNZfzcY8A4XNTXg/G0vBMY3rnrKEKzKTMMd+K6c9nWanWdUYDEGXEhe5j98X3pp77j
oUYWKeDmFhXjwLKzjXvoprHIZ+Jx7WyS4xlEoo0yGt8rdpC8PJfr6r2Wtcr6MLZy8gp2wFI+OFVZ
vhunwqDuJK9d7LFqehZ1U1tOD1WWauuzka7AvbbFOIY1Qrbq9mvZaaEKBNy7WOniFGIfegXumxrk
zR5SfjBU53NPM0+dSWa7hTFm57SZq0dkZDUgemk39drZsatpifS+roB/XKkkndNUll81zC/jS0Dk
bziYybBIAYQjizsrrfVHLZ7ro9XHEuC2rVz58ZDmh6ToHSfq6gwxd25J8VTJznouq9gOzXxBWOrn
5MWUyNfcUkCRhnwU4+ArA8Qt1AP3geFmc42na7mOXqxYXWDaENOLIXLoEnXSQdRhfu+UJf0Um0m+
uKPGeOYAz28rryPtlDy2Y6IdgPxzUCtBT16jhjuDvIx+sIY+NaK+aTvDl41Bbl1nlqQkpC11bG+i
jYppUGcC7K5Mk/JJaVAtBj8IFEsdolYW3gAAbPr4n7WS349kqcKuNewkWvS1f5Uh41b5gxwnNKzi
1nicRwqXRGobMoVNQaXsvqj7sgNDVtZaD5jP0f6HvS/rjRzHsv4rg3pnjahdwHQ/aAnF4vCettMv
gtPOJKldXCRKv35OVHd/U5lVX+X0+wCFApzhCDm0XF7es32eEA5YwFETBFO6sawVTXWHfa76huuk
7jEhZ7pclqRn6SKXJgeRYLzzN9+56hf7EU3UpItuuh3iAnkax5Yee5yhYtridVeJ5RgSea02yJvg
bxXualpjBDEnyB307Nku9HJvUMy+5+oz3NbKKhkfCZI3c9Mi7Mdl640H2XzWgcSZy4CNOVWBQMyk
vR/WiU/p2lu2phr6eTVsCyzd+7B3EF5o210dzNNa4J7xkdliw0wPsn8NbA82yxIQxMO5x7Fa9W5z
J5WpqfdTB+UzjreDK0Fn1iNcYNUTQg+zYPa/dheTeIIYRZU4c+5oB5EfY4J5ucMhL2/1Vph+GXee
1udKW3LCcb2yVuA2CK/AxGxXKVF2HBZkg4rvnHlAEGdrnzskdd6byGc4DTAlDF3BjqytbMlZuGeB
8954yZuvNUzqwdpPOYL/YpiczJHaxaa6YUAOlg61eHQPzcruLwftiHtsJTkEHeC1SBp9gMT1PhlH
GFMFHUWeU+O+bghs7TLMpuAJgvicHJcxcxta0mTsLyHw6xms5zr3JDzCQRRrdqACuS+TmK9NhYJo
+tdhq3ZOUvNskubWMVPeJWGu6uFqjXrM6CpsSbQ4ujY60K7ZAyPbh0GVdyyUCIGpz8g8PG/NhitW
48yjP3YPISXIAhXOmiEK8YtJ+hjD2Ha/yOhBdhZ/Rwd4K+lXr6ji5YFCrbGPqHloRzj0tBwlxJpJ
pV7XwepoNbdxRCXCAKKtiAgpx3UtFavK0JufQtaXCdnc50U1Y2mb2V61tR8WcSc+VfX22vN2z7vR
HEbXqHLamptxJF7ma78QPM540DyDuvtl8Od7sM1y4XCg6MlD29grw6o8rpw8GKqzpZBvkTbK3HjF
o+Z/OAQMXQ5Dpn7OF6/S8HQLvtDNHpYpuVWO9AvXI0s6eK3MplGZtN/mIxwkkaE4efccmYopRJG7
aUa6INUpcimLrW9BZ3bJM+5TtB7C3nDRtxnibG/wjV7cnpTCHW/laPfoG8pNR0DrpKoy3tXxtZVT
UrDVfdo8dxc69XA2xNUZYgxhoM45O9BJk3IK61J24fMc9vfW5/3e76GolXE93QfQHKV8QCDj6C0v
LUHKxmRblVseR+kKXL5QVVCdCLLNXcQhnIaeO1mIEl90Xnwwk91PgX2YO5I1zccgKcGUxuZAqLLQ
w4A3bBHCiMqJjPtoD2sZkKei4ZUEczmEw6vl055uzT2ChPdtx17isSkmvZVx7eIpoc0RrnqnmvR+
Fm6OwqlbgSxo5+gPvklH+N2k2GhmW4xbn8BLkifb9RZEb1GHUl1DkSnnM4fcfCcGjN3k+Lz6YEyw
7Vk6kyo8xviN14C3wbfgkkDgJ7utdWTR9M7j1qDTradxPDqdh4vkIyaK0KRwYGrd6OTsiJmllXLu
5xUTiSo6rXH/pkKALUh++1jrYU8G/+BX3SmY6QvybhmiK8ipW9kTXJfLKhZX/mSvR+GjqrfJTdyQ
FzZ6WA8jWIvI9TrqmlNvp09d6LwMNOE7EvS7BvnBuTt7cETUKwrIqIObDgGWUE3Sq55UohCEIxy0
gyfKaEFyWHl34Wmu91vjXIUTu52iqPQFd+4FpKumqOP5DV0Tu2txSmRho47X53oZFiyFjQvrQLUm
+QgKVi475GUhEBfLB0uglGFBnxEEB+dtzb4geLMvdec6TyhnzIPp/MrpsY4D+RTPugIT2jB6Iwly
oyJlTc5dsOiDfvXzWrXrTknkBnV1TzNeq+V67fVaur2qEB03RIKXlZS48Zy5zfyhbjO4lYoSeZ9x
RkN4wsfSHwqz0g1jG0R1fqaksSZ1liZ+UaZnbx4myfmi6Vr4kR1zd8Wkr7kkGnRjZK47T9WfYOJC
c99puyLSi3Po3FAc0DQ9U8dUU9p6cso2icxg03UQ+3KkO58EQ222k/dh1hUBvj1DgmwR1lOSd2QT
r1uSkGfMzto2F56ZPq1dBXJEZ5BqivRVJLSaiQ25rDyY8VlMEXpGOuBYIa5CKhAkt0EI0KMhWQTx
SrIhEtrfvCrvpxjxeoqtpWRNU8xVJ7Na6uomSZT5aBBl/FEJNITZuG7yXqCSPNJEhaUfaltlA8JS
dQ4OUc922MmhN3Sixo7pEK2dzly9Cdg6bXGTLcg6TSVgnZQ08XvP1ZguBPdVBFdwSqMPE3ga2D3M
ptuFXsEJ8sCIup4RBJuO4XY/NMltvOFKjWP03omwHAd32bVrchSb4+8lyHZpUkdfXCTVIyp7dUF7
gPZIyp311GOk7YLgVuwXYMhoT50J/Ue2Mf8wEVIV0ZRogaSGcPZSVsN8D105fYjXuC0R3PyIHgKn
pvuoAnMItLf3Sd9fLQmZQBPZvJPLltFmoNtlLBjKuWf3wo9Lp98OtQpKoavCNCgF47jrFUlnP8zq
aT5A5h0iaW98nPn2zVDUP7aY0h8XkXXN4u2UdUwZaknvVOAj92aNnAKrRn/kVsNua7PyAYZ+a+kE
NYyMRz7mmN4+bl30RsJoyYVIqsyP7cUmbKkL681BngTSHqPNPFFEs8bogkvjshdfLiLt/Mk5jI75
XJF5v9Q4T7pvsqrTd7U3XtdYAROL8tqS0tHcKcyUmCHrtvoZk9QiafpXeqEGSeXeiJVVKaxUFEq+
VPtobsDmcdYbRqPqkAxugzUXOb7OTPfV0qMzis41CVXa1S3JCFd3IVaQNJoHCc8c7mZdr06rXvYt
75GwBzuFZMqx1N40fbtjXluuI5OwMTG7TbLCLsgeRpBJKurwnFQXqjf85mj8BBbxO6vGrw3zXyWa
qcmQG4qE5Tw0tSn6plJlt1S37jC88WS49UWDaAECuodCYc4XBDIXmA2a1A7dmFuP4ulq/X5Hq6ls
wiCEI7ZBVju181U7DvGZeiTM2g4SnYGP5x7h1rg3JU+XAJFFFj28cfbuMJYzRrZLlBSyRtTXLNov
1J/0qVprnSWVI4rVjfpPKGRVWSE3unKHou/oSTQil3DnPblamgfhQ/3aIvUZgCEms2PaL/0dwiur
NxYEKPGxvh26+AJpI9uJAVLUbhuntWXLvl6tBaJeJ6bLaj2INuN8sfkYOhIPQutxv+j7ODToIHT9
1Ezt7WijslEfm5yOicaO2FNZQvs9YqwyaH9P4TIdF7l962t2kTAh0br21d40C925XReUJmyxyamb
a4vk6h1oBrki5j4SoXfy6PrNixG2GW0qcwJ5iJE/KAzmvK1jhldqFDnVTgWJb0e3wl0WuUuq7RAt
iGB3EJacU3+z17ZTH711ol1nVJIKd0P+dYMt2qbWl3UzXZLaOSKQPQkFzCTg84ohb1dH81sLZNk5
ofbVW4leNdw7IU7CWq+XGqXQVIGOYAeYGvEIvRXWTOcLutfh85T0kc3rMaiyaqk6uPeo0O6wktMR
p3wJ9k6l1vPGA33V1RLN9UzDgllrd90SSJbiCodw+ItmeKrC9ryb0aFXPseWxbgH7WCjGc5j/Tbp
pC7bZaxK3+mrOW1JbL6qaJyeNqfrtqxe2+rNG/uozgwlIJ+QKmzrTJia4nkxLD4gnpwU08jnAptM
GJ2PYVgOUwBpu1O1DxgLeAckwW2pUIgqwYggzkTgrx42BgtStt1kXu8c0DJESjqBlkfr2mGZr+ZF
FJ2zjrfW0hVMhm1pHzENloeWT16AYHhveYpJzE+do+qbOvLblxaxv2c/liByOHO/S8BPu1FBT74O
3QQNp1y6OcoCF2K8iHtDDlSLQcmzxvo+dmycRtrAcbEmWn5aXW/p0I9r9zViMK1JQVI0Sx5q3745
XBCJ1XCAaAqU7/ETcVX9zGpbXa1DZFNJx9uBTGwXByt2ukp9iiPhnxBlbc8G+nKElLW2PRBsUIsa
9jtbRvtEwexkWfUJrbDz4ckhLkPBZ8DXyrpH41iQtngLf1qj+LVoGjxn8JrPmdfQkwzaYBevszi7
E6ynVxXBeLjnzSe5JO6+Yz22DFZ2AusWHn/E2/tF2PH4NM7CjOCCxfU+dAYwUcwMmQIGp/xqXmZY
RsGDcZfUlcrGdnb91IuW6ZvbhPF4JD5rd1E/zFfQJS3+CTaf2Gt0gpF7BO41T9EwujLtozmAG5Rm
UZS2Mu6ejb/S+2ZAjFiaRDrEDj/EJmOHgQCKMnfaas0GqENeFVz02pQOMILEcCNEP8P9gZ/ZhCUn
C4dldPPqghcuEjbbcqk+JNQ9WOsnmP2JQZ1NLapPwTIhhS1ZG2fXhWp6k0G8ntTMbRFGNVqW3tn0
h4vtzuM88/Zp1ELMmYPd8n4ZYngAsxADudUk9kp5rXNWsy/yUa+og9gM0QUDgGRN0QGuGRsb5LQm
i3OdVKTar21C9lpNrknRw8yAUfk2XYmIJlnddmjM9DLxXOmlOfnLIPbEc71zwBoKm4aLUDQa8A/I
rovYF7+KyB77WtQAGy7NFa4vulB4AV3TcRuKyWlh2D7F+jEc6+pmitbxccBD+m4mYBJ2puTWd2tz
rHQDOSfi7PM+GBBxJ8RSzqhAxyQy/CUJBcJ/qyAAFIXO80q2o7hZ1doEae0pedVARXzyXOLczFZr
J6V8HNiFQwJLv9Ffn9t+kZjHKQKJkJDDZ2NnL68azmnqJCiXGIhFwWuz1fHVIJmDC32JfFpgoPhg
0Za5GdztdI2+DttgVtMoG8zyNDp1s1tipb8OuOFOZvT9KaPO6pxFohXm7p1V77W7xSffQiqQBTYy
rygH05PBA3wje38EhaaZJojLvJEgzE0otUebDHnzgpe056FD6bv4Fl5+y+ugfOfAQkRworjRHCmr
qLKtqMfPWz/YR9JH3XuTDOPeNvCvSqc5qLcUfdz6MrMq/jp6zYyNAm0fjTLLJz229qbpKoHORbaL
yEN/DfrTZbaN1WwCYkAw5EZiSD098trvbYYBaH26oPL6Cp683RMCdZYXERskwbCpRcBNjXDxEEUN
j/YSmlvgpFEZR61CYmo78nLA3AYFLmjM2R013zsyHl7geYo2MQmqW4kGOsLOscfohkR1IaK6ghjT
4Ud3cNoiSPrxDvFE87mpqP958yJ+H5C2/zQ0yqfZWg1bguUujj9E1SDYDJa86MMFOuzU7T15VU9r
YrIWqIu6JsY3ZWK9+tpNKEzgSFOLBdegqYt1WSUp/X5R172AuiOdnUUWDjKRHMzoLJwo1AQuyDLr
cc8Rs/gtgOr4vZux/0euozM1mDFiBcp4MxmswROMf9Nt85esY7X3WA100xnuWsSKQvDn9PvaZwTV
1sQDVpuKRAARtDuFj+M2o7NCq1+Lg2imvvSRQIKLlCDQzYXN7YBlsJakQabb6ETs1mO4RA+E+jUG
JeDIyPDYMqgErsJRdu5Ng9CvfklHLPlc5xixu/XOG6nAohWP8MRDsI47ufSh1XjGp7LVfRTliaaQ
oB0WDy3xt7+e8v8R0v5+5P4jOrSGQzx1GPL36sW075P/wchPGCJ/cghkdsP3FoZnIPX+6MYS+97g
JozCjUV+cSgaC5F6bPdvfw18ehLCAgkrIWhQ32MyqveDqqrh9gK2aGpmXHaMfj32M270nyBcEHX7
IDkAk4Qc9gfQeuTYNHgUqsOLneC2Q0Rhbr8k1+TpInQcoYVFn5hBz/7XX+5PeO4xqBMOjSG/hYz/
xzMoue/ObsW61CkZEti3A93DMj3OL+I0mV1UxQ1sgqID+clZ/ROoK75YxQKOAa0sgRbo+9PatGzx
rIBvov8b4xCGCFD9bhnfwxBm/29nIlx47RcZogvHjosU8AfAqfHiis6oU6BjX2gPnpN2IJBgW1OG
O8HTn+mmLxfre2ANltTQySD/8OIDQy/41+9wvEZHfhVOXZ82XRd9g1xBHaJp2cqAkuWBx5ixB03j
XQsv6I/MYIz4k6v6R/Ty++P/8OjBikk7CFeG1h0oRdHd69s2R+5uHsAFN9+ewj2cn67++ph//pVB
2YNeHOqPH1l7FVHOMFdwm7pcTwNDlmXH9/qn9Ow/QpaXb/Y/h7ngfL87s643ryhbOIzsoMcb2akK
unM8wCzMTphYDg9//a3+9HCQ6iDDHRiw++NdWs/EZWSFzMogJYaSR8torqZjON51q/8T9PePxQxf
7UJWBRsBCQbxj/coCZzeTLLHbizewbTitu+rImx/ptD503vjd4e5FKLfnUFv8zQy6XGYILkxCjJg
78tfn7M/8hBBggU+Bt9puEn9oWAKb1Gx3XCJMGkqZ+wVGwdLYRjqXHTBVU3bo3XlP/gB//mdIYL6
+3/h5/dhXDHB4PqHH/9+Fu9yUMM3/V+Xt/2/X/v+TX+/Gb/2D1p+/arPb+OPv/ndG/H5/zx+/qbf
vvuh6LXQ6535iiHwV2Va/dtB2Nfh8pv/2xf/4+tvn/K4jl//9sv7YHp9+TQG4d4v/3zp8PG3Xy4B
8f/5+4//52vXbx3eBhtK03+IH9/w9U1pvNX5FXlD+C+CRdrFjRC3wvL18oqb/AqKDYTR0UWKhvkN
HiPsbTT/2y/E/RXW6Ei0APnW8S/lEs+EGsxvr/m/4tHz4Ep2kWHAtseNfvnXn3b7j/r3j4uCM/HP
n/+jN93tAI8Ihb/nNxbF/9RJSB9Q/VEu4DQJ44JL4Mr392ItjSCONz6tILbeJbJh+SL86gbmL+Oa
Tt7sAa9sRPRSYXOONnMdTtPSdzm0s3BFns1806yEopV1QHJUbtW/R4vmr4E3Rhg4NAYRmlMQ58AA
vTtG2FBsk2MOs73gbXZhh24gXeZiPH9FL2hEXG/jBq9Pq55BAvCK1cLemZsOs13X2eIkrdm83nta
wl7Kn5p7TLzkO/4XHHg3qyJAM3ZaZttEWTtIUVirgBIhGmn8FAAtJykQCUygQEJw4BNlQCwYFz/n
41SfWDWMd83Wyn2C5INzN5jqDZOeHiDjJp9cgzyaHJZw4HDyxnFLsC77KYtkhFS3KYIT1EaqhyGB
zZ6ooJxSs2yOTQuLC5dXOjcomW6auHPipNUw0fM8TsCF/HZsmgO8au2Wo4lc8L5hqfZo25Mr6pDo
Od5mvovrfiNpDNFuiwhzwd7bLULyTsdgMC7cGTOVZHOcK2j97XMohSpZ0spPc6S9tK5InKutpm+I
PVJPCKyM944Wzl3cMspTXbXI+jK+WzphBXsZ5rj1zSKN12eO1fS1WhFlVa39ipPihQtEeLDcq9Kw
NeYt1qZC6jCsZFKXduosawEAEYM8mqkqqbHJpM6Wul2I0Z6Y/fZo/K16IYj6PUCWucCiBcf2AqIz
yRD9Jamp7jAdALRDmZcnJGA7PtkqXYWzvYpYkU9CEL3fQKyeN3MKQaz9ptDcHgftsp0z6P5pxLfd
rWsFv/tAeYW3euFpnFZ9YK4yN712vPvE6+D8D5ekkkTJAEJpqPSdJt6YNwupTk7DeE4Z95dixnPR
5dROyQM4yRw0J8FeJxoJmLR23uKkwKaBxXgaD35KN74dqqWWFxjaK23lbGfPsWARyTYidwvVQZuO
lpunKXEEuCpSQZFTBR4UmvB8xgx4nT2xb5TQmZDJBLidTFu5IR1tShsZj4BcxWVl95TXhLtAxRyj
0kBi68JJdIK3Vf+sZSQ/Rm0wjwU5ccmmSAWvvcOHKHfabXJTLol9CTeJIUhb+TcA8n2DaXldAd9p
sBbJFgp72fnRMabDatOpmeXZn9m6gxjGwj0qblZA/M120oAg79yF8Qzh1/oJz8LtUAWY09jel7cJ
ldEjSOPD4xyN0YsvtLoOedfkS115+SpYADtwSx5cmAGd497bbnFpNuCNHmz65dh+jv1BfIFTy/YI
8Gt7Z4uQZT859EULQGu87z3Yxpo4N13v3Mdijp8T0DVeeTQMV24cjXcbGol0VtFUUmvbKSd6SNoM
ofL6k010mCOlg6LI6LqE/bRzjUYA/QT3g2/BENE9cimmtxDEpAM2sU5BlRM+qmWibzP8SjGCVPMZ
1qHzDglOJg3Q1O48kHh2o5HqyWD7+JqEFT5+WjBqkN0wHtaY8B20iOuXpY3EnQk5fJQ1sVBt+0Z8
Bu1A3VWs4uBUzIqlK8xe7qaoI/sZDsBlwLi6HmLeF4Md6Q2XGqNAp1/TITbxEfYb3itCT6JMtdwK
4Bk+HOtB90pptJGT5rY/xqxuP23zGB/hl+Wlpp2gGof86Up7Sh3npbc5WiKzdwHjZQvoAieMF6Yr
TO/sjbUh7lEUzQp35gJcf1NB+IDprAtKx8i9ez+xPoVwdJ6bAxspQ70xE/iHAKwAXMzMrcmu5x7U
1XprNHscfJTLMtYbFKYgUiE/ZySyMjucwlGetZ2NhXIi9ooOqE7BIznuPcK7f4jx/q9Z+eUiM/j/
NyuASgd0aL9vVi5v+Eez4vu/YpGHVQNsB2EBD8/YfzUrvvcrokTAZog9sNuo56Ij+lezQumvMEDA
u2A/h7bksn39V69C3V9Byb5YqIKlh1exCfs3epUfhHkBvAnRSlE/xDgQavA/7ARil7V0QbeE/U18
JClM4zJMK3V6ybI2B6S07SC/+t3Z+ZP+6Ic98r+OiQ06CObJH3MWCfKrAjLhmKrQV8Dbcr2nd5CD
w+mryn5qTh9+37j/83Agl4eQH8YX857vuzGB4IkE1CSgaPIICWy2JX2RJOYqSBhmjGOeNN2+asdj
42GPQtQdenvQjuY7pwPN6uAuXoG19ki3JAfwdRUO1za+6yKA8BohKHCoAsYiMbXFwowEveSV65cJ
ELNBsqjkB99dd43nZdp8UtN67Lifz4p8Cdz6tlHwWp9ZMQC8MB86eb3EHBsD0y73Bqt9Pmn6MrsM
+ZDuYW3cs+HmjW/mDkmf56mKdnJrLry3+aqeRekstFAR+SRb762WLihWyBZJzgSrPfcw/fe+1YCa
h6DLSFAXU7zk6/IoV3MvTZdvqCrcqnQOaZ4gWNfILBgwOqycNHJulahSG0YA95rbuFmyDXPJBRBR
QxEqOYaZSsJrLtiKCWWSswg810RkvlB3kUyObRznw4J03uHz4ID40oo1Q2+Ydm1/w6lb8jEGtCcL
KuEamVTH7TJLrtHRiZct+jz1U8GWt3qKgXBgTMlCdeU1d3r8JjAmz9QC9jIitfDNzcnzeKHhF5Zi
MblrCM+nKP6CUr4LUPOG9a3176cE0Vf6nlUUY98+Bxdk51oDch8k+thnNwIayhq3I432/egB2X/s
wJQAxlDodUbPF6fBcJRYokdMg2c6fwH1cEjrDrA7It/glEifbEXu/YtPpF/Vd26jIWvtbEb89qkD
0NthfJoGXfcNATdlbFoKNHrdST++rXwwKXQirkQNKTMWk1WoR2wKRAZ1c87kvrf+vhG2RDf1zfFF
Ng3n0b+twugK91FG2XK3VLCLXcElWJOC1l052i/MnTKBRc/HGeWRd4g2eCrK6WYYHMD83RlT/Wfc
+pmeu6K1e9V9dCTKtKAYntu7Tb5dOG4BKC164/dJC+g1ClgB1t+BeC8A/PFXXs0g0bbmi+fi1uqr
81p/XmsIYCwIPSCvXA/wqo2TYq5B1ED8S1N/TtiWt6FIEMKGyHJdvY2Cv3Y+xFbBih3K2+rOwN8r
RDyb6dscxyV2PHtwyNOJft2cL04X7/GUHMKhKgFEAemgKdnIaweiGulkqR2b9Vi19ZYcwnHNPQ48
AGRGwddHH4QomIgWLUYQLYhBzeQ9JN6GmcG6t1wdmBOmrmNOAVgBS4MdCGHlCLePvgLX0UuKlZR0
DfOoo0jT4PlITLYBqxo3sPYivXfQvG7VlqOTOXbWQQhUnU4Gvq+ID283wPHkowUQ67KPGiSBOSaF
jNv8sueq8JtDi+drbG9ktz0NTn83Y4TvLM+2F/dVFR04HbJ62Z7qrhmAGfDUlyu4rDOYqkCN/Srf
VFP4q3nwXJjWgcegzbsffrJy2K9EpWhS0xF9AKwVYNsHTlSoU2+q8ZW9DEnTeA3Wn/23ir2ShWUs
hNqnT0o7wLPQsBRt8DbpnfC9M56QzHU7OHaH844P3p7X/Wcab3frpLoU5bdAXuTOH8MdlWQuwPrW
KffhSjiLV+m7u3Fo7lUPwitpz6Bj7QShL2J1b9QgghTADENTD07Q5PjXyDw4dCjVOGN1wX1+ch1g
gohVgXE4fwQ7q5hXDb+GxC2wI8wsxzAQ3k917WaGgXfVO/lCRRYQgJmWbFkSgHKzXG8TpqQqeWln
+0xI/Aaf1yyq3dzIbS/tcscH9T439n5U89GV26eK8Tdigh234RNtBzRUdb5duqxaIvcsxIY+swts
iyGr6MV7Y8XrxFDB5hgcC3keQZHVIEiAu5RN/G1qAIJF9z1/573GndEUgT1w99kzyE+BDm8BeYOQ
Ghlj7m6xyX5i7V65Il+b6hkocKktoo83XPkN09bkQjhovDaPmX+2sFfBGmTB6WGlMNhduO580GBo
Vzb57A3bter8dOIQzmzz3eoKPGUUS1Ffvy0OmL+steDJJ00BW8R0Y19b5NDGwetfL/5/XIwDiIIp
ZiTQRyC44odpoMY5B+cRrXSFZA4KLmwv3iieyrUDklQ1ebMlP2s3vp8MXtZ/HDKE3uUisrlEZ36/
/s8tKtRkNsyIf9OWqazd2VOTvU9X8U7sqvufCfV+drwfpj8qaqjgC44Xg5aWxNdO9JMsjt90/r+f
L/34jX44ibLraxMqHIHDJw5xew9JGrz7Z517O3tgRz83O3N16Mr2ef7i58Mh3vfAOvrMXofPzcPP
lO1wHsMZ/OPfc4nWjF3kFvwoAcaaPW6YIQWYYrwPF8vg+gUGQKlpvrajBndlKxYkeXRJgMTK1xBu
+DGDT/EWXWtg/L32nwbq7YbxPSQCy6qfDcgj5v633k2yMXiBXjRNWAhyNNqL+gkskrLHOGNlA0B3
bLSn/gq5WKfQf/ZhieyBDVaRHCRdFC69A3qdUWmhBAEzysecI2IFPFI+HB5DWqIy3TCwZkU5a5sG
6GGSqksHxpGDINK+fxydN4888ObM7OfVv9+8L4OJs0p9DsdPHlxNtvB1SNSzXZesAQ0ScCOIwrYA
pS+rI3ZVj88Itspm/rwuQa5bAMLL9OAKIHszKgRSAiaEqib97ejSHfFfOsyvHQ+BMXWUIlE4ETd6
fXAwC1w5VCkYr0FIkjsDy9A+Fz5Fm3j08Vdgb4FUMJTYtTk3My9QiFFe4WFAw8e4WneJhQ9s8GRh
nk/cXeuDzO1ec7Qukatzx6lzZqZdFdCzSmyBWmEaAI4gRdQgbMvgv9k7jyW5mSxLv0pb79EGLZYD
EVqkVhsYM5MJrRwaTz9fsHqqyCSN2TXrNiurzW9MRCAAd7/3nvOd5Mnopn6jo4PlgILHNWHJyh/a
eNpcjgBa0u5psx1QDLmSNq6M/sNs7+kRB7PVRK4TNpsZnaWFXcPkn0ZLTnAo5xclP3QKxo8CtcKi
7rSGHgjKW6d4Vy65L9al1O+j5YB41U3nYxLfs+mdS4GcEJn2gljwh1zYvBkqRKqoXRYt3Wml8HRO
6xanEcWS1g45p7r6OnLH1QR7dVHtzOmU5wijMvQU7ONK37Obll7JuHVZ0NMY73K9qZIQTauEdDa/
GU1nH05p0I3jekGzJzfPA/PSZlS8ZLDQPCPgk58r/cGo+FwO1veImCMh+91MOQVLiIFgoItlVSvG
2pAzdKkgwmPhVzrCCADXKcKY9Kltxu9YdjYJlp9wKSgPBs9GGDAPrQ/ilHeGKFaO80PrbMRgBJVD
s1jBm6Aj12th1ObdIRHfTXvA9EMLLGsebIJhU7tdzeNNGg8o2gj/lngXzIfOebDr545XKMw/Rq3y
IuboYXgVasxj+deLpbtFGPmGRWGSeb0lPYWLOFdmUMv3XVkFE5w1udktTPptzh1q1KzG0LopErSW
/XcnOjYSnbWS/1o1nj6Prmrg4UmGrWKhetRuEWEoHN4X/SWpjUBR5rU19gGQWq/jcZ8Ww5unfaXw
k3WD1wzYJPTHxDobY89RHdn6YnwH23Q9XpQTYeXVLdVA1/gMtQOKBs8BHQWk5zJv2kThHNQSEMGM
g6F5O4jRj2MspfRgsHruNI7kIqo3oUmcC94DMd/qc44AjbXEvB8kY72gqpAtL3LM+7Jd0BvXe9RL
B9pUXqSN62Qg2YdZWmwsa6RDUWn4ajo+mF3n5dPLlL1njr3qFJRNIE92ZvoQlt3aieV1bSBLDn0T
V8cUcRiFalG00SZ0onVRE7wsGr9JkdyL3m/mF0xj/lgXR1S777Fwvs3KtWW3rtTLQYxgdXTGtVQN
XivoMtr7jGdRQsVvl5KLQNItC1x0+auONUleEn6v/jBVsqd0/ckYK7+Q16Vsu2VMezZNVijiPNku
VgkCeTcP60CLG3dcbtIkuc+7FyW3nkMW2ISFtUqIj1y+Aa2/7cvFz3hwhty5Qxv3OPEG2z1qxaT0
8hy90Dis5KLcMv/gBVGL976mPlla9TE33iSK2TB6LihmxCidknIT2wiL8Y+U8mPYhv4oK6uoee+d
ZlOXN12brabKvFPT8uCkeAxt2evI89Mx6Olj7JGxeUU6AemrxVY2Wy/sX3t66caItlJ67CXr1DTD
O640Du2tqyD0YeJ9UVL7fz/vfMIu/OP0ATH2B6yXIJrPSRAhJYg0Mq9BABFeN98Wv/iBmWRToPh3
zdUFtvelMZQ51+cNGVoKcBsTJ6eqfHbAJjHyH9XC9oizZdW+5JkneYNn7LQA8YPtNo9//5J/OPH8
crnLx/lp9iqptKzR0RsUP4I90HGdatp+cYlf6Qc/7iPkURkJCec4/TcwS6n3SxXpfCUtWhBlCXYX
IxCMvGK53FnmwzQgBU/rG8d5RnkVJNnsGssUDE6xFvO0UpJhZfXbZP7AmbXKrLuResxO7hxnleXV
FhPmQ2w4j/Eyb2a44rohAqmod2qteJpgm+6sbV2Eq77GZ4f+jBg0maYCLMim314WcD72F3PzT7zl
37/xp7s6mbLSyJcnZ+wO8RJvFZMM3KgPhgT9rkEMblxd2gK0gofwesjMoAz7PcfgjT0Cps7joEZu
W1CWtm1zome+ztGfV/UXv/0nr/7vH/PT8RqIn5UIk4+Zb9tTsU9OlzjiFLRjsjV2xg/elgFR6WsW
4R96lwbUb4iLIIXBBHyuJRyBnReBL/wNktXkQA+y6/RW+iGAmf3pqMtfwhb/+KD/dMVPIgOzNBjs
TVzRkqmksabKUf7Fg/6HszRfSqf1S7FCcsSn21nXRmpLCrczlb9jffOkysKw8fr3t+lHzfPpxG4p
Nj+NatL9hbvx6xs7N+rURRJvk2XxXClBjCuCPly4MdudoA3Wsl9OMeeqOXZVLb+fMI8YNBD//jH+
dDvJeEaARhP69+w4KZ1HIY3czi47zEBi+k64f7/Cp1inH0+nDBSWIz2sdPhHFyXMT0tTbY5jGgs6
lcpteM3iuws/ynOBKquki/fBC/0j/zh+Qakeet3zF1f/w4/5y9Uv1fBPV6+MOUmzcDEvJIJ2duvt
JSQ4f+zfeJN3U3BJ1P2SX/SHm4r+DH0E4wMiLj5vOJgjs35SR8xUB+ntEi897TvIB9pO8+xV4f8P
oqN+1fj9uMdkWZMpgMRHvcDNfv2WYW3XKRBGgzaafpj7zlWcHZ3mICxUP7pg4sz3PIt4oHdJ/O7M
D1jY8Lq/0M3w6lj+4v3544bL9/9/xehlFPPzPW8HRtRDTzGqKS4kASQC8ONg08sKwjjb1ZFGuHHg
PH+16f7hLtBm+Nd1P40ZBF6wyHZooTQkvlj97Yy3McWt31nzVzvDH37iXy71aWcIB9EUKOMv23t0
wxlQ+MYTjiumKdod3UjC9Yr7AjDgtBsNtM9e95DuFeN/8NP/4fn+5YN8Wqy0waw1GYknhf/jIsMj
yrdx/P73l+g3NQ3dDgv82wUrqsiAPT5dJKvoJ+eXRbdJH1uijHTjejaeRav4VTxv9KjZGVLiOcly
dlCVTMZ8YG39wPLpm0qH9EG6ZyD+hFwIumW41tT2UHXs4oJa18mX2ylKkKeYq79/6j9uTqR7GACb
mPwRg/HrY4hUMmqrDpG/BhmBFlQwh4WXyS+91uIKfVElPTDKCku8QIVTnc2E6TLCDc0Y/z+WQOvn
T/JpEeqG1hT2mLPKJsm2GMZVUeD0Q+Sv9fp1WlQrOQR+6xDmszjFvT5xkIB5g1dypTf5rk4TnWL8
GxBXz5zxhBr3X9ypy+/3eS+6UDMvKS+XlKRPLyyRbKqEdd9w9dpDIezFXvv9sot39iUj1aN15X9x
xT88tpZzEc5yONFtTsK//jYJEakMQ01IGsHkd1dJkPq2/4ad1ZN9Dsig378EXP3hlYVnTMyLAuBK
Rxj86yVzBZtE31Ac5Ykb3yVgmpP75abJPRaJTXqdHpvA+uLFgbz7252FM89s96KCBrn9uS+Xx2ZY
LLmFzyasXbvTdbeX0u9tGtIVSANlaLZA3VeTNa4ZIbqTPG4NSVzVY7OyaQ7HMrRUWV+ZdamiPwo5
NdcbZcYWZel+p5VbzWpWVjZcT8w+B+ZmMUMMhwYAoqWgEuNBWW5V6XvBFFGdms1gPTiMAoZa3syZ
Tm1NvwW3YavC0BChp9ZMn5nzyR1rdHwrzA8xPGbl7TJAdaeZAlXDRVC10xJsR4a645OjQUEtk7er
Nm19jBa8V4WXo42Sx2ETSwvgqOxoj69DmXqGfr/IuVcZgzeUZtDK8V7JxbdL405ij9DD7zDkjwNm
CQwsdEUYcmRDvpZiCTkKVI4Y9bjKVC+2+AZ4JMv7UkHwdl8lKvIOYokgFWg9NsjwQR7vFdNXJ4MZ
Hfg0/VT0r4lymOKDM7I9pq6ZnEx0XGP6imR1Zau2TzK3lyV2UNbzlTG1NDsGryhulzkMEr47jTTX
MG4STi6leRAm34zelGrJm6ruVnZ0q7EJ5Evl13XvW3waU4uvYvtNRNVZLyBzpOlLNVluEzpuzRip
H2d/tjHtx704j7bYw4N5LWs2KpWxR9IzJNNLj7i32IuXZZUz457Ml3aoPK0ltjDGZjNDNGuU8GTr
LGDx7JzStoXUFrtNiVG9UpnJoUpTuugk65PX5OUmjPd6z8TfvhN6fL1AlMAI7oacO1FuBXpFv2zh
5etkf7k0lqYqUEqaxwWQ+qTYIR1zZ6wQ89t8+XsCK+hkPbKYennYu3npBHVVrQqBh0FyvL65WaIb
KWxpAM2enhHSOzIYLolfzpjz1m2wqJkXO+/pZF4XJPMxN3mKkZblA6bBKdvX9rKuJechSgSMg54+
oImvbHLrBfQDDJIcoJEmxudkysnqy9dyC1uJ5yM1F1/Qwa5DcWhhKgy1FMggQQpTWmPkm+RXOy18
uaz9GAsP1vhofO2axe/MN2Q9ga3QHEufo67ykmwvmUj6nXZrqNOqUNpNwk9YheUxmWwfJbHblxu7
v5nL1xhxYZ+mbtdso+p14DMsOsbeGs8gaYQl3RJUnfPizSVPMvYLuEGFfl1HMp+z9xRD8RMeuEZP
9rlRbZawPnbNbRZKH1ZfBZHxuNAUFzJsyu5ao+EmxT0z4Ev//F6uvy3GjZqcEqeGnX6vygPpjA2N
y51Bx0dnft10mStjKYz0m4m+UO7cDsSI9xb2nwT8V3ocq3o1ilO6XMnjdQ5XRx/p24/TrlPgFT2H
4I3t2wYvpaXdjApWPUZEnX6PrY0ZrfC68DgUx8sPMjM2mER5Mrs2yEMzKAToFPtBD3MGuPf8Rd+O
nzJpYIwabRZAJCOT7bG6arqX6rIFDvy4MdPikajEaBJM3hnd9m9GP1w3w7TV6ug8F4911X7YZRYo
00XtgJbNYLA7VFvF2CzDW4SLfsKCr1ujO8y3QwZIY7qairtJO6vaRwvUKIJZQGiFZ2vReswmF1eD
R6WPa1/QIZ3PZTv5bRK5ZmRt0/LKUF6Tnt+Np0mvIrR+dqD1RD8ut1Fd+tG8NWiv6b3MuUi6LeeH
sVcPSnmKGDTX6Hij7tANDJdNx5Vn/PsMhiVMoWjXV6kamrgnk1Wnp2cRTa45CQJCjBtzRASB3kwo
4So377qBE1J/0Wguq9HItjjXPelGcFlVVLsKAXKsTNvFaOnDmL5R9ucoemiVMKjIpJdK01NT4swa
RPkTIIC04jUqQMgsxuhLrGMa5Nu2jt4Q80Vu3Cb+RJdbl2FohtkKde2jExqry9epDEbYMAjCFrwN
ECrXanPmRfmdNM7nAdNkEaY3MvLiUA23+YIpjSbxQNd0rHapVrwgXDxjevJ06U3jCAQ9Yq1bYq0p
tG8gPBT5E6PuPe7pNZ8RzFD9pFeKS67Jqa+Ta0fOAsl4dGYm9xYZLiat8phGqN30/iRtE2ltNMrV
3BPxKle3oLCY/ZWoZs/WvJGS/qGDTIJX3526h/AsTRHT20OXqnvZ3CHH3RapiUJVQA7qrevOIgMu
q++mUKykrn+1MbK5VjVuskw/ak61a41m1UiHun+JDOIRUslbjMhrJvvHeL7oCIPOrttaOUKiuLLD
a3B5XiI/GBEPxZR7ZaLQyioDvKxxSzCLcXJKfaMMCipSNj/N8ZRFW3XGldLeNwab7GyvQut5kPJD
TNWmIhJx+tcpfbDmBOIWj4Z6NxUaHSkmbHrjVv2TzIEulNeYOD212NfMx9P2MOXEfDYFgCgyy/Ir
OTumxsSmQ5PbmFdjlPqWcb3gBWXmM6mYb4vbNI7Am93N4jab8G615qbVYk/wbWVSjwrGm06ykaSr
KFxcnOFWPe/p6iN37LBU1sGYdNtMdvzWtOiDkx8RfiuRnmDODtB+4aHmIjljyvQtG2/z9r3mkVLk
dF32StDxjYQxo5NFkwCWC8flwZkUTE5wevDWG91LCCkLM7w/RrArirsBGUPIqkunTrAXkj/uTxVK
n7xwtTEKunwfE+gqKzEDAzhn83Zw0bSeZ5Wxj6FwT+/z/BQPiW/b0qqJT0as7mcDFojdYnPkdXCy
JOhrklwBADmIW/oKHdvwmqQ2L0K6XZA9FY51GWQFaI+OTMwO2Vj7s44yWlsljenZ01krjGDEF28P
3xPOhAmDD2mu3vpsWKuscdno7FXndeL2hLJwJVQdNoi/mO1tsk4mmcK9dKel88rsrhe2CtRvBpAR
9BkcAEIsoplXDy9ti6IgPnb5qSdHA7uzO1TTTVaPrjk0O2XcowGkQ6ltwiy8akumxUpz34bqDsm0
bwygcHq0271fZHlgGrrn6AQGMG7UQx1ZzgmQlW2FQY0kSdHeGiBIcnLuuVVVcp6qD71ez/Y20r4t
xa7XkqMoJg4JhALK62rYZdVedjadeitJJz1mqoXIhfEIx4OGtRoR/2xuMc/iJTg7k4CdDaePkqjT
rrWJTXz5pjhkbpnVCqdBRGyNqWHPRSfZOOnBjNe5VAYzrdjwaqllHzfts5k+a9N+LPv10G4oOiFS
iVVTvRXmmTGdPKp7iV6t4PSSjPNedPIKzpJbTZy78n6XhCT6AW1Qs3Gl61urubZVyiMhP2gpiqpy
XC3ZKdPWs/5kmy+heuSQ+X3hTF3Pd+Wwq53iNBTtoWSObld7gSkBSuV5SfpTZqjniCFoC4rIBBDf
WutCfWaPhn/Cz9dM6Fy69WLHm3o06DNDsdVGtp/XRbPPY7dVohtSDsjMBIR2yLh/8sIwTZHXYOps
6VBgW25KBGnDOmyPgqNyjAxMXjZRDUVSjg8iZvK9VXMQPMt+cnZWcxOmO+lytiEmwtz3qbjr1BMC
crufgnIwvKTam81ZUh7rXKyeeqs+CV4NJI5ByxxZRvNehUBLxmpji6OTJ4IjkB30cXKdcsszDZ/i
hTgUJluZlXqsTo25FeFRssujmeRBRFhrvjFBGFr5KR30fRGhg7RHTDODX9lPpTOfpKbY2HgPIti3
XxSmv1eJFGzEFcn0kQiZ+lwlytW4SAXxSW636oP2ASDFRvJ0t3yw1qwqNHC+LIV/71pdunYGvRVT
lfnfp0bwIhMJCv8GNuoKUf2J5GfUuJ37DPMP7S/ncX/cfNmi/L3i/+HDwnIlayYXvtTnP7VFJ2cQ
xmQmKDK+UYvWVwM+zniVMCvQ4wBXP87cL0r+3yt+5MYmwSPk8dJokD91zMAgxrrdKxCDp3OjHh3t
JZm+YPl+yhG6tEFp9ci2hSXXRGb8eRyR1NEyJnmkAVgPd5f0p2kH49ljmrr54jH5XUT165UuP+pP
92+ecjSUBVeqPsSWeeJLtIelBzxeeokOpjsFqtt9Z2I7b/57KPW/Gv//NHhk/qLxx9QovuX/8X8+
RPL2rfyPm+91/5onb7+I/vkL/xD9qxaGQjYl20GjT3rJvxyKClZDnr8LoFvBiEi+8D9F/2j+MS+q
LACqiWOeqLR/iv5VnAJ41Rh68sdo55Dx9W9o/kkf/6UvZIHxcTSVGRPhQsQs8pd/fX7sTk6npc3X
eOvSxNdHuxrKo7UgXPM07VLeFqAUlUDWij5bN10VZwgbmqWqUR0OQl63Q+jY29qWKMyNVs3jbTdh
JODgaKQc6Wpt4MSXRtl8A3JLhL41w5BbCbXI7Hf8V7nzmkzOUh3yym7jnZ4AcA3AzcvWdhaxKQe5
VozRKS6kbj53hckcqoGxkmxMuk3WLoNP9iF3krlitFVt9albCoSKqZ2sHKA6yQdJc9J0zBp7qN+7
dKbpC0miRmOdJSkInqk0i/bWHjKyefGvRSlMUL7eKs+nCL6P0uuQ03pYGWf04kZSMOsl4+lbrS+J
yRm1sjCy4QRESWCmSl96SmuHjJGaJEWdmRkJQnZrCIfbTsWGRi1lqhlMpqEqtauMFSI+5jk4L5rl
kigtgF5Si+KtZ1z/hkZkrt6rQsTyLovxt1HSW+NUBsXcxtGN1igdY+AFiPBx1lID7r9Atr8PKbPn
m6iei9hXm1Ef3V5lWnOv1MPQHgsZWsfVAmok/76kQkme5lAusvXAqRRZcCOBkEGVhso8jqplOcu9
nVBLa9jkVoODHB1gj6bGpyLWWueuK4uxumBAbarfhMgoFxNULzhqScz+TW4LBoG+60FAakJL+bSi
1l7AN0/2bmrDKPHE7KS1N8G7TY5hmYb91p6BE8VomKdMo3OhA0pppkau/C7k/wMbivW8VwYhQOjb
SqrstHwxmeERFQrKM0Oicyh0AW2x11M7XvXCsQbws/KFozU0FK14pEabZmtv303KpeRGDsQncZJZ
U3dlieIFW4CGxG7MNc576ri0gxuHCmSVOukj8ypuSoO6okWhiqa31eFKDJVytJzFqO8SePH0tmoU
+WbScNFobunQlKGAqxpaXfcml3GM6LE1KCdVwC7DxjZlA/fJorQWrakIxFwrg0be4y9jfjaOo1J7
TH/JglxEhsJnTrWJY14913QWyyZ8M9qY/9jrGq0ZqVVGot971DjIaNXB1URB605IbU4zKE84FS7U
TE1ZqaRfdd1IQJojntRFHpxDlnV8NnkqpZcxzJpjpC7ha0rRx/Ssj9Z2WQ++LXWaD6sId05kDZzu
ZLyjSKilqAzQN4bXMYOx9spYLEzddosdgp5peYrR9MUA+nWD2MNMb76PuWy/9FIWV6cxrmSLQrqN
Ld9oIHtepzjn+sc0nTQt4JCE1Amlo4J5UxcIrgP+ihS9wdSyaNs0ll9JsKJREDW1HXTNYJKCSw8K
tIytVdkRhm7RUw9YRr+LMOypQWOVyGAci/+wYfkNkRkVhGivCh7uPHDMCZaWVqfts90OSJNrM80f
UY+d0ybL0egZFp00rRKap8xRDquc9Khy23CWFFtqxDikx4X/YxVZS4HiKg31zuU5oDAXSuZ0Ac2e
Ehrg1CfOnSRBZV/ZACsnNy1VLT6Tljd0wViMYjgWqTY4fqjkuMSpufTRB+OVTKhXUVlyes/QvCyx
qGyvaAaddzexWYrk0OqVVdaXTOGyqIwmOJt1KVZjFoJ+VUaagY9hfAFNSyJPLc68uir5Jcj6ft1n
GU7qAqQTHp46wbM7GlZo0LGt03wLADO9MVJSaq4co+umY1z0cK3pvc3EIvRtWDj4YpIsFvdRiXRn
DQlC1q7GyiqaTQn7dDhAHbCVPTSliZKo11ttk48N+8KoCPqjRtNa1sss5dMVwRVz6klzPFKxK5Wu
70wzzCHbOyVtkXXjVBh9pNHUk0PKy9RCj8cUfxeOHS2hQVLyI3I4FJiQYRxtjYDOMl87fgB7beTS
bJxtZWnFDmuBo18XStlkr7NRa917W/CgdaeiddIexSUGJBw4LIfhciMseSwecHYWLT1MSVbudDmK
Nk6Zl/PKjuskfKlV1tlr0wq7bt+pQxgFYz9RA0qNsago9StDflejyGjXlKK0qhp+yGXXx/QnNvXU
RvG92cpsU/jRyf9eG22jSytjqCcMR8pQpM9DoxYhdew4SlsxprCwFtb3mK5eI5uI90YpHzzAn/E3
+HWxuqtwKkzgpuXaPBqIgmn1KXkh+bFZiY9ltuZ4vYSRVq0LjqzWY2nqabEKywlxpdQjZzyoOHpT
d2xmPbo11GHRN1NV58VdwalFO1RDp6Sby4wv3/STPZMf3olOC9ImtO1nKTWUaGWojcwLJWYKvq7S
41PPr9qdQeEj3M0m5NRGWJd4axuB/yZDT8OC02X5kh96cKUKfmv6raQOwDe4ww+rpnsCBClfu8aU
tAdWaKX8FimjDGI0rkbZOUaSFdJ9VjtWYq+Wa20mIEDRqSzwHmm+DUENw0MRA1OSCj06mpmVwBcH
PgVYcJIz5M52EfeuNAha9BXwBbqRuaHRc4/NCOYq+9x7G9Mn9e1Ejcmdn0HFeR28sQ9CO8DuwlSj
zQK+8M6Z8SOvKrsAXB9psxru00Kbsz3u9Qxtfh8Z11abAUe2bF67XZ1XwPEq3c4Sb1CJaziBZ85Q
5+hDKBqgjhWnl8mAt/hiV/JC9k9SRfSzllLQR62aup5h2WUSUNBBseBjpZBGaLjFU1acx2xs0lWi
mFP+XklLN3qibBaFbQQSF50dKy2udSeTUCIXfWhpfp3ORoFrIU+s2NUj/MSPmhBWxUFnkZpVnGUS
jX5GV+U2z+M6OqrK3KTPVScXty1s22kHsCuZd1DClg9JN5KElwix02sZhRPsUauagRfaDa4wg/0d
3xGwumJkgZsS80UONbYRfHHTON9FeTM2z3yvxtxgzVwIIpD4VntJqqrukNmpNWBWTYuaCc+yVAsy
Ys1JDHPB7jNN9f1iKrkSpDoxmjcOJ6rRFbMwZEiOw7hsjNKk9TWMBnxW1ZxlFHUhfwK3G/r7hA6q
oZDn8KNs+N8C6j8vsp+/FFDf6u//8fBdvH//pWTi3/yjZJJU9b+oRaiMbAbyKD10it5/UF0k1cAN
DU/rIg6gvHbkn4om678QkAFaQRLKPyX6659FE6UWHiOVwEz0FxZ/0fh3iqYfKpN/qRSIzlUVwgcB
SOvEKznWZxdRBpdcyK36CgTBJ2i2JTgbSdxeDoogvS19dOubwdO3rZcETnDJfUaIjKPZS1/Um+i2
36obgtA38e6rYF/tk7/5xycjAJ3SUblYyXGM/1rNyRYdLXNq3+bYXukxaRaNeDJG/QaU+yMo1E0Z
KWTaPzv4jM2xoastjqxUt8BctoqN30PY2wp++Kx8yMl7BrZbToogzlCrFK9RfTvGy21dRPTu8MMB
HyEtQUILkEJON0hJtsDZuMA8vBnOCK4ZTyJJlmQPdenR2CF/qs09m+U7FJ3nNtkIpfKH2T6O+amq
8MIyOVQJvVfNHaZJSEqAzOqnplAaYCbGrSnOOU7EanyF8OEW1a1Z3VnOna42mwVzUAfvq3qy53sb
7wnAWK9fyEEV76VGjPlkg29YTlKp3KK7yFdNWH2zm+pkAtWPdbHOMrTuVbyVqwTvEQIDjHJ1g96E
rbNzbmQ12QsNBbrA7DdHZyust3lt+RHmorScg2ku1lH/Ytj92jI/GrMEqdActVjeDAq0QvsVgIdu
UyPmw9lBXRjT/ZSbyrsUlINAfDhb/txx5Alrr2rDgzKVh25Obkb7e1TexsxlIUYGU6W8d4kduyEH
fyylK8TwGWCdSbkRqh3ktuQKnFGN4qnJTW7oG6tMIacoHMCtg0mPfyYEpcEIUxfKMek7SLEyetn5
oxYbSiMXOn09fBQ5Ax+Y7SZkRee6gDAtkmc8TMyj6jU4Wa8nf5UuIuUFiyOdcHr9a1X+LoeZSzrP
7JRrzRq+d5yLJ+yvUhED8qYdbt2DKLlMjlnbP7rxuY6eE+deMZKjpdD3U5xT2VEGKeBph4UKJpv3
ZUcQVV+4GazrstCOXRJfk9WymXHeayBukLNCvpwCKhIyfZ6UYkeB5xZNs5LF8pTpPXBRSvyUBAgz
Kl6dMl53iv6ezURgRFxjVpwXR1LOdlLtkmnaDcW4I1PC15x8P4zXjvEkOy8iS1A+dExIRunQOMk9
cbTgue/y8j0XszvLYmfn4nFheKRK7VYo7Z7WwQXZ33kFRrLsMlcQjp8rR904F00LAdqi3pcDaPvX
Yy8F1ai6tdVgl9jg54X2Soxa9s0kVYkjTm1W3qRdutPd0UiMjaiI+1D7fYaXrTHkm3gq8BPJl88R
IIp3rdB8Lqz3KcGxkprQFJVjq3RPJSPshqLc4uXHdPnBUePOid7Gdvym26Bb0MBNIjmivHOp/Lat
hINdnpkC2qtFMc5ybnqZmWM6j1eyAgLZmq4VI38mEfhKtmffrj9kHraxlt65aCdYd1ZjDzOhjzc2
avSu088Rodg0O7aT81FMxUfyNpu81ED2nRBnm+xqOPIUzrFLdJcpD0U4Haxx12PfkGPsoPMVWo+1
Wi1Xqi3IhOlXI3KkWuZWhhO/oMFDyxktGnzWbr9fQB3UTKYZCY0Wd29+0BqA6y3BL7CI5BoPto2D
TtdR/DyNjJEIOLySJF9xpkeDtJ1uZiYXwrAmb4Y/S1j11Nz02haamF+pC2ZyKSiLqyZTATpLwIS7
2isUZn/6uAPv/gU589ce3e+r+qeOdagWiw4Q+C3dGittk60Z/ay+jie8KN1+3dUu2ycbKB1rg6bg
p/Z/gYGCJCPlTS+vKPQJrrw8LgzVUSnF/15W8OUbqcSMIw826MUr7OW/7lOTlrCDp8trNfduN6Bx
WAzfxjD507GCAhBbZ/kzfe3X3vh/X8WGanJRjZL+dvnGP/XGY3IBSvTR33L7Nc/P4aJtHCdEKWas
MEcaKEv+frkfWsFPd5DvAj6OBHV6Sp/Fz5zrs0YSBkQPEWj460MGZ5OBBBh4b3wKWTvIbpn9sXGO
ra1uHUz9ab6Avq2OjWT6JgwIkZU+NSdhINWRXp4retRT2ZulkZWS3fTiZtGrLz62plxOBZ8/N8p7
TdPxkTCE+XRqgPKeC0uVv6Hk2mRpnFGJoaIlV+CdFoVrzikn6WjTR91OyOrMy4jiIb9u5Rdo4t6Q
0yGMl2CuL6LQhwtRqyteqaQ9u3kN86d42NvKs4NQDnzmOmUerzQvZXWtt695yL5tnM3mLZcb//9S
dl7LjWPtFX0iVCGHWwIgmKlMSTcoiZKQc8bTe2Fsl7vVXaPf5SvbU02RBM/5wt5ro6laB8VTwia8
56erdV4z3tUBUo7qNPl4etVdqVSVnebNQ1zU+O9UN4unfZTJWEDTNVD+tdTJay3X7NRo/tFnKZ2w
ViOC0WmR5sl0E4Px6/QoMbIi/hYIwNI3l06cRTuYMU6XXPMh8Ticq1JDiJSxbw03GqJmKXyZiQjV
i8dYDLdagBoiXJeoJbWQcFkMzlWZeRgowtnYikxj58a0+WMBhjVOFS1M+YoddL+ZpdGlsnEDpNgB
wQC4iIHIrQgEv47NjTzeKvng9A2jXeMjaMatFQnAHSQP/hqqvouWmMdavHZFvvZ9SOLCDVsuAHE5
ArxD3KEaxHBHI4cvbsA20nrPrfkB/WI/AUwbb0A2u1Phr3XUdmIVwq/j5+dfC8T5epo7KlR4BkzA
DyoHuYFnoNto5pltuR0Kmpt2lyJaNtzVNmLR2oqhVwEMGaFIJOBeVKxtnN7nKrjDKi3NV6PkbQeW
IzT9ti9rbjZ8V6N4Ytrx3BVVT01IJCN6tSr8imaGmSVBL6O5FfmS5szrMla8EhcPaSulELANFjfp
NO2LSXhJBWW9mJC7KNqkae6G5ifsW28ut20X02Bbaxbsqxh0G0FVChMtkQiQKCKuaFRXTMxWQXeO
lJs+llnu+u5IdcTMbt2Xqh0Z5roBfa0Jn7F5qfFMBvNXbGlehUeyL+d3Pc82oBFsMwx2mbjveNTS
7sPCiVXOrZORjpH47+i1OPhgB21wx3IvCd7ENy8LiP3QNDQtaW0Sk/AlmcHhWbgnZ2TetDM/8wzy
T2uh04gsd2YqP0RkTSAs4P5djX7jdpFxk6LcGMTxOeijXRVX7OwLV4BV0uW7xgCNwwTdlAghK7tt
AXiHCZAd9F9VL90TrHFoZ0bEal5RQDabuiEASvnMhAUydgnM6tRoFoP8kJ+exn5ecvQqRtMSvwoi
Y0+ykMh7US+6kfZu1pWbQZBtAIsOkSEosUrm4yYCViDvj8LUQFDX3ru+uZenbq2IN3JUw2ux9tTe
q8CXMQMjERA0rLrRc1VUSDKmrVAMbhz7r0gP0xVxUuTxRvqAItl/yBNA9GWt/3BNSMv9+e38Yw8s
IQMHo2WyWvv9nmgFbhrLb94bd3KJUVrrH4a75IMqbony86dX+8tpy6sthGYuCp0O8vdXYxHIrkIg
Bo+xPGHRkGXeRrs7oNj1Qu/fb6TfNQT/XIAo6dEPWFgl6Iu/vTGoTFUn6c07PBxoPQxZkx+JGn+5
YxHlmSJWTGa5PNO/vxt2JFWO5vp9sEmEWNx+55CbHFHFXnXEteiwxM9XDU8CNrybf393f/neVGa3
kipyc7FeNb69NrQHbahNVhTbetvdBi6pwOtiG9j5LfAm+99fTF6sB78/JCq72OVtLjhZ9rW/v9Eh
YA3GMPVaO8GddN8e5MfkllXCKdmAMcdWpa/Kp/ot6tzy9j8I/P7zm+TVTVHG3cjE/B8K3K+lDPms
ikgOyRUg1HrcJm7ggmZLSOrl+LDVy3IX/PCG/yw62VtjHFucckAj9G/vN4ZIX+LKuxpgnwbIOkMM
M8WPIYGx30AQJTX+ip3oD78Ohjl/fM4goiWQ4vg49T9VKEpO4Ks+Ve8W5KemnmFKaMdhHr6y0prt
vB/f2N8hrjb8G4g3b3EZPepxe8Bt4bL/9JK42Q6WKh2TqX3KGcC7iaTeBJl67aZNa9yMZrjNFWxg
yaLFS6ZHpZc9jCHkfpFFallnOW22OgPsbM6dVOATtq5t9dppz0PYb5Nad5bKJtLrdRNORHuG9R7m
AULzh1Znn4m2Lp5Hb8g/WAEzjZycfmCPKSi7rpA8vSHspLoLGuq+oNtlvA82NvyF+rYd4I1E9Z6V
uFsnhBbEb5F0GxTpXmmDc2rB01A/u+5l6PSNKtGjKoSZDsEdKZEgM6SOCWX7PvqIvvVgq+nVPuPq
6GONW5KltbSzpvBiYYcigXJbqfO1LIa90Jr4STMuAiNq98z3UXPr+wKdtmoFdOCJa5QXIVbXQ4Fi
MverT4FejYQ8F5X+1myzrdBnXsviVQdf1WulO5fWSZUDVxYrbtwA1fR1DrOjPjSbAKIeuLkziUIH
kclIJHWvvb/Oh0NkUhqiGOiR+dZMQ7Ji3CXknQXZS62mNgv0lcQkAN8IbCQyA4nXvPVDbY2Ii7kF
HZqWH8nDII+PJVYQPfSWdVPDfuulhxSFOrkxBwuYR1p9QGayI6CiE0K2vtAOLK1ILNVtg/tQ9A8z
g+UULbZ8SbKJwBRhJav3LWG/PYr/sGs9WVbXQn4ZYMRJ3dIfJpsZqXQTvrdIftWpeQiSx6BmPpBf
u/FZDLq9NBVeUSfEeKv9OWtJtRomg1pguKuIXQXpzr65kmLDnk2AbmO5zduvvMKJMU1HTlZ7IgfS
JwrKFD4CUshB2SLZFrdCgIMzYSpTDMKXoDyGfn6XxtRBYnkY+sVl0953g3IbKapNI77c9jZuj5uY
wnFxcvlAqUpcGL0+3PlKs8Vs4mk9SGAkqQo1v0rqR9kequTsyx9C/u5XrKPBnRAfEmUfxOMM8c6Q
qFsnPCO7ZryGaKlJG7PJ7rUt1jdNnxDNpTxpCo+h2HsNGlAYVOy5fe58ZkYnshxzC/cR4ziLIk01
3tt43lYho5J2BC9N5ByFRDS8tf5niP43RF+gWfUJ6D/jBYYAcdxoWB1Qc0bYBrAnAy+Mi9swF+5G
vjhdbclP6eGBpQgw9JxSrwmjp05LDnprrLvxpU2OurCLtCtQSFsPTzJ4kYaYnyQQNjqjvqFihxKP
NwJBOb51DKdbFTrYGFyK+NEiVFli5wnHjoTQJ51DsesvpWHsOuYdGa6K2bfOIXltetDfBj6EZ+Gp
ykSblf9BDaxDHDLsE8f4Rk0FNwSaoWUPuPqRDi8KgDwTHsjoeklZA62aSrwMutI6rMAV7Aeq4JR6
1cImTraGFF+GWr8FD+0olOr6XL4w+NmS3H2sKvWQUWUMiHtNYHtRIrKmBvvjkJFSu2oZIQQXKA2s
FMMNDYYF6GhK5w1ESXtJgVSN9vb/fYvKhEGb4Ci4yii2vl3ZYJgroWyrf8oF/AznyUWM4HVevPYd
EXauAwgjeUmIno8u9fEn692ft+iyNcB6J5E+8KcRs4MbMo1B9Y7SB8iPChW6+6GZ/mY5/qfkWgAE
lizSMWP4/DZziNncQRbH5fXFA1eiyINfhFGFfE1Ey/FGRIY37CAj/1if/Hlf82ooRSnFII3+UZ9Y
oANlcjj5ZI3VYpzshg04byfm5TegnRI7gmtcr2bX3Isbw+E/ezbvBoZbt5hIbO0RdJHFUPeH+3yp
En6vmvirEKzpogrjmJr396qJx7HL82l4N/q9mO6F1FP97b8/Un+pAuVlV7TsYYylEv32SJEsa5Yw
4d9Vr3zA7eyxBVj5Kz58+//Lc1u+XRVjqiUtglz2Sd8nPE04q6JU1u8z7sVI2kviD0i8P79EVSfK
AK+wyDAG4+nvH1eFIEY1y+m6JIxgC2XSJ7ny5idK2z/jtd+/leVl+LSWPRnVzfJn/DIYQ/5VjMk8
UU0OrrbOeEzIwnQYjT3FL5k7O+ywPCxbgTfao1shGGO+vBJjGz/fjwLWP5uv3/4W65vld+77tG/q
ieFmepOBRGg5BIYDHfvqPwAiLJ/fv7xx69uzUtexP5CIeCWt155cFnSvwP8MT3YSR9j+dNp8I2v8
87T8+jFby1v/5WOOdK3jf6bruEbarLoYO+xxFzywoFnFLirLH4TNfzl7+Cipnjlg2cD8McGtZW2e
x4ge+aDuoN3v4nvjNN0sXubAzs7lY7f/6Uni4f+zXldxtcuWbNK5cqx/e5Zkk5hFjMdvnbLLk3ml
xvpjLLzr6efY4KEOiQxreJw0gtdw5epyx+5jwjB1bIL7PCd6FIsmKX3o9WYgVXjMK3LhBeWoKKKb
aB+iDDmvFu+zbh8MhuMb6s3YG7eamng6MgTUbKsSXGzUMVr0CQufL3F0EFqf5EaN2T65r/JLL1dH
3U8es3Qv5bsZvJbFlkkqcBxqzUEzYHOFMCnE9FOLglPXlFsrlzddQb5DqXmmLuFjwrZSJmDcg5Vi
UVqahz70JP6glCXl8KWFZ0P5NDO2JeqXmNJvAGIQsxtGIPRLJEZgMzAjtLTDF/EUdl4NW5kK1eye
MC+tknbfzJ4syY5Uo46TGWtKKYGAisPGyy3lejM2s2M2I9OxJ4LIOclluwWsauaBW07mRu9I9mPP
2WSWbTH3YyMy6BMwMh1Y2F2ij9sx6A+aKtyOMx7uumN/C/HIgAtRH0gbTpP3xXdFIIM7KdWuNReC
3GwLVgqz7qtph7WVDhgrQs9QHo3wTslvA/k+sPLNbNwi/MUlpa1KEXVPiXu+fU16RjsGHD0Bou2Y
2IxXVvNwqIihQvYJ1XCVljeBBtaOLDAW6GqNWDXx0dRt4VY/4VB3lhgRuSKii/Vk8mwEtFo8G7nE
NvWk5hzwGaYvC7PjmJyKplyrzGzbZthOOAoHMV+3EPkEDulJ+vSDmr/CdNSawOFdLT3Us+8iqfL8
lm8R6apWbwS/P0pshTRG8HFSAgMm7XmsuQ+fUEe5pFASexix59xa7b4v7xsZ02ekuqQoHM2U1E/9
Ii5h8xS0Qf9ah+eEvyUguaIStqL4OuWmF4j3TTvZ5G26pOc6liruo1x2u7kj1IJHg1/HJLJSlbBQ
CeMqxKAQpwopEbgSdWEjg/bTFkRjdp0NnJPjVzu85iU7a2sbg10uq2thmnYcrNu0dfu2XeIMVhTs
LvRXT6OtzM3OTmbYIKCFY3hIrcBYHEJucAyGFxONV2pgC++uQCJWUnap63e1ghHbMU23dJuugV/I
ReC7Udptr82rOkw20iisovS9AUyEY3DVhgeD98anYpfYkqhVGFETgQIIPJrJdJ1gGGUPApt1KReY
sBJmUPKpke7a8vhWAUblYBchCRZ6dduZbz5O1aG4n4DWpSrz6tAaODBe2jBEV12vyAdmoS2tfP0J
R+lG5jgxMmVdkmmIZWqWm5VvIV1Q9obyOsPUFvydxDxaVjkBjG4F5tEzBERpYzceKhi6mWh9Iiq6
TVXtJo3hBGnleh6nbShYN6q+4TMs53AXk3NDs4Hw+xbEMg10hHiR4S/eT3EgwRWLsVE8S817LQxe
mG0DtMpSZNpj+yZbaOjL5mCWR5keuBsiL+ZBJQXxGNE2I1tzhGlat3O1zgaiHBPZzQN2IdF2EB4G
+USOBqHJqwaA/TBWpxARhMLGNuo3NXw7tUg3GjxMhCt2079MGQzizthUMYKIsuEJkg9ZUNLpBA+q
NrCxsGzkMjgq0Rew/2+VgxEaUPJgSFodXdtDo19ihR6L5OkOMmjOsjf/iqx9p+JkhxtdB+gq+Fc0
CNRZeKtPjdOLEAzyswxxNCIXceihL3RvvcCEM5pPmUh1X1jImVXHCN8Wm9YIXSLBhDia92XQOKXa
M84AjG+Ui0eTR5484nwjGRM9T7bKYw1QgeR0IiDoNHMo97cywqwZ3Z2Ihbi4IT0kko9jfspzEtTS
dtOh5SbYhE4npLUvV5ryVhYvySSuEbuYPatzv9/ViCdUBAMhcbCW8jhyNI5qjeqRfleDB1hVTk17
zQgk5TfY9cyGDNZ6iHmrId2OwjsrbXvOfZsgYljmPKU03IM8wL7fZM05ly4VVtiK+1EPUycJ79V+
OYRBVb8T84EVr2BgH9hWuYD3OW4lYGkiyprwUoF/RYCMFJHUbzbhySJPETDlt3bSvBW+gVT/lfJ4
k4GlCKqHMHlrNNn1DetOiV+bClkfw5y+Qkgddl4p3ucKcvIQzol0Lnz6gSJdzmovroe1ou6Zs65a
LmmB4X83XUbjAXmyLnwgV/kH9iCxQI3RCjYKjlDWC+TNYiZGsM82L2hWWnyRaFTLjv8v26DEv8ub
m5BgAD2Yt8qAj6NAxqqzGf1A64y25rZqYkaZ2iZZtgz6wYToIIP+ldiB4uonP2Cv1QnY9xeis2xN
yh0lOoux71rzsCnS+9q/DsyEDA4fLS0cXOoLulSR41U9ngX/Xeq+Gk7QQK+ZgWCHYhYyN7HTTLxr
3v2CqFTqziM0pyFcCa5Qe6dOD33Ye0Z30ku+a37tep47ej84CTnipdG6kpmQJ2Vu4yo/WfOnWnCW
WKYbmTeS4QnMwaLQX1dcH2Gs7ya1BFaSeyhVRxXyqML/mUCFzDyb8/M8D/DLSb2UDxpbNikOgXvj
y65Qd+j3sTjvfOoYyR+cKEefb74nDKcggEzm25Se6uBkjM8KDHRS0Fd6g5qHFZcvgQ5CGUPdEsQc
xMVz16j7isShwbzWCQyuwWI+j/FU5LxE3OzneEq1iDkB8Aku5xnWBs3zStaYZGkfMBa8NjXXUp3b
hrFWIcEPXwXMj5ydXm0wYUPfTgXompRyUg9bA+yo1m4iQg6Cal8qZzaPY1NsCuTRaucOvgVIn5tA
hJo+lnba8VIdP9BqA6tkpTAoEiRCfgYnV+HK8GmEL2pc7wLGQXOJ4D1rQXTgnjC2WrWEoH9Z2dYv
N3UXP2bNA9q1RuBcCTCSKvc5xziaoWX61+Pt94WzirZMUXeohe1qSDZFu1PYBg+Tyqg05Q7JiL0W
dgH8dAvoDeGIdhGPXlNGu0xeZsfDYY4KZH+a09fB1hD2Vqmh2n2vmQiGfeuF7RMmBiQ1laPz046E
c0GXXZoXosU8MiJs0KibSEA7OBxztpIpG0ahOA/GizaYntVdJw3Pp8U+1b/NqMJaADkNazHmyYlw
rpU7OQxshNyrSTsEyGKkd2vsbDPnKsEmkc4Ym43PGD1K38z2gACqryPHrwoHeJNHzPNrY3FydRWq
tdQBTs9u72CmEmkj0qYerLuoAjytxv0dxvuzTxHKUeIJELN6NtwC+9Zc+KBN5jfevswDppvpKFiE
g4B8CLK73HwWoz2pZLsYxpXaXsT5NJXknYEMqbhV5rF0kCDAdr9K9YfS+3Yhc/Gy1tfDOyNlaIiV
ccpeLU4/ZoDOgI1bgMcx1FDbFJwG3EUtv9NRPHbc84F8yZXcSdJ8lc3xcWzZ3Y4ti0mTfzdmx42/
x9KPk5Q4KSCGCpf/whqa9GOhvwuMuVoZjePM/YbWgk3rbiCXWlFOmRI6OmPMlMVHa6Z80AiaAEbX
EpaEJN9YZMU0aX0X59x8ckUKRLZRBeoCc+S3+FWQkaaB/8eMVN9G0dUkBSXmycnYexpic2gWdIz8
xKQywygmyBjAJfYBIYsrEWAKHo4wSpyGTsUI8H4DZ6F8opApyEPRNxbyCg25G3Z3uXHrvHcMtI4T
mBcxfQ3nO4GBejZctPTaWPWhVm7FgRQ34DsY+FvFU4ZyPYYKppPYVhmwN+a1CJm2AihSKkTXGkdl
3ThhTTEqvupxvlXJV9FxHqHD3qjMkOqkuK1ESCY8Ix8B70kqNBfY+NoyfFvs5ZMwEWDDNM+KAGAj
xarmg9R1wFSufrEV5E0K9mTq+63a3cXT12D5dqpyUaXPucBqhzdmzsGhSz9l8a4ZAqfNlVUivyGn
QXQ1oklF4d3qG5GtQNq/D+M1Vj8EakTBwCAWueF0DGN/Lce7fuo3XfIlVYCW5piWaqJ34gdG0xhW
6P3uZonvVyeFwW+2IfCC0Hg28MhEOpSMgybfWwEuMW5E6s6AaK8eCUA0oOotuPTjE4L0G7HIbize
X96Jq4g8EIbldAyrroBVhP+tiBCN1K3bZJ9SYMBmmTdDB/WZOnAcnUQDKaQweEvvREhU9ZzZRlN7
VuEffOnalYAfIqwaMa717BZ04sDJnXA7ErnOLPxC2AX9xKtZnhuz5vc9O2Okbqqx3PQzYA3VwHYC
3qUpaCxTT8EYolKHKhQKvniv1WcM/SudujiCU2K89uMaqJff5esADrqmQJkQRtAcEZfC0acO62ZO
3ToMCc1gbJga5Bn2Lg4p1yrng2AsCtW3UYDxkANyzuySE7ip8axLXwaMprR6HPJP0gEc+LQUJM8d
N0ndlW7JRZe9KV3uaGz9GUNHJdohmfwHA7TI9NAmr8ZMtTbJmETB1WvZqgFgVEHnMfmEpey+rCHe
jMdOEwGVGvSXvbNQZnJ8D12e0M9SfANu0mqeOgtoRssSRbkZso1BExFVbBkCmq7oK0nCx1b9KnkC
EuSxwqzZivCqLDSHljhyeN9lfx+Yx5Z6t9ZPESkikrwmGkfO+ECYj83zjdbedtyHNVwjpSPLgt+s
yRayT08tHUbagAl5thR42BbizNuolzF0dusIZJoM5KJ/xvf/llm6l/CFRY8JBPe8kdAH3aUAilTG
JvXyuDyOkL0EavIMI4sgcIt04xq29CpFZp0NCC7EezQNjtEKTkfLJvAL1tBjgPvb1lmyxsRp6/2X
1s8HiwWoLhSuCOSvX9geWrRrIZpYqgHm7MUMhxUodI4voIGTjtg2dYShYOrCeE47+5QmikDRrLNa
q6+qtptran39NoY8xGSgU307r1/5HbXBZ65dc71yxtr3ApAofpa7UggWImTfw/Vm6Rtp2GQDuag0
2hleVN1q12XBsxP6O6t4VKobg6au9Pnm6k8FxrvImTvq/Q3haOdSB6XSvAr+a4TKuGvxz5QDhyjq
wuEjUw+KQs+jvxGgQrUDxjwA9wI4roM0M+Q/ZUX/RVPHWAxbN6sO0SJ4/NseQNRrrWBt9Y5P1dUO
4Pkdf214ipvc/zhmXP6pb0NNNBDkqbNuB/D9fVNvTrOu42T9VGD0dza8Zzfz+KnDk7SNfbyuNwX5
VVcrZfmg3/378J3UtB9eHD/GrzPOoZ9xyMjFZz6fIvRBptJ7i/hO6PWdxWwriy9lNB+iJt4m8keN
oIwdrod5wav1xI26zsWY5hSAuwJZRK0+eoIpHLlWCQ6JXeqLRQJ2N/M7rS3VDnLxLYdPb/bpvrPa
R022HrtRd+Kp2IwSkm6pld2EjmY007Xev1ZkBFXay9gJdoUtjJRFugQ6hVq4UZEuJuMLDKWifhJC
n778IxGf6/AtjT6mpgWvFB9CHSjWQBaUVG2gxh0xNcKOMUbuHUy1uYGhD9mBVOAlUmvuWA4JXYWU
H793zSlro81YjTsxw5o477DOQ9uETZKRIVUOH3HHLijQMK9ma2n24UcjEBM7/WzGCacvO0CiI1Qh
tqtKOQH1cywl2c7BPp6iW7N/UvV1F5ZehDlAAJ6i8IQ17SLBvgrcZ5XVkwZA+VAnmzAvD1MpXiWp
4YdJYz97ZokGDR+UmGSnNmWFHyLj9Ja0BV/3lJ5+2qdUNfg4N0UTexjP+WKtApgis8/o1Yp5pvPA
KefIYQ4qUuaizHZVou5CrrBw3E1TSkRStm7bxwL4T6HNdID8s7lhh7q8HeJ4g6qf0TCIuB4WYnqI
5JM2A2Ok+E2wk4TgXLX4VayHzYB6jZxit1PJXQhNuyu9NtuVFpb0THbF4FHUyWaZ7IQVdEuNE6uk
unGCk6XUjdGR1Cf60Bcjmdyg3In97FToJKmjKEbNJdEqtbldxO4iZgLTU9VNo83UGoDhPGWObpsa
NA+DlTkUnTGN2KIzUWtQeITA57yOvZ6Pnr8Yor1umo4cgCQj5lXxmWhCQWyT2lEmZJsJLDHtIzDE
A/986g/73rzGBQ8r1kQO/7XqC56hvkkqmkEFvSpgBfbdfnMnz49Kx+I5cJOUBMIp4D+NsSfOzG/3
gO7pUg5j/yRzTVeWvJ3D4H4eOE/FgREx8zzIDgDEtVw8REgS9RvZQq4v1fuSqrXJ610PSKhlPtvj
UZKGbJnrHCCAE7HF88DuMipf2/BdEV+EwmsJSY3DnHllfx9X7O3FA3R/sle8QEjtSBXPZQszp3nt
FBiWenEQ24Is6pHR17RlaH3SX0jlqWPL7n3yNwY8hYPOkM7fleHDrED/e5eohgzcBmF7KaR7q/BE
SSDWh2QEVmFUjX3j5cJYr5iQgKYFMpSbdwluFBUJK4wI2zCBmPq1QxDWAX6fm1jCdpDlVUKag/Tf
+lWyZp1kGlzsiMAoDTc2J28QWdpbJFiI1tpU1WNFQkmrKyTmHLuMGaJPxrsGFGmIYlibtBAD5k8e
58QTBemprxm1Fi0bHviodiJDWGwEiu3pQ6vv6oLZPekXIqfGOG+tfmky40dFQK9WWPtlJEay2rpi
NDWMb1oSQ3BipleG66BEEJ0FgLJa5jTV8IUEjB5LhMgl7tHiOXhTNo1humVrEfLB8KwdXX947pJp
HbX9KrDCJ9bwKxyZdpWY21yGXpf1JH1lTsPoXUbrUIasfMnnBXdJ3kxPpWoR1CYC1JPD8hCoVxhE
vHsW9AxxgtJyGywcpTTf6SGCZAwtPsDnqLYL8yzXE94I9jIQPIqS4U76EI20+Ny3MiCDnEli2l7G
5FlMTyI2S7M9StNTEtVrWXqKwyXduD+H5UeVymicUSMjSCppaeOWiidKruwxHKO6iOX7NN/HAd5V
8pc5D0wh3k0mehhOsTHFBiY1fJcHOX8Qem/AftbF0sOQGO+pau7Jfv6amST3/j7FSF/wcGXdA6lh
Tp5k27m5L/vHho58gG+VIhCOZFKCL6H1EEcM8/hQl8GkHgAVE5EYixuoBhuFPYU1NuBZzwqjZVMk
gpPybNZMxyzA2CUD85o7g9lwTRBiuhTPytlgAmIRTTj53tyrTg1B0JS/su5VELB4DJ5Fdlt/iqPM
0YyHsvoyrbu5EXYhA1vdwrI1AQ/0AUnfllj9knHtS7WTsi+IgsDJyrMsffzvL2b6yKRLhNLdZx9B
tx4hzJIGgg7NfFPUksNSfjYYA9QkROSbihi5oCxo0LXLVF+w7t/44TJgUoCYRlAxmJjK6nBU64zZ
5weLhnPVsocxvJgBSLcsrALsaYhM2nj5iTSGK0c60fH6QnE5yXML5ILx1tQIa+gQ4OiV9F6UAbkh
VhujaV2I+NTrW0C93pimMi/GH8P+rSrf0DSTa8XEzORTmTFS1DicUpEEIFoig+E+vroFDjboz2hG
F8Ucav6NWYBgIxsx7flUNX/XK9JG4jhQpBKpkQG1Yq0ND0H2Gmcc8RZ6/1DZamC6V9E8q4ipR4+Y
Hzh8JM5IMIPVIPfUWl4L2Ufcv5d1cctEatP0BmCB94j89GwZuhTCJeJD9suRrcBNgqlLKfXHkbCo
f6/AjL/uz/9v6at825+3qVAnQzZfc47WXCfHqLnW8RMiOXoh5rhRfZNI5xTypgYdckxvK+i5Znbf
aq+S/9izQ83JMvNHKpiegKV0XUo5SFviyIPnrOXq/8iYr7c0nj1rtZphS5CmdhWdGsiFlUktvdjO
eSiiWLTr7CHqH/pKIHgpYdAb45QjwzVotiWX5FTtwqUtgnM5Sk5SP0DIcqyp2OYd4iU+YcgETsZu
Y27OAqvDgU43g67X7mKm6LHi5C2+sJNUPBbdfcjvY7xNzce5ZhGRvf37p/rX8v3Xmvpb+T724CWy
vvhsXCbHxnreqNukQwwho9L2f3JD/UXCgmbzlwp+KbJ/EQrIbKfDKjYxFA+usaYF9p3Ippq1sxeA
oQ8/vLe/PDHokwxwVOiEEOB+E0GUiQhPIhHepx3SvVemNjboWyfc5/+JcHn5x743J7++2DcNRB39
z4tZ99J68Pr9VV8lD70X/CjQ/pva4lc1+HddPbGPMmwE8bN2pHX/IUNJcU2ndaOb6YFmMzr/JLdQ
/tr7/Ko///bTizgL1Rg8phgBjKGPBsWsjLeMIZ6lBN9lWd9rPqp7+Nic7Y++f6qmmMy845BvooCQ
98cetRsIlIxaaHgPW2sVaTXX2iHqb3L1q05OonCvFY8t/5nVaht1jLdiLYHb6FdNvq1lDD0+v83g
o0cQYVfcb8r0bgKL8aOLOb6JyjGJy1tAUo7VKvaYN3S89aHtthITAiPaN/GXqkOFrnB80LSN1KDp
QwA51d8T2BhAFWq0k6IRwsZ0GbdKpnKycQtM07kJLzJUUI4X8EGJYuwWiNcYJ+c+7ly5fNPLpykA
VW4Gh9JEMd2erfo2Z0YpCyKa3PsxvINz6VTDfCobpBBN4oBEWzda6dQpMkmG/IiR63ZbMMyHoPuG
S3cDHgxU8o0SDRdIOmvWe5A16aHAbjujdOip7KaeXXOGL59yq8Hao06aPYjLiD3epBlnNHdFjd5T
joJtRJkqF4yzqHaKt3zOjii+1kWB2JilIVw9ttfaVg5ge75qY7Ca6JWkwXTrMD0LuJCzOIRs0dnM
4bhcK8+XDoAucEoz+CpP3GKs6yJlGwfmoRlzR1LytdYwxknMjUTYazqeg3DbJL091dlGDGMvWNgV
PSIaYTjTBd3gNd7D5TkUgMnGis1bDKkitHbteAZC264KU7skqf+IV+gYJawiLFKDa/KGi1dgUy47
g4ORkd8WlmlrD6Fh64vFmpFLqqJfMAG7J4q+66G5oxPU+d9KeU1b3TaSazTdZz+9GxKAGeV2TO4r
8yaR0eIEzOWEDihzRk+O/DoUD0tcXFkE60AW7ACs8ICkhjUyk9wbsXrOhOSMX/uhN8Oj6YvqqjCm
lRI/sI3SAhoyFo2IOeL4M8ay1DT1SiamMOzU+1zcLVpsOgRgIOd+iZCLQmGrig37CAzDxAP7Dbrk
c8ht3sxPSuhvi4nSmH1ByPRo/i/2zqO7cSRN1/+l96gDBPzibkgQdKJEeSk3OCmlEt57/Pr7IKvu
bYnSiNOznlWfU5mdwQiE+cxr0JG3an1bNGJvYWdRyO2dX5ovWmqTNiZbhRmEnn45lPoq7ON90l7F
ZrOdPPIBU1pazXGkODo9CX4i6IONQeNERqbNS0Zi53LRqqhDy8pm0CIKHqm4gjp2XzbpszTOHfO0
3PtAe5DvCndR3B/DyN7xp8cgabdAHbBgVceDbQVOZre3YP9RKoWTnsgHefIfpLaDllBhfdiXWOUM
btPCNKhoLAf9saIkFlb0PNrBvAEuvDMt/7IJZR5RxF9D+a6EoRll+PZRnRsC4QY2ejNhBSMMI7Ol
V1l7z26OEdJZ8BxvUWA+Q1j+6i4GvagjigLUFlOukycGRnydB1YBzq5plzOUEfvMTUUWsxwdrARv
z93Fn4G9IN/ejXfyyiRjWBp1VkJobxZyeiPqc2/muQFOgJlZZPaBZRevjWNhG+MUrre1l8CvUbRe
oEy+kpxznm8nrjH/oAffzWn+Se+CAivJqFl4BSBNcpHhD0IzuPLX2IZMS32Jhdsy3Z+JDD6jdVlG
Q6gWiF2V6OAk6snqDvmcmmVcjsvBQZiCGMRBNckBsnEVbYb78cVbnRnziwDhw5gnsU9Y1kGLHcof
cvuVspkxr4Yrb85WSb+Efr6b2wlOUe16Ra+aeW5ihzclSFPlBlfVBRbYe9/Nzy3lF0HW+2lZJ7FB
lsZmLBhu5uzToFyBQ0LTlu7WJtqdnduZ7/YJVW8qIvPSeW4I9CWgZBZ0BpbZo7cZ8wUX6oJ2r+3Y
mzOf7ovCs2Fa4KFnxR2o/Cfg7sTqhg5ALcMi+7XEQ3fPGwFST17MgdeMOqUXEOHfXC60cwq7X67v
u7FP6s4aknaSHdH620pXc3zuubVDK2JFgOWew9Z/Dax9N9jJuTD9GI32qXzt3H5F1ISlYffoXUAR
RedjUa37PSXq4/eL++WF827Ik2NRRJbSiRzCH1UKK31uyovv/33jy/PwboCT8xAHbVmjvfaaSlgy
WiOPNhEiMBrPOJZ1BTyLKnq1sUptiZI/HBeKBuUm7AFmg/DLyl1iINsiN05jB5D4XynpIjD4WwOR
IeqbMqYBTlm4BFdmYyJBw0whnFLT3LHKJwnjFQvBQ704RjUPgn4/EKQkHU40lHzNu54iYIFhhzki
9FM9ViBvlRpdTqrxcUlxG6mZgUMLg7wJtOUAqTXkSVXeMqrlmSytzGErCwhl6k6KxVJpn79funnp
T1Ka99v+DyL63cWc0oMy9WF4lax1jQa/ZPnL3rzpip+BeBPEst+P9lVy+GG4k7e0FU2uFtJ8yuQl
5ksL9QXb0QUksm20K/9H19a/d8UpZL1O6Y3UHKu/6bzZfPVfFit7nbv29txgZ7a4ffKmDl5fIp05
vNrloaPLCFXkzNKJ+RL4/KUMDQlu0Om2fjKCWitC6Wz/96TRg1D3PuoFSSdo3oKzimR7L1Mwqgb1
prEKiJqUBfOwNqBragDV3zCAeoxpeJhd3oDKMo5Sqd5aAciqTLuTauAGHUURRUX9ojyOFDe+/+5f
3unWv3/7yfNfjjVMdRi/wVgu8sgHrxetkzZZfz/Kf3G12ZYpq7qGvs/J7hIp0WsVz4wTf1OvQW1B
Z/a20/X8ybN7C/ZJfe7Z+PxVdMKL+cmQFUY9/SrFNBUAGXBiX4aXM1NpVivYzgRq7SnYzIaMEA3X
kvv9RD8vJ4MyQRO9awUk38kVrofw/9M6f0nzx1G+9Ps7JT/L7P98MTAvGQ7STLnX1T9R8buLgZSy
4ZUo0BFAs5LLqVhIias6wwYdURccX+sAD1965U4AcnDPxcDzhf1xszM6FCtUHSFEWadBQBpXYMl1
66VzZ1kB9DNcad2cda/7ahR46Hh7KujyUUL6GJWaDTZY1Bxf5N2f/bLv3eC/EdFoc3j0cTKGomMk
zTgyVKjTzxUJta57xXyzfPqKbbf1Wu+AHHgI8dteSnWxSAFWqBjrIBK7jVIFUF570avIoGEYVGC3
rkfdlcivwb20UFLL8CFQUf4AX1vE44Mwm0MJ6XEyk3VVbCsyI9O0gN4eUwqTwFkDSbpvo6pa8vy6
9tgsjbLcyb59TQNoUwnpzJH4fBPSWCfmhlhmIPl+yseykqnNdB3ijg1x4A0ljeX3m/+LfIwBYOEp
usHO+KRwUcgZ4rzNRPoyKzptEzQKcczG3oYYbbZ1OBcxic9HgROO8Kw8C2tADTq5VtokhdAsptdZ
InH8Ga+C2zmRyNfmcq7LGXDN5gNvLahlrKEsuPrdBkf2pfcYrM6dC+XzffPxt5xsWQ90Gxfp8JoT
rUELcLyHqF2Ub5bTLWXXf0IYDNAidMH63GN6buCTKxwiSRr0Uvl71hWJN+VyFob8k02tOkrJ/jL5
YeFdd+Zb0248PTsgT5Bu4IAi9jgf1I9HlNlGkV3Vr7MNoppeVekPwDCoSO2j6RaFGD+lFB8i9gh8
gcbGcohoDdKutJJ1F8huCJkoLajpNNtRwW+wSh3fPtL8pPfD8fjZFj8zyV+UsrSmqeyjWmcC4Zaj
O7381cZ3SXGlKo+zkmHmhXRi2tXszjo1mDSWVzpawSkdIFnD5S94ynzQE3p5EcoIBYXHic/S0VHI
MQmy62jp0eJUoKW2dKeUKn7VwQuBzQVwGT8YEX7uRulKAEEpch+qaVhFHQVD0VwWwYUqLvpJXlBb
w16tOigz9BEOgJe5ptpvS7R5beaX6WKnYT5XFtC0kUJSCtTVw0cD/nzQlUvVh/IyQRPM75AwXln5
S1CCB9GSLQXfLV2XhU6XvUggaRj9RgXKL/BA0NJVT41mRLDfiH9KINXC4KXDnXKKsmXiNys1KgDP
GusMfFzCQii2BDOdi6n7STO9hQ8fGCam7dJG7Y2tSKNjYFgobtGIKLCa8TqYb0DFNTg/NYR18SCD
nZLp7wXGQSs2lOoi7MnwmwafhyZxd2EMl76MtWtmbZUAaF0u72czMx1Vu4jrLNWpho40joLLSoAx
E6rTWUcRm2vYRYp8oNtp1dcNazY0c0G34idwdEf5RtKzTVKWGxkE/kzuUvyrSN2G8ZvR07fn79gv
8YAFG/oFpbgF6Lto0MoQ+DQgkFhTx8KISLv0xO8o3af8G6lxMGkcYwUma7+DQl0Yfbjw50grAmGu
3NLddfr6wsQy0WrvNfXnOL0NXgHqnW23biWktTKXsC7Dw0aq113zo/EGF+4Nf72DTiavAl+FYvAb
I2760fdxv594irEOXRs+ABLxNmQ3gL8LfMYk8I8d5BpPIEiZ3DT6c6HDGximVdvNrWcksRoUvVK6
rnTw5aQ8IpYCI6Y7lFH1JsxbgSiHUfbLMip4qKh3QwiBwScMJ0GA0pSDTZr9surHpL7SE6BQWeWE
9iYZnkprWuXpmt2Pun3o+Fl9wKJsO6Ik5oN9NFhCYt21SEAnWo/hhHGXvMjGA9ZmZ4LDT8/SyUVy
cn8lzaQNxTS86ubvJnsLBvlMfP6F2MvJCCcVBCMwK11E6u+sGNZVBV+tBJ+IVYIE/SNTaGlUWDL1
tptZ3iNI1JlIeV0BWFTLBPz6rUJjRC/QUu9TjyI3rCkEXVNlxkCa4Uof9M0oxy7B4BL/C+RdpovO
S1aVVKyVVgLWmv3utOSVqJhueCK2vtU6Fieyx9S27pRtEVpbO/CP7YCjgIfboCRf5nhGqn25SMPk
su/UFdrXuPcJQos7hcguiNo99mRvNmSJwZAfWrzi7BCIzaCttfBtLvBnPra5uC/UgGMS/lpGS98E
Kd1o+mWfV/iOKZsGDK+qlq46V/Hnww+8R2G7WNqiR3e16l/r6l4WF/LgIR8yLGaWHjwrCalTWS5J
eUHKU2EuuktJNRHAgO1MQ7ifHmbXQaOvNinQ+0Ud/q5DMLNps9Jrf5PH9lNg9JEjYdnZN/6Nynwb
o3gWdu3wKx1MU1xrZm1QJpjKFuRcuCojw2lN9AQ4lDa9WyMsEOAJV/5wGQ+USIMnDdtVO28B+UGr
SFQXvW0nBy5Y6OGNDap3mdS45bHkRqxjOowm+6A/GxAzzabeC/xH4tpfmnTi4YK5ownJp03dpHkI
pfJaK8DdQ2K1ihbBV1tAy+JTFoK6PNRJdGORgFxOhINaCxDLiBeGXq9yJV71QAFNN+RRpm5hsmxi
iFypLCvIB1xweHv4rbce7djJVQ0rzvJmtje0fQRa5mgUKZaS3DGzgNTFlJ4s8C3GGqi9kkCytHTQ
iANWxkQ/GHGYPnou4MCJ2q9KPqivNNywL0L81LSLdmx2foTyAqSwpPuFg/rKp0ICv7AKXoue60Vx
ea0dP/dXQ0n4JEER636M8OxKWOWTgLOEGEoNRSyqCWuayEHRkDD5sgbjG3JAZEIAeZf2GCuOLdDp
nQd3Z0qNH1nsXbTlcGhS8wZ76BdAYoecOk8Y/jCr2jXp+9WDdQ20ETKASmvmuqq9qz7Ajk3nXgPH
b6ADVcbhi8c7C3MI/k5OTB1tvaxelXZwO07HEn/V1EtxrFyVsbEb8FPMo25jssmDjMKhgM7WpI8c
9pXOpNXJ31UgFHAjXlZgJ2ofla0evB2IhALdxJnqmqPLYoJOND3pPp3hIjOCI9Wggh764JeiRLvY
esNZbyeJArVHupSmlLuNr8ETATcvC7dEuEWlw46svw/abujAmY1vWHXT5fJvvWbg6QWqhoFi/4BL
wNrSW9DKt2YlodOM/BUALc38hWuhGyZm4fjKuMXmw9HHcZfggJnZ5S0qIE84NK9C+VeCP26g/FD8
Gx45OqGXUZYdjZbtFIcXWgkGDF1sM4LCogG04YPmPReWTRUXDdaN5UXr+dbysWpcdrz8id6svM7c
iMHc5rm/gce9VogpGu4CD7HApELNqgUIPR2NxnArupCyCszDtxZmdhO2Emhc7cxL8TnGni9yy7LQ
VZFV5VNOP0EIHoZ0eFWvsgtvrTiZG1gL8MdLkOQofv6cFV3Uu/88wj4Z9uT9UOvRUjwxvOKYfpVf
CnJS1Ul3+VpaeW50qQELQsjqbKb9GR1yMuwcgb9L9Ad0GrNAWL8LXEjJta1t35LNDCvaqGdF3cWn
SveMDaGggLKDJhB3OSnUmjHtZYmlrVf2K7Bgf1NAj3THn3MmATSHO2U7Yzg0kjn9AXaA/5SAyTyT
oX6uQn78FX8c795N2S/HUu8RepprG7M7rSs/FyuLckZ5BR71XPPrixTm/Zz/fIB3o4kut3LT8n4n
0cVA0u9LcKUu5LxYfZ8X25/SVGYFdgpWqzA0hIFO1jZF6LPS+/y3pUn4RSM6JtIeT/BbJSwwT49v
Gl9fSa0OSzA4NsCToaZyvnw0vPVtV9PxAJwGbOymVJu1PXZgz7WlgXAa2pnwla+QJwOn500X2H69
9XSq5TFwco3/7bjDAEweSH9AK/fhEtoDpXFMg8LuoMLmFFUH4TxwLUhw0VTsbfkmrNRfJZDctjLu
S9BIPSmGlcjboTNWihw4YS4cIbyHJMY2Ub724DMBdAe87crEj76hr7X6OR1TF2m2+RImRlbJZ8QD
nGTYT9L9KI6hVD1ayotMhENd5roPPKBkdBtlfGPiA4akNVQUZTQe/Gg4CCu9wQg+EQEadKZ92eg6
9WI5B2YYEYipXXHFwlgwzO1dEXb7FmrZaLxWCHvWTbcKDBv9ua76DRr4TGT51f55913NkxQ4S7us
RFH/dSBAI6dJVWTZtvHw+v32+VxW+bh9/mDz3m3TMdIjJLNBT8+nAmPayBke5VvozYvxDoRCdn8u
uadf+Tm5f79jT+tvVYjAn6Ghda5BvQA8JO3qPETKfEpm8ES50WuaxX1D8FG4hTxL64vaqfS3uYgl
s+gRUumyD3AakpXvV2u9Bcgbecqhhasb+wSzZN5pDEsHvZGyxT2yf8nswbUGbdkNOGWBXwFItExR
ETErZwAiD9/9csAvKNCfZ85Cnz+p+aGmqWPaLsz0NegdamtC30j2dKWmwxunaikhstaBbFdbunYx
6kIlqPDJQNCtc2yI88XMFIdzOHVZCnxWuvfk58aDCS5lmyGNHI4zHO88XBuT+lyW2S2Wtk9DB7Tb
C7EPby9L7KMNr79OwRuZInBFEayhU92GsokuYbrzNGVloPifV0gj53HgNImZwHELl5C4Lf6S3zXP
HjzDBZZSFExiR8MFoPDQCoBCAFpR1yZaBThuN2sp/SF3/m4aL6rwpxdyeMJSpW5oumbQXYghX2Gr
hKXzLP8hcebtnQc+xe6NJRY+SwHfoc85OYQVanvV9T4Cz8ahAjA8gXlOumt1KyW5SydooWQHnAp8
I3606nyJhkhb/hqTYyjuoMgPAnCXeJhRZkF0n+eHqrE2GsFtnur7aYL5Xe4l+2HI003f/ZqsDq8z
QVYPpJiSS5kerZEgMNkl5PgzKdAgOYbWtsmL6geuBVe2TmW0ajftAGBQpAs/lS7LmRCMkkW7NJS9
3mLdQ5A5gBkvjjJbpAex1SYwMMCCjZBpAasUunKhQREPk63p31vk76pOok7hP7ov9HQ9Yl2voCIo
BLo7YJIGcq/orScm6hOxr40UrDxG99cDPoQANPObCNYauKp1aEP6LH4WEoqTWn+BOxbx650yQevM
Dn1XuOpICYVkoLJxRrGCS195LvBX8ItDqz7H8O5j/83LHsseLfYOC0tIDUID7o1CMdfY0yQQ+St8
J1N/ITOzsnzg2MlTiu55I2N11soU/W2ATzEXOWg6zZuO0wCoPkcaUUQ/QoBehlo70/ASjNo6aSrY
rASgUQcs6seg3hvxD7+gIha3m8m6j/E9QRneUcnMshy2OYUIqdwrMD0zL7kehu6uCCCXazQatOI1
0SdkBKWliX12Z0au5g/oXCJD6q2Q4l9PI23Ux9B6HEWzjpH4VAPVMYcfGighr6Pqp+ME3eGJizJ4
1MOqR+NS99ax/kb8uQLksxw5MuFrIB17ZdNa9w2UGjCW5vBLUGnSFV4Tnk6DzzE1YomZN6q/Ce+Y
NMHBGu3gOU2aK91IlhWowkCBLlKQWJcmEjpzZsQJ4GIxJQhy3W4A6xsAd2OnzAbrF1rb3DXpDyMY
d+j9co3tJVh9o3jTdIrXymM0arc2ClAk26sy6R2lAyEDvr7ASM/iP6n9Y99Fm7ole27uTPrFef3Y
kzbbrUTeduhk35FgpJvjSwNVeEhL1D+eAv1uVI9tViwjZF9T70H2HwbpGFclYPtog8E3L3HtoJOK
BCw4oJJ0b8jMH6JCu5SmHXJ10E6w8jbYh/5+km5Aiy7G/EfcYx8oF07YApuDXBIU0N715zG4EbDc
w9KahVJZJ31fWiUe1p5wTZHfC73D6Y6yKEtAPcQZdQuhVpYDDRAzCy5V8Gu6hNw8BTxlsLe9X7kh
pZA8QU5FR9SKer8cNK40dosKlrFRIsuhw8g9VHVE9W9cFZF+nQ3hU9fx2ifpVRrKuxwfExFSJcYE
1uahEaiwy/mEjUeyLltYpWAtY107SKRJo3Rd6MA9pOHZFs2x0w+tOOTjLb2+zOtwE0F5gYNRmniq
kbD0WrLyOMheRewVPyYUu7xcuNAnemDps6pBREIUxup1rFo3WofAUlFzTAoJCpe/9icQBNbRTGMi
jeA4VUBtpJJY8UaObkKd3HGAR8bdU2WYD2qAcDI0mQwFtzckWApvjYlJ2VjkVNV2Ev06VdV9EWN1
HklbY4gctX2phnyfjKh/aj8nKThoXr6RcsMdqsu5XmijXWSix2siQ5Sxb9IKj76YVwk+RxOqBxNy
HTItftEBYL0ohp9xe5AyHeocWktW7EI+chJ1nYTbKkQEC/bdSAU84LUQAHwLbT/5KiIbSMHbL7bi
1lRfm3Iv+0gPGpPTt8hUNfABQWRG2a1O2R4zwqVUvhbFjaGCHZ9ePc5HHSE+PMkvfnCZB1dJdYks
jD8AusQ0qTdfe790RbhNWcDRP059vm3tfM4vgWQOOmYZ2qI2YXPRBsB7Zps39Y9CR8EtyB7lkou2
5idPmuV4uAiVk4RSQgUiriMlqok7oPnpwX0Q9dcxVsJSdl/ix+YP3lYulEUcX5sXULXGRbKO2Yy+
gqWSFu96m5pZrm5NgMxBPhJHUJ8Lx3TT5ObGrzXX7lMEO24TL0J/LbhSEPjiNjmEgAgaKbgN40M4
eptapJeRN2x8X73KpWjbNfbBLP2/cTr/a+L2L4NE9L82cUNO4CWnb/Tewm3+f/xt4aapf2mQby2T
Hv9syKaSePVvdfN//qUpf5kodcoW/9kGTj13p7K8aoL/8y9F/MWfoHKOnqCuygAR/23gJv8FiRon
F7rb9J2Fbv0nBm6z39v79rIpZKzlbM2g5aohRmueAh35Zb2aDbBlJlzR1qU02/D6mma7XJLhPfaW
4lExexntpkwGlItMkJPVcINQlPKjrV80RKkI04NAFvR038JJtjZR0UPWH2e/hiTGzECZsMDeYwEq
1J0wc6xVhG3cjJLGbtZEUyAwYxqIDDYWRKTRyiFQZ3g/Elcmw41kh+lBamTqwoMu2q0WKV64Qd6x
XSvUQhGR8rSYgBUoPdweJ0nDFE2BCMZaTa+rjmiatLIyLaJK9e6p5hWLwTJQI076ivC3BJndiKKk
DJ50a3q4qttPYTV7PlWLRKJL7isZRfSA+7RL6FVQZ6yaQ5Ci3jJUdnbdhWpyFD5/EM+B4uhxZ0B9
Hpc4KFKwLTpkEexMfQWil14kCp2mNuiQGKrQd0JGS6v0gz5p4VaJrofWpjcK6XUD3lWsbD1XDkPU
DD8HxcvvxyACh0IhmtdcTABUupb6WZ6HTiD1oZPU6H2N6oDiV9x7LnhkHnW9aV38XlGZwFtK2kVl
5N8WVmAOezqyM2YXq42xGsZF2BStgwBhdG3V6UwgngIKzER4cTYaF4meSS9toeM0VqJNfldqM8MQ
ztJwXQHufBMG6UpHwXU/jQC0o6wur4tc9pFsi0iIVSsQ6GCXEj27qR/LS6VJkI6PfK+GghmoFGxt
g+C6t0x9b+khEjEEOJ47TPghyZNarfouNyT071X5N13F0vW9HHY0qo41wZokJyRA9YQ1uJPmevUY
6DpOIJYxJHedpxTBqsKQHmoUez28SDyfTmweppK0q6a8uyqhJIPXt9ubcFBozFn6bK/VJ5pr4aV9
LFUp2lch/mXEyioeNK2a42YtWtG5DcsUPaVaMvfzTFW5aY2QrKQpYJpUtnwtTAJqRc71/ZDJ3ZKc
sqWzVURXU6RMb11RTgeBkD7cmLT8acaB8oKG3HCfWVXxW1VKTKHK4Y0mtbzEeWgOqarh2Hhm8ECT
rX6KayVEnD+AaDg2Wq3fTJIx2Rd0gigmZygyb3Thaz28MgOWupimrqcXYZbRprP7zIIPklM6l7TZ
r7WFv8PzJkg39VxL6etGOCAiU5NiwALnNGAjtWkzPkXZZAQrNAYThec6BPkIPze5GW18XrG8aW3e
3jqbmo3MpvTXKWQIInHRodcmWtNufiZqpl4m5dC/5YM9+pdqO5XX767f49/YmPdmVx+bdSZ3HB4c
NP4E3lq2itvVx5qkQDxJGC2dzz55kErBITfc70cQH6sq/wyhwBwzFRNkx2m1TFesMIRQLIibF8F2
XM8gcflA32SFLswRWKwz47iA/NYL3EyWyfIehum2fA7dc3UQZYZr/Rsf9M9PQeQa2Vk2MK/Cx9kO
nmbIKVi+hbbWUZ2/JJP+4W27FwzvvYtZZyPa0ZNJURlzzuFJ1Ll49N3Yc1HxXdUH0Z6kESi3LNB6
MPAhuK43iMvQ2tmH1KEd/Up6rS7CB16IYGWtZ2VlsObrNruiNNM7r0PlQiNdaIDccTe4+f4bnT5s
f3YBcG/KxaoQPHAff1sGoFKWSkPgPwiDur9Tyf/CRiy+H+UjCOyf1Tc18HTmXJA+RW6qdRm2RgUW
eEYNzhY26rreVutzReevJ/PvYU76z1lXRGqiMhl/FoBNPG8kZuy762bU1DPrpn55fCBdzPopBAR/
Pvq7jzqoHHm11WHeg6GvLxPHX812NsMmYXujUHavX06PLZs9XiLXA0nBWyD+RHMhWRcOLiNX0SHS
Hd+1785SCb5c7Xc/jbDo/X6jEp7EFliVhXUAx4qchb9XNtljEm2U63hL7QMIV/vIM+Cy2e/8x++/
9ccS+d/fGs9cFKVtU9VV7eQjmEkOZ2rGfdvWum3rDfjGgvoP+mym0rnUPr8f7s8OPT1d78c72cFe
bwdpRI9/gfTP1ljWBw/t+jfpMoiX9o2ySQ/oRa9mHGVzgOp1pAL2kk7OrzPYrT+y1d/9jPkufLcf
PJ/6IFLPmEas5KW/D55HBI423VHdp/QOF/FBWlKIhM6UbIo16jCOvK+veK6QQd0Ye3xhz8C6Thow
n7/DyY2HdTb9t4h1Ma9m0OyYL2cMXXBpuMV9cm1uv/8MJ+yj/zccxq6qjfI0Dksf569L7AXZmOu/
DtI0q2Q2dcpZ+xm0py/R0tvYv84M+cWdbqqybMq6BloRLOvHIdvUsiOzLOclJ9td5LtyXLdvgMM3
kAo0GmyaW60paHhwaVdnxv7iaXs/tnZC16nhRFVqztiIYa2rbeV0jr9hty17gixX3WnudBg3weHM
sF/ccLTR5ZlCY+i2fFrN7/O81vuWjxp6E2kzqmSNRHkqAzU2FARsTQJnLiCOb8arMhpdTbsp/Wzr
GXdgWYx4eDrzez52F/589Q+/5+SwV0VXVJbP79EO7apFlHE52wJ0VHlW8KT+O63UL64X8HlIZOlz
pohZxMePnqbRQETGPoPmq10jA+PQWzjIz9WjKi/LJ30tXGzYDvGLgVD6y/fT/eqjc6NBYDYsYJT6
yUfXLEkNDYnZ2nVwYWX2r3JqbkOLC6apztwnX+3t90OdTFOePLxtc0Knybf1jW753rLVCvR/xjRd
YQQoIznJVvt+fl8PCnKZueHAcRokWdpU6YnJw5GB+AhlammpvA30XVjI6Iwbd9+P9tUNZeqaIgTR
J9bon+hgnTQR4rKc/W5yTbdc20seTvzYUO85ex9+8ShC+IR4pmLvSpvs5JmQIxHkJi62C1mgN6jL
6a9ilJaTkj80U+uOUX9jZy2dJvXMTfGHEHHyMJjUu3mPuacsULYfN2w/DmEgYh4Gp3gS686hCXSn
bqRl8hg4iPBeIVzp4KfygOiwi0rTmTX+4sIAZUHRwtZk2RCnhYsuCmWUuEZt0e74psYOH9AjGpbJ
Ql2v8m21C3b7sw4dX1wKH8Y8iXebodKiRCKzqFfS1eC064l7sQVfgfYAPNRzT88XU6TMAwfVViEA
UKX5uMCBjqNYrxjaIq4xikAB3otRzhHymQ/51Xa1aaVShmckWT49/aU1GEFXM06N9HWCI4SBUH5W
KosULBH1YKP5YYdiL4XIKXNuJDA4Zz7mF/cPqZShYOkH9P+TX0eXlCNbjF+Q9d1VB6uto1o9tYYb
oSeRVkAg23KnTigIyB4IaIl+GPw8KrMJDuB2Za6k2lqf+U1frb5JZUBVZMgXdOA/rr5it0kSSqTF
s4xGs01X2xgLVtAlwypbhQ4tSLTCz8Q2X9xTNgbNIK9ImGE8ncQa/SBPXTGPqeHrbZXYjrm4knpI
7M2yv99P8Mv5AfVQ0BicUfInxzdL88xgL6P6S0cgV2WUd82rzBTu98N8NSV2sG5hdK2b2unDHtWx
lhoB4sKV2QO94vr1y5XB/V8YGDon52yW5nf546WkCF3XeEdxf2EjnXy1VtWECEdA3Ym9CaA+Kmrk
fD+hz+vGCFRLFWjhM9/3ZN0Ky2ziLBmo2tMUVnv4/DZaofU5DtWXE3k3jPi4/bTBGHwpYJjA6nca
SOgsfP1+Il+OwMVi8TgQ62gnIwABRGEj7RUYPzRfUUWnwfQ/WSvCZllXCGZhL32chGiUUW+0Ft8Y
tEWpc16a+XSrivLcY/A5dgK2JM9XmIzfGOXpj+NkcdR6o8E49WpwFAdNfwBZtKsX4bW90tcwa50I
vpm3hDm4PkeuPAHBzbHih9FP70+59ZG8MRn9b9Wi+g29b2ipAKJ+/IcE989jnew+kULPCLw/Y3VO
uFH3wDG6WyzjosUrai1u6ubd8dyoX215sOEqqEaTKFE9OVRJrdpJXaEX6uGi0PueW3TDUor8M7vl
i4iChbQVk2iCa+lTmJZKkdTm6PosxuvuyVgrLnyQZU3lfeHx0Kr6OnssVtL1eFH/qpZBv603Z4Uf
5vU7vT94aWUufZCzQp8Pzbtsl3q7R7WTzt1sPCYf/JWEWIG1qI/V+lw48cWmZUWp3GFyZmPce3o4
ek3KQ5NV9eMd0r3PpYKyXa6tPT/cYuWJXft0//2JP4Fp/dk9H4Y8iSgGHBYGzY7R8XZM+F/YfiFK
xmaVXRwzr/2z1ckvNg7jEZoqqqrSsDp5z4x6LPLYY4qFHW9ZcAoGBvwn+QyFX3wkSf4zL5vuFSVf
6jOnAXfXV1nqDdz6JT5u2GWtwBCNOLdfGUBRVvPxD12R79K9qiyGo3mnH61/pMv+t/35L4Pj/l+3
P0FwFM2H3id//e/ep2r8NSeyFONxp+YVsDgBf/c+hfaXYeuaST+Unc/zwMb5p/epKn8ZVNWJQzUS
C5Uw6P/3PoXyl/0nIObPDR2Ytfmf9D7nS+v9SdfmXJCbhhCIQEH/lEB4Mg4LquHDToEKNqgbxG13
BdR3oRdL267X71bl+Pc//F1X4s9wMK55bzWOg3FycUOAtIJqImRtC7EPRLSeIfDfD6GcpoJ/jzF7
clsgeInmP15eBpqSnWejwgBSdjshbiUc47eHA164uBoWbxoVqxbU6WLHBLdnxj69OBnbIrzjs865
KF/n49iBX7TjkHkQVIrnoL5KPBUaXrH3/PsSmoRWQV65TiTQbIBuzgx9evo1Ej0cP8kdGJ/H42Ta
iNXjrCkxtJRddQ2+t+oOZsul0mmbofMu4IfhXfcjEdP19wOf3m58SYjEyAOhFcQH/bTcpWf0Vi9i
EEqphX1YoK48CRmPVrTqmU97+lbMQ9GpJ7S1OEcEOh9XN+x0K/VbhqqL8UXHEe9CQaI/lIfrwk/u
UQS3b+oUhuj3E/xiVLpouLhahNQKEhEfR5VBkZp5GCEZMfkR0FpFvMTgNVfeEG/7GLiqvdMQCHv9
ftT5if1wMC34SZit8yLSYfv0OUvFwqxh9KOlrE15thSRkr8qcelrZzKT+bE7HQdLVkOQ4ul8wfmC
ePfUT8BKcX/JcJOyvJlKuxpEvMjlbI8vwJmF/DwlHSyHbsgm3HP1U35rRIFmFqWY+8Ytrh0/g+D3
f7pm8wD2XGxSIZSepj2xMIE3wBVcRqJYZwk692mV1qvvB/m83xkE3jxlrVlh/3TBWtkKE3lWtJ4S
w4ZNmjf/l7PzWG4c6RrlEyECtgBsSYKelKEot0FI6m54jyqYp7/JWc2n7piO/y7HREAECoVTx2Qu
cgG51zUn+y/r/bfNGWGAbQNvMIgKSC19ezZGmJGzk1NK77Gk03o9A9ozfQzd0JRpHPvv3/Wnp2OD
aOOAYv5hZMfVSsNw6ipdDpFz4WV/ZKz3/7zW+D28RxyFeEC/RdDaYMhapy2FUeoBZ5mlddl2AM33
wQDNmK8BoHeP/+cfxQvE3fPYMkjSfbuDY1J3MxOQGabDkvNdX4TDuqi88C+X+cOaYGCEdWe6tzTC
99NwoRlW1EUeawJ9pYOYzmKu0m7bv7xAv+9EN4oIGaBbs5Twv389e7rk+i5BVwINyRcQD6VBf47Q
AMX7VcQMAC16GL3rZezZtMT89638w2Kk8YckBitfJyH07dMm3MjOkYDwG6eLlj1p4pV26IfJuv73
ZX7fjzDV2qTgKeJT9PneVGD4s/KzkSk8062xK2WpVVd7rerUV+canEiiNIuTv6zL3yIG6CykMQxC
LpYJgfT/7oFF3Zn6JDs0MKLAull9GJ5PrmuYPhh5rB6KKO+2wk27v9zRP6way0JUzbug8938/uV0
c70LVcpYc67yoDEYvEgafWN64V8OBt/fbEEgwurHT+34BqWVb08uNTSGzwueXD1F2l0kpyrwzbr7
S+zz/cF9v8rtr/j3hySrQqsoKcvS7GauYityl3k1i4OJ4z3ImQ/5y0P7fve+X+/23/91vagfOkvR
2r4M6cQ1DnPzbDaX/16Lf7yExWqnJEXR5HtCpZa1nUifS0zteWJ8qoDj6cP2/++rfF99/BAb+hEL
nvyz81vJy8wymaUlQjTHiYYjUdwQFHUU/hqKDI5NMZiQLHJ7p2YL6EYso+QvAdwfHpxtGxRab2+A
9duvHPPJKDtvYsS5Q2IsI21NEyQmjLJgtNuv/sKx+r6H/fNriQLYx3wdGMy3HdlzBkZGS5UtB8xA
yB6YmFqOZhm/lFIOQR2O41EIkZ/qdJr+YlP/w+O0KZWwe3Laobz6bcWQeeO0YQ/caNrJPnF7qk09
lujOCyk//vuZ/uGV+59L3e75vxZnCibFFBm72FyZr2Ly1/C7/rI4/3gj//Vrvt1InWGleJgJhofI
945J3WCGU/KhE7seu8WiLpGgFYm2/P/4Yf+cP4l/iIW/XXVOsp5eANLwZkjOdIw9l4mpyf/LIvnt
lWDzx1phcKS4/cJ/kDb/un006/VKS82W8WessWFSvdBYPi1C29tGZXxXp9mTkjGeAucvm9g/c6v/
DoeJgMmhkkX1aWtzydp8e3ANGr8oBrtNnHIdlHuYRvjyo/kzz5snbvKV8bpVD76l8POX/761vy3P
b5f+tjw9K2x12SnkGf6L74IQLr8SkDP/fZHfGjm+/8BvKzMZZMZwa8xJtMSdGSZrDe0xw8sfvggb
GlEzJnuMjV3bK18ke60Ld3Fm8Nl1MkizYfQXbudtufx2u2n69lBEosb6HrGLgfpw3/OgLRzqTaz2
nZr2bVIerSTbS/1vFf4/3eLbq+8RwOjkPb7d4qaLXGlNPF1P1MekiTYNkhcKHX+7yd/P4rebfMOu
0fOue7TMfOsk8C3NDlXCo2TQ6+fgjPdpxsgr04nebCKeGXoL+IJnIu1jhIIz5X8/4z/dVJd6MH+D
61Lp+RbOZIk7yKFnZm6OS1s+RX5nV2urSJv5vifFEz7mNr0t6zFXtfP435f+bd/jAAnmi42B/Afb
7LdQQ8yQB6oeWJIzekfDLH7ZdvH535f4bd+7XYLN27nV+8mdfft1FQ6UyhzR3qcKDQvodn3K0ND0
q641niMteejD6f+66X27pPm/m0LBaGfooM5Y9gVdpHPW7Ofib7HGb1/hb9f4dudGz45J78y3a/Tv
Q+Xgd4wPDT09C4bM//Z7DPe3HZZTpUWwQaoI9KLz/U3g53hxTkP/ohVIrUVjzsaqSfSJ4pCtK/du
1P9Rs+jcYGA180zLVy1uImZzQLdJ1WIoUX30lgNX3WjQ06pI4LkchcjmRzy8n7Kx900OaBi4XvSj
smi/T3j7tm1huCcRWi5ucBdRU5k2gc3o66K3RXawPKkvIgbbC20Si0pMH7gtr3IcL9mN3q4bb0J5
m9r+Ec5PBV7rCXHTZJennGaPxOa8XydLrTYfsuGoaZvW/xQdZlvEqYxNHiDGBzaeg0XKgHHNrLNT
r6AYwPyXgdv6mzndRta1MdG4FdlGOU0Qu9WhU922bEGL2BdDldshbPd2nDLi+FUxnWnmOweQl6GX
+9IyHuK2XUlbW3uMudOCc8pQuDN4tBL0i8ukWleUmpfM0VTLOB4OdiPOlRdvQ/cZC/BxcqrjgJWx
HpKzmODv5k6BSVeOzGLijaiU1S1JRD2FfbGlgxywDWkUfPUdfDA6G5iAY56+U+ey25p+snfCp158
4TnHTJReNc0Vuwpigz86Xw75CntMHgoPwZ6DtsE2t87MxyZqW6zvGa5JBD4ivWRJ/2IIpAcA3GzR
LU31dpNpl0kSuH21sNk+3eGGXWsYi7Y2Qlc4dZIbK2Ep9HAfgtgZmb216l+ppgW0/XO8KdGb+cXD
YFGTEPaSGUSOyuWima9h3O8bEwOkl6Ktnk6GxBQxYHHa3abZmYGDj9cngc076F9jZzEnj0O3KGjX
b06+2Etre2O0pcw7G+isaj5vC0tmmyk9w4Mym4+YhkxvQAh7ZDQsmTaQCbqOAZetka6lZgedjded
Gdy22iCjhP/oBH30UiY/xhycF2ImpvBWDAItpJE+TYW+t8Hn6yV8azfbxDRxz8mLlqkXF0lW3TA0
XUUrr8Az7yOCWGKhzNONT69qvHDt3ciAePd0o1ylDBDoI11Zx9l+Qp12QF2J2ey10h9Gx1hxXw37
1xBS//NrYJd7m7XgwRk75jLcWWl8LfpwOTqnGY2hv+3rR8y4K1M8OIDinfbelY/5fCfRvo2pts4T
fxlH8bRKVA2B7GQJZ28KbWeZ13T8NTMikuIyMIzPud7l4byajI0Z96tmrmBSPNfOBSmpArAjAtdH
8ZpcU4UEPDvZ5nW2rxXlyHF8ouaE24zgQriMeAbz9AS0mdnxDJDuqYh2A0cLv33pJMGd8hZmKPdG
pO4Ml06IXnQ7LwJfhGlYFWtA0oti2uXJ202sp8+7UjGXQTf/fQK7sg1hRR9i79M1L4P1oRmwcaFg
gNXySvtAOYMDfee/VHLN9U28r96dkWIibo9CqlVMFt7hn/RjXDtryZNBbKoY0wU8VaxTuSnSdWo/
MXntPOWAqeIP5awc/1T059Hcc3CxGF5uRpJyBWNZR7tjDkf91AfZLJqQYSzDD7/ooGG6ZvpZIkyj
5fH5ZrXodaZGc3uY1zkgOk6xgeN16n4itAaPWJfA3hhH6q1+QjQxBxYv9NjK85T2m85CYA7CIZ+z
H8rLEU7y5iZMpY9qYnKtEAzLxluZOc9ytnFThXsnplXXG8MHH614kTd3Zs4bV+nigSGudRP7ZxVq
AEYSQHK3P1jEYtP07k19TbORfcxicRWSSX+dGcrJNJYm7Rj+GG3ARyzCSlu3qv2wa2hDubNnQ9kB
4lqkxrs0nSAqxl1X+tu0O1ehfofpIoclZqVrkydfzftE3tneUsPpnT2RcYl8i/X91BqPrrf2ALjG
Wxdp7M1wyPyTrta5f62xqQ2HEHlmvnY+MmfdMvue4BoOynhbhg9mwTYN9ab/MjoWU3aoy1OZBXwn
EufBa5+BEGjYPD+qdD0VV1TvBnlBUj+TyBjR2ROfLWK+VXnBvOvWHpdNR7/OeR4OLDWPed9upbmH
FvoCwzwjIuqOngMt2qTFtImsHo75m0jyzyjqL86gzpH62fNn1ETQKkIT0jUPxjSczLDYDP50Z/VV
vWznaOEMps+AsrPWsKGQvkte66Jbq1y/9Pa0mkRCaghWFX4VPl2xusrsaPZTgJd96xU3Tt6pGl6t
7DnL3kLjobNPYvxRV5tMbHy17ZONum1292oOEjZHje6y4TpOLPIG3VcWhHwTB++lc7aARPz8R0EG
Aoy7lv2Q/oOtvsIYy3b6BKxh9IMkOmTJe2Ic8pKx3wTfcPIWea8W7mnEAiC0shulbP4VI/fwfols
M9sBXzSG5vo1jRNl9EK5YZHFj/q8tq2z1l1qQAoOUARnXdWL0Fvmwy+KkaGoVlXb3PvRSz3q6/jG
75yfB+Ns+y3AvOjA6XaVpd6xrBhFZ44Qfo16KsuRJkSHJa/c7DMHutgN5apNHCbVLfIqJv4/ChtN
Y52GNAkM9QwFfCWT7k1Ej84NACbdk+vh89aI1ps3Wh0DY6C1Hu5YOm1dvb2t22poNnl1Z1W7DAWj
zxg8ktWup6OgujgF+E1SGdR8r2GtPZtOdB5G4xEehu5/6AZSwBNCUfhcztZghLSqr41HSRJgHqrW
O3+I912TXss+uU9N/5D6xW6aHvqefRwO0cRTufpuf24rgJyTcbF1F/WM8T4UEAT6OZjwn/lgEsfZ
ZacVS6/5KMyt5XFYD8/ldBltf+ladw32VzspcInsfdg8A3n/POL5Td6qyH8oxuWZcGddWShuTl30
lutbV4OKuK7DdaM1K3TM27K42BodtwNIrea9m89GfR2skyg/wkKB559Xick4wuDhZWYfSatzayRb
oehscT5dfQ4GzefBY2gfDn3xGjJgD9OAAvEmb46zt061yxC++SQ2JgQ2cmxXVTWjxIGaoNt3xQzJ
R40RcAxjN6GgF+DWUgPvNbSAuAAq2LEJzdZmiE8ZzmsdSmlndXdVPm6ziA9OXW/TeGA/B8edZZvE
rmiYci6QkdeovkF+3nyi/QTCpA3fW4FMSiualYd9YCiMndTFarjFKtyxihChs/e9CSJ3b/f6Khs+
rAFRQ5IcptDZxA0gt5oNYjICw4YKOWUXaybalSpomTMsxvJNzJgkccwdyeI+xvaz11y02YB5k60N
GIy6TDC2Ro+tN2wGYf+U8StEu6o+zLmzmjT/2Bc2YEDzpIXDRsb6LpJfVSJ2TnjSxmGFbRiCT/ee
Vg/R4L7k8YGJw0tOmU9Ot48ARvqWBn9jSTjBwOOrhe4hlpAUGJdeoDF9GDsvMNyEfeUaq3ldad11
iqy1qWNgHn7OOGi8vFv0+JvND8aHY7d5jL0oSAhHHaxH5ID3uX6266cbVceSMfSlCHCpP8tFwS5q
NuUq9IHW2rl697x+XkTKeJyGD9XKnbSPehhYfO2wbMGScziJ6dk8EtNwoJg1/jKz9mnHCqeA1Ix4
kgNfdUfM4brt5nKd2ZXPY+4Jb5nnvFB7UusqacuTk0X6gqHbZjGEuX+n3KLaGxm+p6J3D2VqHfQq
MYPZ94dgzmCtug4UFOSzoSCs8Fvzos/6yUt7sbLjZJVMdpCIothwalibbfRcT8xjezkQsfI542a4
sX5XuWpXggkpMu2+6/OzZZh9UPnCe/YSf9hmlJlNWEBo35eleRwNFoir3bEMeRF7c++O3kndeJbo
x+Bq3DfwGVsvPbaQJ6PyKZI//Brjd4qsMlv3yfPQ7cvxlI4mh5x1AmSkn3cFn8faPjHzftTALI4l
dZy0Otijt8hq+4XJhCcPTwwZ6VVr3Y8yhIorUGtc5wpO08T0bgnvs3Y5z1WPRl5e2u7DcX5W9TbM
1TEaI9zxW4SyNDm4gA6RvtOEodzrKPNVneGbKrql6IeV3vHt8O49DVoEq6xGGGlF9bKfOH748IdZ
T5O/tYTik8NpsTZfowrvWTQui8l84pV9KfJ2Hac69CHff/D98i4HvNMQlvhR9dnGCjz0TdE1LjHM
yzRfVCE9qoh2W6+6k0jgar68GuBLZ1h36Wky1FJl4XIi4a9l3qqVR294L+g6ryCHVNq9BeDK9WsG
+55TdlGlyIhB4hEgi/QbuZvzQeJfKn0f1v2xEGKLYWxVNGJvlMcp47N3N2bIy9p7q2CACTeeA91Y
IxWntV/t0B78Tu6ShIRuHwVxxdkljnZYb2HLZhvmxDnOkLoW4qKpBJZr2qxdle9lkrUf46x9Gr6B
kkLArMLRUtjN5ibdHemgYzMPCsQnZlit83G+DwXPRBTzU1tOvyKINPaV8eYqO5jevY/NT+cb6ThH
aJgEPz9q4liTUIwV4YkbXMNZuCjn/Dqo2CqyrF3X7mmKOEMkm9tnfoouZf5Y2fqW5zBk1iKV7cIu
Y6BdKwhWyPTq/E5Er7b5Og+Y0O9V9GBS104TtZll9BXmIBoJ/4ooDnJIHjTLxO1pdIiVOQw3+caF
tVWWu2jegAWaUjT2nskgJBZ1D06PpJEBHLkznMYKil50ztrdiECqeeAsZhdbuvcFKLHu1uz0Ajpz
0zDqA5cWZKqxJMwqu6Nj7Mz8Cb6U8ncGASou9Ykgz5E7FaqgN7ZpOCO1Hz8YOzeCuQAfzJIOMs0E
/PXKqaHSVk6/V/am84DH6nW3bMoT7riRlbUAIXvT2cZwmDxu06+6nZfYbBaWqLndNlJyZ9neaDKj
Wol4H8v7VAtA0CgoiwbH1pJ/n+sCMsVSuocw4bdaHGpXM52905W5oiCOfyQeGGAqfecwfJ21Hwbu
g2nhxRvIqEN+bgvUjdUHGqNFx3R28kOrlm5ytjiaavMLop2O86dLaDsesjIBebz32ns9PPewXTr8
0LZ67OWLRhBMoeag58WBRqzHFK5NCQOXE2tJhqeH+N48D0Lfa5B7QsCIWvJTKy4DyZjcn/ZZv23l
x0QiBkBYqC0t86nV2T/xEjPX24Xvk9C2TUt7Df3rdOXSXH77PjrkAcAjTWscg1GOkgw0Tg9Ehi5R
EinzzIwRIPYExjBAkVNptHswwwliprl56iL2rQHMHYMFF+kt5+wDxi3Yso6MEFL4FJJWt4YFsEg5
IfmczG2Dj+0qijACP6TT/cB7MniHUZCjH4NeEg8R/awm4MSdsx8Lk+4M4vl0YGbEOuttdSgV0Wj1
WHkpXOVOJygkK5BxKr0Ovs5V26dZb1ahMwUOID7N1haN9VTre6fSl8BMF07ZB67dr6yoXCWeQ6LD
XudDs8iT4xi1y9HYRCake1Z1Kvkadxx0LCOgt86u7lp/H1n1yTS+svBkNahrawIjVS9UhmJFKLmr
RzvIyvCr1vpfo2/sqrnYaTrgLdk6bI5vIxIMpOIHW5aBIUx2bkGLdXLWaBXSdcjGNxabMZHAQNJb
ctTHiOh7O6V/ZCAsw+4s22KvmpfefPCtadFE0S4n8ZwmP+3o1LXdPeEaP3EKxhmkWhZd2ipFmt4c
ijwivZWDaLu9Lc6y8xCzYxMdl/iIOMmFnlxKg/jf99sEqhXkf+mJ9Njjl+FHJ3NQJJ10F4U+M0ZY
9OTGhpD6Oslv51P6xF6BOYmpW3Qc1B5yMVlvTm2TH+iSZAZQaajwyfCA6qaRCac99Jr3wSSRpvEv
14P6GEwwFX1bQAcs59Fmg2gi/bEuNQdv0VTBmO5Uk7Nhz9p7W/ZFuxyy23eJ31zeT1Ey8PUeEw27
wMBqzC2l7zorzg6JlwIRiUoNI3be2O067PARaA71AhcrPMlaCpYLtzXyatslJplI0abvjp/OBy9z
XRp79REclB41W8sQ+VVLRlHuutiuL8Uoqnuys9UNrYaavMPiDgPDMR91elv3cuiQvCsaJYKq6YaN
FrVN0EhzerbNbCKbZVrXrpDm0+AZ8qso3PKn9ENDXpKB7WQZwjyGbTCX2acXJfW+jesYlAgz+qtI
a/MPA6dzvp1jSVzTOAxY6RJwtVFRauoTniuYbaLVlRozI7AanuKK4lzjs1O0zZtwk24zd+Qdh0kr
6Mjoy1ehlH7ucBbcR2WltiEN2JdWMTOUOKRa2yrzyAG0jkF6zwnHJbb5/qFyEmYfNY1eepdJz7eU
JOoxFibJxz4pyrPjd61Pxg8jO2BWPl2CmbthgXocYTA6Ic51N6s2M/HDV9kCeVkM0mJMq+gTMuMq
H6rnRNlA4HUsnRDL0lbudS9MiNhy6yGfmgbjbzHeF5ZZvXtwiruVdyNy97lv/SwcyyeJillbnlQ3
O+m6noeUpV9mkLNGk88onQ6jDNCJExmZkTEydZeW6jxVHhub2/fGY5MZ1kkabs38rI3Eyhw58tft
lD0IYqe9FJq2MDQru9O1zOXVn2amuAcjIts4WEvh8hWdNbN7j3pDx8I+NB9eF8bHuE3dmz+18skX
5Prw3DUzo9eJgwlOjZ6+mclhkWa12ZqLQZdPoTvmwaC37bt7G9lKh5wdY8i88bHuyn8+gnF71urM
/jE6CeAjEN4nqyz9WwdOZbNlym1qjQvDgUye0YXglnlB2pbmv5VsMfWcm9JscBA3NsFjA4TE3Nhm
zEFf9lCYANrWc7nr8xwneZikslgoJ1IhHCYFuV+1sVvvGtqAVlPhQs9Tc3u7ppv66Z5grqjfCkNV
3cVRWoEfBabpPjPrip1kmK1Tlelk/nRkwagEaqfLOcJyIBsFnwkO7MXRla76muWI+l3lpaMBS/IG
tVaWHe9FnIqTl1XJq57B30vLqVwWmKhISlh2oOsFkaFIlcY+Sw/d0pEcop0sFCB3OY8/e0PTbLyp
Zuaq5Mt3UMJg5zTasmNIvGyaHZSlinCjRui7pJas40LQQ7JYaNW9B5kUzQ+Q4MWlDTXrlEQpGRiH
LAgroGSKUEEw1VntL42aSLulkIzJO0WjdYGy424ZiUnmZeyTLDeYT19PVkYBYowSK1x6QzT/ammm
aJbm5BrrFgbcXTFGTrfqhOZSEWjz+svMRJGsO4Ojca+gEHXtI+4SdTV68WrKFl/GrcsGxFZ7DPMa
+bsN2b6LyQSMo1xHlVHTQx2bgfBkdjeAXxInicXL4xxZcIqRM0W6pcgpbvhRVHP46Qns9fqT2c7m
iwN2vm4lU2sw38dPvSdLO/YWbNKelqiHfjZBx6fQY82OLLqIE7kZS+xRTVGa09FBGP1EfEZ1oJlL
Pv2p0dTxqpMGOUpHDK/eoCtr4U9d96zz7DEVKhKITT/3S0ZGCTEy1bhsNHNOOEWj83lWevuWtzlN
IpPex2vSLxQR4snZNqLXli2sqmViuhPrm7NW7ZdjvETrgryi6ZoaIUOXfE6zn57dJikforHkm9j2
yrhaVg5KFc7vo8in2FvGIci/OM5bfelpRfROnW58ias4JXqOb0k2OWp3GT0dG9PV4sfGyzietml9
XyJ1WaV1OX3SjNFQv571ewX1aCZRhTHPrzvvXWv95MMILbmuICyx5xra9D5YqiKp2lQpR/Yh0/29
HENlLUOzL4O5i4pVb4mSrCAtPmYPIpAPW6iV3KjIO+k1ID8q4/Wcr7Oian+WQKj7nZny5FZt6RJz
pP1cKkpv0no0p6YlDSrGS2Hb4cWZ4US1aEqWCGs8AqMCAeNUN9Fz6ZJ3qhsJMSWN2OUL33x1MiTi
EAlxxPi5/ZgOtwDdjswWqXNRDQOSH0Jt89BoNu5L1TDhxrVH5zVykhxnEPgjY5F4DEmuJKilHpSl
0BFL0ECCd7QShTibTpY3B6tGYL3wWjUxnOdI5+ZwjmdSsX1rJeeOxvXqvpjcEGpkpuyw+eCuu2XQ
KzpVyEqrKV+lJvSrs9/Gob6bitBp7wy7q8OdR/dYvcywsDUnF1AKYIwoufFrrSjtOTLoaVdCPmqK
WWSLsrHod+q1Uinyoh7UVElEA3yVkmK2DemkZfgxyes2LgIZ1eJGw6UDmgYJZ5rd9ymurA/V6fts
4pxlzB899BnB2NGqkVVbLL0oGj+VHat4yT3JvromN56typT3eed3r/QluadUN00MbcX9KHy5a2OD
DThjK3kODb+7H/v4Z+8i2IYYuLFaPldFEuMlCxnMzHrb3mZuaJ29wm7fI6tJAauTGKGNqNtMMScT
vmIvRkvwhBOIDUMX7Sb1y3NnkecgT3NN++HXnMJdCgeWKqEW/NFVLtxXXS/XSeccWxugjOzXZkP2
Uwz1R6XVY2DpA6hYHBsLgBglX0xvk3HwL6iTJ9gDhUYQV5gtEaEwN84ky7XFFwiMdjhufJ3M2VTG
Hiqo7jqE89LvRDB19s8KNhuVo37vdloLmgwCvEPwBp/BJU/eoMmiuLPO57eyYRvzgW+2BQ1ymzGZ
jr19HR2Ncmy6VF2yGiKLikd1VxZ1ELYznHeEJG1MYkk9jiA6O+uJnu9NIY89Ibo51Fs4Zls3Sx5g
fi/7PFoLvoY3gl6YtPdRvO0M9FfDL5l4D3pjBHJ6Ajv7SrcqCS1GEoHTuarYOFRtzOdZyoNpWJvM
1j/89G6S+salglpRnq8rK6Cw96Mbt55FlhnmhDtpj0OYoR1TW3o4F3ZPVGQdYsQuhoScO+D4SDd6
Pe79vr0kcbsfiMfcBsir1jMN+DXp0R3jFutqBrIggYHIaTMoa5sY3cpJB1KmHNlocuf0DHxrFnth
3qrtxB8aHhnhBVkvX70wW9U4YMbI2Ir6hdrTWBeUd5OvqCO/7Ebc1wSZgu0twjE5hwntJWa/inhy
McOCM8qelv+rX4kxDgZ37xdyL6qGs264110/yLxTGZ69UK6NiZDDtagN+96FjWqreTiL6pTUHaC+
iNKxH7QG7+6gTq6ZvZi0f2bJDwuwTU5GrSuDLrE+rbINDMo6Hpf10zVFoavqXkbRPOjqyBZL4xYV
/SEL0ozg1dOe8hFIY3+9eVGA6y2s/BT7zg3h9wZwc6FCfe3V1kNErVGYMBDd+ihlubRArSood7Hl
gLM1cBskdM7XgfQpaNtO0MYvcweznWnNm2QKc5wmXyIcBHo5n8h2bGSm42mDtFheZmqG9S3tNelB
SfcTlcM+9gGelBAR5cZprWMyr/3isY3vVLnq9Wc4kctMfyJSXZXyvuKAbDO4OPOC58w+KCdwAQ6L
4VRP/SISkIz7jLzsR5tzsMJ3VUXryEGzw6xEIV56oPS2la+G9muqyDQ3nGKjhcHEY8/3Darhahqe
HGZnw/lka6QIk0ua8BZl87KRwzJ28DjnaisTohJjWNeg/iaNAu/sgbUsTUxbXfJSOe5KB4idd/NS
N14S90XOLxUsrvxhLgcgmvJ9NtAYNuGbNQwtL3f8y0zsRR9S6yKDM04J594g7t9892ngGNRP5z7f
KfWhvGxlzXmgy1ONqikzzTvJIjJM+zSPjJdVq94OtEnnNevuVYm70q6WCf9HNtzH8k1lz5o502l2
kvketKNh/RqjniJnGPj9Maqbh5hzCtTHhWklbAjGiuwK/rMU0j5dPJS06YDxp5eZ+iQQlUUdXoYb
aonmZ6LRZVWgNPAUQUpO3hZxmoY451hRIqcGxpZaua/K0u8N2BWN1azcqXrG4rfJbQnjnRI93Ezn
xYtf3OjSFefbUbDjhe80KqVUuKQNqf7FHXF97I2+f06rbkEUf+r88DL26WcmzJ8iYUzJGpeZONQm
Mxec7KwbkXQ167Sa3N/+5ipZG/wnr0xQBCUEN9zFbJ0Iaoz+wc3fY22bV7+s/mfVNSCT0TWYbwbS
w/mktRfffaVdL/R3+rA3vaMqDpN/zLJuE9GQKqW9LpEmRPr9MF/69AXL7I8kLpZafBuvnzo0htgt
ggq9QP1C1tZuTko2tyYQFR0TjoxTdbK8t845t1kbWMmqdskSowWz4oeerCO7nRFFJ0nbeZb/MjvC
mdHcKsYEagQBtPLstOyO0c0N8fTWVJ/TsPOHcanEsHaJOkXuE4ghLdoLzkdVRBrqZSg4NDAe9SkJ
gEMxUiCk3Qk8dxlpgW/9imlDjCtjRe3zZDT7oSKvVaIF1QgeSH+rm+/BZOdJ7nq11/GoeqNaNJxx
5nDXsyvpzbUcsztSxKF9TSb3CbLnuo4/dZaKGW2VN5NnFfQ2bSwRLgvavPSefKvvSwxnb6l9Mgd/
NwCCF50PtKCjKEV4lAIaq6wffSqWhggUfnHhZ3vLqdeGuJth1vvRoZiSHd02d+7cfHDwIUIridjY
sCNz6UacpvOSRB5fVxKN/4+581iOHMnS9auMzR5t0MJsZhYRQOggI6jJDYwqoaVDP/18qKprnYws
S07trnUuKptJgkA43M/5zy8IP9GGaYeD3S6nPtR7nYEoU19Lxp0hSVeWPr6rRr1L5+SqlvwX2CtR
5IAh/ajSU6KQ/iDuEe15nOqHyNR/SA52/uQ6mdp6kh8x3SBMtthKGnJ9iQggipvYDslVaDxJCjAu
01ZG2+4cO70yxsat+dVIrl/gZOoG8x5G1KulhusQt2y2f3AKXX9MlfompWYRGgiAwGjTYsrGCCYN
rV1aJdsghP5FIapppafNwZJ5QXmZHStp+kyAz+Oa/TR7EtoNtE9P9T+xLHIdljESQ9dslFc1m8dj
0t7PrHU+XE31rW8ZK71l4kB3lJFUOJp3U6Of4XA9JPprzOElIk8jMbeTFRdnWzeRKBF1qpVePEzZ
axdTHlJFdy3IaFO5USwfJEcnh0pngiSvu16lZTEyKpiQgX8UDQYfbnenjVDmSvtsKjrxkakpYJol
+MXrV7rheCl1pe6PDHa1TZDieF8lhCbeyu1rG8EoIBNxJFM+j86ChAacY1dg6vtuCh9jWVlVSrC2
1XBT2jdxnW38iY1twLVOaXaTgaQKiGFpNISNDOEukzOGdiHWwW9dC2tl05HbM04jQMa9ydls0Gmp
0JPJ36i4IjdpmtK6azkoqbXk01SaVBufuM6QSvAa6LQlJ1kwOxATOeMSCYDFlUboCXqSg0hvR6Pf
R6JZ1T0kuzkro0nXAq+YXNrb8n3XP4y5sY/HNFhLtUTdypvXLLSEXkXWRvIPJw5XsUs7PAAzetyW
aBdLyXahJd2nkbqTw0ScUD6YCzpMupY6qt2pikkedWhvQRMqb5RrvIL1t4hEF9LWJgyfed3tGe1e
W2C82/xELOqw6kO3vW33RLBgv0ZOiHKyOKbCXXMWydGJ6Sa8QN8E1AfiVllp0iI+MNVcyrFnY8Pf
s849EgskiXd2RwSpAgl5LmmvinZNFTvuY+uQ3jOWSKSN9GjZ9+oP/9kcXflRhhP2qBNK+yDMRYIv
fMmB5VYr/PrVxejx1vfnwYVRds/9ljsJK+LGxXoERBdT1ebYNngOL7Cnmc16OwGzoTuH+sbvlkyu
KHW7KyzKDiSkrIhrPSVkJ0FlWUwbFUet5OC/Z9U2vSNKgyK/hfa10tjyT9OTsW2W3Y6eqeJfwk2o
CF/FrNlFlLwpimULQrgRV0wMKM4OJD7KMASX+Vl6ErdUNXCqksW0sh8ydZ8R2rhHdl9tuutc3wbx
FbhYjBcc9INmp8YYxMZE+cVvcb0w7i0SOlbhPuRc1H5Y2S1rCY0jUG8A65AU3rvyFO2CWahwY+3y
XfvW47gGMYSSTI0PILUjE0b2slWOiR+P28ISRrzmLp3ZNnfDR6o4XolwjdFW5TWPZA4E9ywTxl3z
oTiQJLRVQQQFgdstM9S6/uEMr4XxWfu31viiOLdCPDnTMecSMIvSlepsWxIrM7di8FpvMMKmR7Kw
NWfOZbqDsRP+J+GbM81rRXEAkXdizNg+DKYLuGSIBUMyJislp6MGyAZlkjlguJX1JdDZAJdm2jBF
kIdV0x/iFkposapcrm6DFa0EhaBzlwPkWp4M3EHs3yIjfqdC6rdUkhPjfytcQNmE92qoe2p2K2bK
yCuwDva1599JkCU9n+bjJuNOXDQ1aH67O+NG20/ENrxpIScAe/0iuDd+WLimM11dShjtioW5jtxu
NRyY8URLx/qDaHYb4gLCp1De5bDYp2b+TIiaWRIAk6BG4N2B1wJ/Zjfkm+624rzPPixxqOazeVkV
i3RgE9mQi5mU1zmDAx5PEpDWcWUW1xG8P9i/GLG60YBPGfzPN99aM4zvh7WgEo2XICfExE35hip9
n8GrpYumeg1uIOLInTfcGBttOtWK20VrKL7BI77sQbRsb411uRt2kLypUARrHUIndowc1vzRopX8
YN7jnfLEghn2fwRNLZXHwabwPTCTMDnAm0VP91zeNtDLm238HpJoSxM3C0swjL6TAhfbgPRDjrcV
NBrlXNuvtYZDuhcky+INEG78VKKV9pxlT8WzfQvtXz73xCpnR607pv0yIr48XzdznNBSzTx7WEyE
W4l9Gnsx94mf2Gd4YpsnYabH2R1C+pUYX+z7YFqa08I/lo03BS7fyTdMBLMVrng0rh1toV2rnrFG
qnFgH6HkBmiQcA73WEikVdC4E1pSUdKuSMnhLlRzbya3vngz4e1gwM31ImkFMr0wG05KMocW8zDt
I5bmHQLL9RtaCp9V61zp1crsXd8/aDCLlLum3sryc0jAnPAq9kGmnymhHySrrp1m6cCvGai81WKh
ncZuFSoL/YGbgflcwYlABsy6qk4gkEKs1KP1TOMAvRyHePutvqIIuxmnXQC2SIFKPC10Le3Kyk4p
HGBWpG96BoEGWfhO44v+sO23REelZLUZP4zpxRlfmuLKsK8cAkOa59CEW5+9FsHacXHAhz42LroN
ySb9J2N7jT/Xw7F/hebHXZdeupvepgZZ6JKxhrSR5UXyLJ3lfXLKHsQ5guX16Z/Yh5pdzeIadzNi
IS/UxyhddhyofBfxWAvOEvBiQeWO4IRD4Y1cBhAQ+Mu12PTObVmeZUKguxW1DaaQtwrSl54Y6oVx
VPcks3b8n/jmWnxES4Yg7EoPEikrG3WvPZOvykx7Y1rbkDEcY5fW7aC4DtdN9kNe6QByN82OmDAW
fzdtp/iuKQGsbsgM5B6l1+LIu/GsmvfOXicNlx2CLVos4YH2o0d+mnUIbsEipQ/rYFJf7SbtANGi
Joxvx3bVnZv43BF0jQIuhVuKu8D8aTK6ZhK3s3yO3+MEnmoS57LVo8f+esJ4nBjGyNVHevKFdkWW
9oqvl9vEI9dC7ILrKKDaW4i36XF8TeRte7T7pfmRKe4Qb4fss+QBqqxIuneHFeq3jyX7R5fkS7m4
lznyi84j0pDcX63YNba67OFZxC3B3J6/SeUjot8YisedtK1XmivvrE27RBEfx2u//4BSomELT5pO
szbW9RpN68F5htVHp9l9lPAR1Dv9KLbiKfjwXxPYfgfphZE+gteF/hJ79CylspQeZOJ6nQWb4CiR
EbSH0IQq5L1/752doW6Tu3hH+nq6zL3gUXvgYG+Hq4biVl5C9iDg4cWRdhW10ztTXfGcuzaVtQuq
uudxPnVgzEvGWOhDPHKWkk3wGN1YZIeWJxPs7Jov4Mc4N5b7aObDLsJpO7YepcKwgYPUPU3r0auy
7fRuXtUf0Ys4SCe4m2DZnBYHh6M17lfVJjxxrp7h417RkWqPzk32IN+bT85VnC35+fwvWnAWP6nP
QGKdfE09NvpzDwUvxFg5/snWbjB0qjrP0mir7mhEVOchk/ddc59D4XS6l87YGcmZPI84v5qzzSXr
tqVrx6ae5nyBh7BkX+V96ZpPSrmojDXc/mFa9xicq24CKJafaBSqoHVzPSJnA4J+smbGeB6iAyNg
vCeWRYhQ41qhwA3ag2XuJ2dTaC8zbNyFeyPkqSGKoWH5bPtOdvuGlyVor4sMHN90foiZR2chaAgD
DiBsd7HYzf0PWyU0KNLGADqbftLk7kkOjS1+aHssX9nnqQnIPYFQUGyC6l5jzxa5eRVJnwr+yJPN
SjK0le+Yq97xHxm0LcRjPjNFIOqaKwPyXJcwPbU9hK0/An6gDoRS+HhYj/hn24NXcxqHnnBOY723
+tuILoMgB2fdBMOCU6h+m4mREy0Ii1Ff91g91PfScIUWhslPDSWi4x3dq4iaO3RF29zYhcUpf4xk
TnB44j8CEAKZTLX+kd4i6RZQAimxQ38N00/LVwMLQLUI8K4WUh/v8haCabMVFQHNjOU4Zv3rurgO
7KsY9mS7S4Q3NX98mL6r3pYfCctn8MJ8DdWHtrLFlzWjIcA2OiS8FDJC4HW0zwRZpcKVZ3pZcqNB
KqdzVO4b7rtbSuQ1tKAOC5JL9BtNY9/y6qf63LQ7DqBWsz2ks8s54itDLeWfktS+VnlQtDm6K7+J
J1q4sX7q1Gvqm348ldWphToNaiFeDIwBlb15jx+wrB5LG57HwfkctaV4hOPJDL2EWvtcMyfWtVUi
sT2bhwrosbTCvZ0/9226VUS9SFLtrYL0pTGIUF7ZWtuIxLMfGns8CPYsXchvdOmKRDuSd0CVHotX
vfX6fjvluwKymg0jsMwgQ0X1USevrJPoc+4JqcYb5D7i40jKmmYYWdOwmgk2xrIpnytoD+Y5oS8m
tfDZdLzxk7dewn/bwe1XqdzphSPLZju0tzEnEmELiz7KtiFaB7FonXviY5xqPWeO06N1MLVCTlFi
FsmjcFKPW9DTT6Ftyd90GJ4XNJtE5ETgEjU5WFXcLofB1cVeb/7QLoWk9S00e+VLpzRaV8raqbDM
W/TOUzGt56kx8YbjPR0+YJcMW/NxyhlvulIpLTM9X1es6gaFUNW6gcXKBnSWWmYGNiBodWsV6XIA
MDUyconiwifbsrwetGifFD2aIFDcUksb18gthi8a2XD6vu4UCTlYW+7HMFJWIZXKFCbhQbJb58mQ
Yij86K5SmfFd4+8SRwMw4iIQhyLdoZBkOI+4DK5ka9njXoXP3g1C2luibWLOv8p6q0k1gwUQvSZN
3KwcIuHCENEbwYD22W+qyNg0KYxeF0EDsGBlK4CYBF+wyE0D/6tqaKZn0QX+8xCrcM4DuJKse//c
dVG6Jpe930IMap78LCx3qa+mpx7y+EdY2uqqnYroPps6mo6u785K2adrTERgdMrGtDNGyCVpZObH
yfSHraLJ5zgALkuMuHzSIxLV5YQJEDRuiykntljDuDczJSeXTrAJZAaWC1iPKOO1UWVAG30raQeJ
9PKBdiAw1j6OT3dhD8LghGifBA4fNBRBP1KCJULzohx6iDcws4BzoVNrSggPhZl3zJQVGIOqnbKm
oy4az2rAeTJ1c5wRWUF3lSWlT2TEBG4QxTBFYzNvi3uioZhOhUD5JiKfpg+njzaxyFqGk7Q1UbS4
klJIEHRjgxIzF9DJYHjiLFf9yAayt8FRcyioSZmjaKjkatf0sr6JjSw7DhayDEYdcVNslJawO+4G
c8eFaU3PSQSQHE+9ti/IvfNh1wXlBoY2r1SoBiV/Z0RVhAzPClOk68n2FXqavntszdlzzGYZgIZR
iMQAkqZRA174oKyRxZxsDgSaVznx8m4khtYlsJUmrgwtz25SJA9tSlMo8vEz6JFEEv5oHkRUqgT1
KWKnDiFKy1hp/HWpAa40fjZzsSBkRWljw1Af5RvRGxRFkW5XbDh17cy9hgSCqSnlSIUWme3wJKAx
NNeBqlVEYakZcc0qtjMWjHmNRFGYOMu+o/sLTU08Fp2i3yuSAdOtK6yB6VQUVG5a+5Blq9Jcm0lW
zZi2Xn/YNZJCydf7t0LJJXaBIUXN34niqu2M5pCg6nrQmtimadeYWJOeC7VTbabyIEUl/WlbdLyK
pWUHjqsGaUZnrKsILUbdpN8OfUd6TYfRES+lOmTJiaQwk8R5NAPyPiiy1tn6udE6+6G2oL6GTquY
DyYQvnRTyUZuLDoHBPFB47FTMlYh4VxqNZbOrqqcNnq3xgHUJ3OsTqUgTv2xwmkhZ2br26kkUwrn
pd1lbBIK+rosNJV0NcGQCw+xY3NkhJk9L/Qi1uTww28rVAGT3ybtMyM3RukLfjVnLltDPUY+BMlK
esxxNrHZjmrZuBp97HiZ8YCA7lIn74qNTvpp8eBIs1g385PJeJk46zhDk6Kb1lpacdiHgQJBCCVW
W6TV0c6nngpW6WCAsN6SVDf8EeRgGlSq+gKTQ7l57iNN1/L3lPWtKAx0GF3ZyipvrF4dnBUu+YaJ
qEjphbnW06RHVmYN4x2u1DW5igoWVkGau4itIrTRq6lKx83vBfWXdgHW7EqKqxSG2+yyWBR/Vbd3
WSVBn5lboP5xKODDQmbzITDk052jn35/rUvZ+XwthqYY5s+RRL+YuatD1Tg6fCtkZ4L4zpFwaaPK
X5LEuJuULnNDNJ7wcTN2P3q631/70pvgj2sbf8RDYT4mkxn4xZMlxCkbce1YEzWb0oE0QXIlSbr4
xrrkUsc/X8XAaQyCA7yfX55m0EicrcTqLVs1ZocLAm+CzV4ETrGNwuE776C/uydjdrTA6MGBnnFh
hlBqmpz7PUYTLfQ0h064zcxvHtvf3ZAp48+Lp6Q1+y5+fWydnuW4mvHYiAXV7X1Hx5yyN1jDd7bv
yvzL/mwGMj86CKeYvtu6wX9eeK+UqapnKhxMqmjZ0y2iOlXwG7lYB7qlr4yu31L5LSzLFOeEEzQW
o/f7FfI3t2pQ/OOdgfGyTify9VbjgTBGmyBmGnCZyfSEAsALBD0A0NXvr/Q374GB/8gcOWnpOM1c
PFTZiscAM8962T3NGoGpeK7SvSGv4a6tbGNrKsU//xQJbeDmWBG4r17eWlTDiJN9pV6mIiT6Fm7z
I7xbJJpqTnxwJ31n8/Q3CxOTOhxlTcY+OtvL10cJdzXqpolVw1mFqlxuaWKjze8f4t9fg8gHFbs4
1ZAvPi7DRxQzwD9eWiY9cwHZAJIP+ujfX0W5MHPB9E6fTU1wAGPj4loXt1JMkzmqeoFpDCVPWaAc
NP0rJSmRER1z5lQFgNHkrORQ/eb+Lt1qeB/IAMKLCIc4qMaX3rwtEjg8LfjMJIwdUEhH6o+QG/3m
9uZf/+Kt4ypsxRquOBgBX3jiNHIt22U8D34cBMNp+OSHxmMFkULpu63tpO5E3ycJlIsQ2aFvQMEI
BRPOfu03HGdELsZZDCk9GYlDr5Lr3/96f/NKsh3gNojdC/b89sUGF8KchIVO9JBfK9kGVtzgdmOZ
b/MSUqlUdNU3z/zy01ZnOxRVMS2Gc6Rls6q+LlxMWRlEVryZnBdQmME+MtgCCiPgkQk84kqzlq5j
S0FOzuTj9zf764LWZdYZ6UM6QQS2cbGgpynUR9MChiAV90a32nOW/vM1xSV0wyAcYg4audxj674g
UGRkTWlU6GV7Enx0eW9/cyO/rilOJNVUOWUdQg+MueT4yb+LEmcqx5KdvIKmo9q3lIS7JivcNh6W
Zs3gRf9uQ1W0y2VM7aLpymwkZeAn5cy/0k+XtHsTuqBFZdEq9EFOqG0srfq0pmjTQoKrDONdFGJD
9qtX9JYLeewpaR0ksqhCf/8h/lJO6YQE4AQqU+lgk3n5hBPkrvUA952Z/Ah78hlH2oWelJDZ0S9O
3yzXX86R+WIGewMmwYQUaher1Uj9EpkRCiksFk/NnmbahU782Kz/+T3Nm/nsPepohNR8fbi56XSJ
CcdiKfd5gr0GamLLH29I/r5rUpmSjeHB76/463vInf18SfXikrlmZ7jOoMuLYLQVPwDkuhQFetIv
mvKWAhPM5B5L0j8/vX9kYH9XZPz5r/l78PAZ6ygIm//5ry9/W38WV6/Zp7j8R1++R/zPH18OPgv3
tXn98hcP+X4zntvPerz5FG3658//61/+X7/4H59//JS7sfz87/98L9q8mX9aEBX5z070HPY/Pfr5
N/nr++Yb+O//PHyKogmLX77jT/N61SG4G8dmDiDcIbGv52P4y7ze+hdyC4PNkq/ocP+5yl/m9ZJq
/4v4NvqJ2VVStmWZl1HgakSot6TJONtbHGls5ibuU/8supv36st7T3mhYkMo8+PIN3VMrvp1nVST
XyX9wEhEVUvrXs1ie2a8O/aqtf0adWZUR2h+S4aiQz2sM1LAXvy6HHc8xWYf5oWNfK0obNZZhc+R
o+fS2W6i/Dr2tWofJIxfSk1laC9G31zkyJnvSefAhWYMGeUPuVMeiGIE2FWKyn+ChD8hqpwCiIpN
7DC3cyr1sdOdihltWTdrOa5Rbkv5DGXU1hDuJSRQKHS6dFvUZu+4pRP32SHjv5mZqKOLkkD+oTSO
Clk/UEmNjZgA9hW2Z1EjS5RuUxmuaMstB6N5TYVmCkVwZQql2oimKN6GpEnPkp5iYDRkLQSnXp22
MIPkLSID7ak3GxQnvqwPe6dora2W5ghzHJ8cybhOiY8A2zXZzAGrIwX+BUQmXDwkOdgHfRs/cAkm
mknZH2CO+3s1sFRsMCoSU+W43Pd6rx3Qe0q3sZCrZQkOsTXQLQP2R2kNDlOVsBs0G1K83Qb63ggi
LKsyP9wFaaw8KYUlH/QpIZdpquorgvJ0VDBwAW3dNx9SH3C8zzSGxUZc0DiqlVf3RKcPDQHT6ohN
l0NPfU6tqbslKbO4V/Hk3EUZVgIS4l1bCeAoi2560xM5uak0xuRFrsWHoE7CY+rbWKF0RVs8SLlp
eA4Tic+MxE1XDbsIgaUdvzXYO2wjpc1dTe6te4T8/dVQRwyb26DayU4YZiuCgcWrNvTSW5BOlbwo
1NjyekOH6jfE7V7msD9YfdqvjVxJsGtxQMBwg4CUWw+PoA/NWqlDGDTKMGJ9Ocb9nutln7lmBR9t
zBQ6KY0URgKUVrlLrKOUM0DwbUoIctMSENpMXTVV7txWpiAiR0vGEyn1wPlINtaF6ofrPOhsxos8
/w8hpcnRyESwDuTozRG5AUIZYRPpzHQ0U2r6+ziyxCpPHTyn9E56rNTCPBhyI0EoEtWzXEnBY687
2GbZWq+6A1Fet1nUxW9aKmVbpVGrTT0N6VONT/ETyh+BwCINMR8Kgv6uwwp0qbL+r2OZ9G4LEcWu
8BG8hjqvE5rP8CRlnN1Oikhx4rBfV4UsQT8qGVUWaemFkll6jKz8RaQWzlZTsmqnd6W8UHocNMwo
GN+ScRI4LpLfNlloS9HQFMta07KnoMucQxw5Cs4NkXGwi0JdIWXW975gmIJMq35NmB+t1JQBK6k9
zbFQUm0X+H6B09kI9zIUEM5kZVxh5ttijDFNCMQ76ZwPw+CJLDA2k2iJIrSAg7MRzlCdqC1ciSg6
BBHTxLZOwwPYBy5MuRxurNGP7xynyE6gjaSH41+wRMZgXYVt5RzRDVm4QmiOWHTmkKzKwbGRt5sW
72miwiSLzdkTkfFxB4aemb3Ak0T4ZKVib4fFPwOJ3hYGuHSerZtelc9YWYUeWyTUl0kUz9bgZ7uq
Rr+RdvgtyWqQQPlhVK4qQPOxGgjS/xqdmbcpGPrpyniMFKmGaC716xrv34U0W6fIGFAuGyGi61Kt
xHECX/bKFN44x6N+rZSSxWwod560QqGw72flvBqXu7gdg3mlNPeYVjVXTsorzSTaBgCIsYPgR+3D
oRk3ds3WrHaFvclbJ78TIjY8noq+6iCkw8Ku0hteeKSIIIKHJtbCbVzq4gAvH2JwwAl9Y4Slcy0l
cN2jwnCWqMUQs7YwVPwYRYw6ptluUNX0ytfrZI+mJt3n6QSJNMutM6R/9bMpxDwNxj3jdtQlAatJ
TPe9ICYenQgsSSMX5p4V20CmQ2n7mApTeS3C3H6mJVdeI4LtD76uRkcrUkNm+TaTHg3Wvy8hVfd1
7AQofK1VL2nxXalX2P1pJAwxgx9nzSm6gHuy8iBB6+p44vweZyme82JOozikmk7Gp6oMKKaUSfXs
tojuiigRWJvp6q2NBglaITNftUU9sx9T5JZDMugbfIjsBF+uMtdWWIHYKytXUHkR9+YNSZeuddTN
0CVK5HrbXgu1zJMnVESykyLX9gv7GgWc6vYlpnZxNc98p6LdZErWeDlWy9dQ+gNUkWMhPHRVJFx0
zrgZZak5ikazNxWkXS8zssnrMubK2IByoDW4mflOE5fs/kigFk04dOu4FP5jBviwqbVWXZZOZbv2
mErbQlODsxYiZQQWRlZr5XC4kjEaXClM+vdmlAZmBSF7uKL0+7aGZgTYrOxawOlmZYhq2DpNU930
eZXy0sh4D7iTEjW+F6AbXOlZ4p9rg2k3M7rKi7UCVoPZR4fQimq0uWNCTlZX6htM5QMZXpmFkQdx
ZX/lAfyjYvUYvdeFKH40l6Xol3r1uvzMb5v687M5vpaX//L/w6J1xqd+k7ZUta9NUUev6X+sofZ+
vv5cvc7f+mfxqij/0hVqVOA1YmMsmtH/V7wa/6JBwEWWQAhQNqDgfxev2r/Aeigl8WLXsLemq/p3
7crPAwTCst8hlwmndFn5J9FLF1bM9G1zUi1xGLO/PH/RLrrkIKwtM+0+RoRR+ZpqBK+Caq3ddEu1
2RkwLBf5S/RtUO5FStifVwX/pk2mYdT/eChfGmWb6jQpP7RrmfnrDfXa0toHnuPp1/HKdueYN9zY
7gdPXRS31vanj+n0J6r0c/zT13b112tfFOv4VPllUH3MqXJinaz7lbRWN+KbnnjuSX5CtH69ysVz
tVEAt1P5IRP5lN7BUzrCtA28Obd6TnhTlgzoN8UKNpMLM2GdL78Dsr99xBdYRNOlxKYKhnOO2E1V
252NoaKWYrHe9/FwW4bSCk2Sq8XOWu1g4CT4fkh9GLixAZ+oN1u3NyPpKWrrTx1+mVLIGi4id2Xd
W988q+8+kPnrP6EmQHskvtQfoDN8IM3mzw/ku+DE+VP9N8L41+ehADvT7lHY6TN089NFOmxEYkxp
Yu3g59j0tB+VrS5wfv392lL+9mP/6TIzuvbzZfLAlJgExttmq0OFWyXLxpuXskxO+Xe3pHzFZg1Q
WXJcsX8AcgJ/of38erG8i+Kqg3m2VFbpAXepM1we13Rrz1nrq/5Wcv3vbu8rOPjrFS/endKvZKuw
3vWX7FVd6svqJfmER7qoH9Ib5f7/cL35U/n5U2NrmrF7oCUGFXTrF58aYEAAkPiO98dBW8Eac0N3
PEnHeBN7zOK/yUP/Izfgl6sZoOsAk7pMrNLX5xmaiGpS/R0i9ohRzBUc+31xD/t7bS+k9RzNOD3A
fVz73jeL5pe7nCFKsFb2dIzawUS/XjdAZm9IgkXjww7YTJt5Bxx+BB+yC+z+7eZLis2Xp2oRAeyY
RCwB2ZkcIqp6sW4wBsGgEavRvhhG2LwR+vy8kftD0ZT6bYTL3FmWFLoDXKVF3u2txqiSswQkfQYJ
yeiDpnqUcflJ1L7mcKAQg4081mUPU1IO4oM2GWMK8QG8PolHbAcA7mY/5AHDKUlK1A+9rfuzEKLf
pBGWkXjT6FAOrTw/DnWoPlq9ghe3FjbOHSBmRXUupNem6oODj8EzLuDD8B5OyXBsSowpUXV/anLt
uFh69ru26RsDXWnHIFuVDJQ8hc7pllaFC5HP0fqb0bLbWzaI/qkrm+A6nmTlxdaDAVavWSo/4kYa
N0OkpYdS16dbFudLNkTQaQjHUfZGhJlS4hvFSUmFBN+rTZ5EanSoMU2ETGVvYzZtTc0Ga1+q7aJI
8vewD6uXdMjsfUCyEfYLVjE6Syf1Z6asE8SIQZJI1l09QmC4w8Ck6VZ1VmZ3sZEGd0mpBpTaQmqP
dZxDlO4FhmQCFy5ZFP3CGq3JTRVMGNM4wR4yzlXlRpqHnOzWejx5htnBBnPyAHFuVU29gadGUyQ7
s/PxMPMj7Smf6jpivhmNGy1xCqx4MUtPESa9TxMJX6RBTBSvOM5jVVF8tHKgelXT5NvCzGMIXExp
ekyUl72RZOdxolNNrNHYVxP8JBFZxkL2c7iNxOW6BF68d7k20RvDASzKqD0kSvYmcOpxcRg/5BoO
BTR8h6TW9vFQEHeXIw+NOqyiw0gCNRulEB76GCCOL1A70VliDQYxQk5QkUyws7Z1QrJ1kcL2mqSq
OkaVGeJCEspHq4SQlcxxHU4zBic5qfL31mdl1QEK8TCrxmupx2eAWF1ZQWtgB+EanSkShg6nIa9H
lUufZ1h4M1dd4VxbWDiQxJ4uwgaD4KWOh0O8UJ2QpvT3+8MlmM/LCuZiASuyRzANuiglus7JkwJz
FRP34rjFYrsg+dySrpqsR+YUfLMLfj0o2RxmvgBniU3RyqT2chSHLSH0LuxMlOJZkq5T85xqxzz6
5sj/ZcxO0WmSqwVbwMRDhvPr65YnM/ZVcuQDc32EYHyVLd+NdbwJz99trvNe9u89fb4dy+RGZFkh
tBEM+WJvVYw2EzJkfbmYPKXZ6yXsyuG7QJq/uR3S+ObDaoajWSMXJUyZmwBvNbGXmITEeEWwBpcS
fiSTmb6WUbmyUTJP6FUEmhphfhMp9Mt2zmZOHJHGJzdnbjsXFx9DyEWdhaxMxqpJjRV8rmFIHX+/
CH99jvNF5mk6ODwcnYszI3YSoYdpsJwYNmfMoHU5X47F0+8vMtekXz+seaVzAQIHCfq7DA2pmaxF
jYGVjol+DmP55C7wNXzBRjs8FKYZrHpbhtkng8B9c+U55vbi0nRZhEHNzAQN65uLhxgFosIzAwmM
EUGexoOFEykUfoV1r2yOH/CmymqhlWW+Av9KvEYEegffuhCPteChgbebaGxN3IrUVdXP3gWBEtev
uWlL2AvSfQHQqirZCEkW/oDqhMIB+1jrNMqaBcPSV56ySoMCnxgVYqQJNTmG9G/YGOTrsR2lvdYY
g2dY2FxE8C+fZbNt3vIyjuujmpsgAxjTyw8SAZ0FtDHDvIPbhkBz4MA7cv50e6VO9bvKcvAO0u2m
fhoau8vnJC9MQwVJf/iCp3Zrelp2MvRqgx67s31pW5Za3l+VhRP8qFQhf8fQuGg//3g9YQ3p8xBn
HsVcllxpmiQWYDMxucNqcPFCeXOunOW0xEt+XdzmS3v5+xX2dxdkadkEDrOc2REu1nGY6H2Mneqy
djtXXWLEsxn2ML0oYkfXXtVH6Zvcu1+XNK38PM1XZIbRyuV22hVDOeBPtLRH3DPjFceUayc35EcZ
bbNog2H1+/v7dS+wmUCz0TGdJ5zxMssIDFQt/5e981iSG8na7LvMHm3QYhsBhMqMVEwySW5glNBa
4+nnIKunGInEBKbq345Zd1lXlxU93OHy3vudT2mkbQY+Xs2e02FlG3jfHf58ClAmm7gpBDEbvhSD
CWYPz1eZP7+unBaJlW78ksAoqM/luFYM9S6jDnRYnK7iky2cSZ9m7Xm+arWFJpNaLm+9G+4MW/GI
/merbXkBrF+N3z7fmI7MQEm2CKrgYyxiS/P2WCrSCoM64L7dCfKPPR6AKm8IsG/z7d9BkP8fOPtf
U2r+SuAMwEv5Nlw2/Qt/hctU5T/YOBMMo8QJcyx9Kib8K9eLhTkJXljfVKZQu6nITM3/5nol8z+4
+Kl4PrGDS2SJ+az/TfVK8n/YWkwJY0u+nEiFwj+JlvEUnB0TElVenIIctLy9p/+8nSB9kiZtVYJl
jCspcCpDqT5XruF/6tJc3MHpijfYJRe2T0R9O+qZkWC0kpPFozo6/2hGEDvjViq+NbWifxihyD+k
euF/D608vMeysgF3gYAHB8vuBirseDY8pX0wtTj84MpVeuagl59kT0UH4PZGbTxnGTBaLeD8EVVX
dPqBiWtNdk2Nb216tXhWoMWhJct189CRGtm7AE3PnZCcsWDTEQ2Kwc6N0ozkROE5PTi6XRYNgCQa
7WNqds0mG5rfAMrA6erksOSONF0qU7AuBpq551Yz2rVVwqntraey6IPj2FOfDBoUMVE/3nG5H0/w
F3pa0n4g1ZCeTBGRdBIG6j4wM1wmyD2crJ4aPSUsQdlxQCGYtQQI+zqwqUFB368ZeJhlXLRFHoNb
uOrBJm/VahfU6SfZr5RbXNipdyd2xa19zOGxpGiGrCJ4BkwKkgelvWViB5YGWu6o5tg5dQYbw1Jq
9rC0s3j8auphxM14G+p5dTewMUAHK77jFN09i4YfU4BFZT9VPeULtfXpRik7dJEmZjtDL2l73pFA
RQrUmkYT/AaF/gKl8GuDS1CHemFjUUa9Kaq83UkjdSRlk0BZHFPoNUnR7JJRBmVvqsF5TNIQ1Iuv
H+JI+dqkzX3YmyNS2WRfluV3rdLtkLJ3jAN65QMQ7eSUCFp/ZymB8iFovOcxVkmcgTFnuEvR3w+p
ucclClQ4VfDaBCDKDPhKuQCLKkvlhJxhfkRlINluoz1rWpPtSVcSa5GspyY3JDtPmhdFLsHOBncc
V19GXOW/aEIqbjsrtW7zRsy2ain9qDzN3TGwyaGsox8GryNbMSLoG2YAFWAIz3ERgugICxL+5aiT
iR/RdYVqCmOvqH3ZLr1e56N0QO/1TNnXroucfkAj2BuYDEWhUW2FVlGgzEvyk08G6uyLyP/7wQOS
JHjZrpKN7jP5nvglDvVaRDdMOt7qC+UATiMHL93kLxL+MLAySA/JiTZsqTwAHlAE3+MuPiMI0D9k
FThht/bbe5IlzzLbE1L5GkJr48PxwhlEdLMMXjGoV4UsbOyiaoXDCL+gLE+BDM6APyA7DUIroFM1
eJ6qEhjeAS/DiSCHJE9XERUn+lmplC8wtCm1FyhalLP21sjSPTQhIF8W7u6Kp/yG7ahvZLFPjq3a
OQWOupYjBJlIISt1FVNxy30hpWBvG8IjNgW1PpH73Cx6YIBE83kvmFgI4IsiSol1z24lnIs0jna+
31i7IDfTG3AmE32GigbQxnjY5FUOy7uUj5ToKuCPa/HBtUL3J3Ds4rZOKVamsMOQb8exkfeFm43P
eR6oDrZjFhCjODwY1hh8HeoAgHUCHufXUIescAyOmJUj+n4lbJG+BPhHI/6K07zHH10IR9sKC9Jn
EJWEmqQ9JQR2pUfCB8YcGa3XKoSnuST4fFHPNwunihqsWyddxrOUwuEFNaS1uk2O0EdOTTLvNkgV
HTb46B5KX0weo5jcGPZu3k9iO5ZtlpWxb9nI9z3GSIgzBPD+VdXLO6VO8vu4FwiAFw3A7UASoa8T
4BBrCBW5It77mYzsrfWJsGIU/ikCVAlh3lWbneJLuJLwMT5oQdr9zFwQbmEET7gyJN84ttwrvmfw
3I6iV7afLPwfSpA2YflRzhOE/3EdHUsVjaqsiu1hkKxfRRGQSneTujtGeR3B68IoyGos8LO+waYM
ErMTmJITJDz4ABGzu6+sni720PSkpH1IiyrErj33CLIM2VGN89CurISoYib092pV1ojsxsZpEl+7
15QUCL+YWI5faOw8Qpyd0sJHaQlv+lGKPS5ErSo+DXlSAxoYUU4Vo46iEaPDWI4qyJSxfO8rCjlz
iT9qGHwF4T3GAI+QYvHY08wYBgNGA8TEyFW3Rs2+O2b7VERUHQLrOaKGMJxGNYTTIDH7YF+ELswK
pURyLKfQSb1KC+9SM9WeLSirpLYzfds0cAuqbCRm2QS4PnStd+QENOxRI5UNTt6wMY8SuGpjOCCZ
EcqzSuabF213SwE8iIG00O/4dt6dFVCHClcucOQh+SHkJSHnFLbuFnM/4RfR6fwgJq1IeDMQOT1C
U8WMOSuJDIWe3YjlJzeadFd+25QPBVZY37uyaz6GmaLgK6KFg5O2cf297of+x1Cr3/XAF36T0u+p
5Gn8c+v1ATYdvRkBU6a0ajRk5aY0kKSGrVkdvDCLz55JBBWDAtwJVOyBXFeJD0YBSkF1H0UrOhf5
jRaCCCfqiiBPjOPPSo8lRh8W1i7LUhHsl5R/MCyZWS/4rfAj4gF5K3uydaLUKHSMAfZR7Cdg3Fox
s/Zti4W8YAHNSTMQECg0D8JgREehUf1tJUjCU4gdIY581Jr96qye2EAZUh5iqCnapsJNfzeeaB1N
dYSG4Ff+tta9l7DXJ4h5zl2JdUlUkn85NjYBYrHyUARheU+NBNDcLKuVB7mj4loIY3k8xXWHaUIg
eM0IUAfRzuB7hFQkMUqeijihes4wQvNT2/ZxsveUMd2PhSvb7FbY+fixTQV3x2XChwSImabdxapv
mwo7lCyEus3I9ChjW5TWZpcd2Yok5lupw4sbA1uHf+tIMPd3OXhwIqsyQLdCKdgSa1746JirMDoh
HBm4txEtq9XBxwVE8Tpxp+Sh/wL4XExtrTG0z5ZXKMeOsRL3ZtNXNb6AqZmwLMCpCmYtf6Zircf8
qzEl9LNu8qmQ62rPJdO44UoR1ztejcFdUQvdNlQrE2262t2OPWT5GA8+xjmo96HAulPQjeFnK/sf
QhPToKz3wWBr4hixi8GeSZGsfRtSOZ+QICXCe9XTJkZ9X05MMLjqCMwVvCuKWJAAvQemdGN2xnDj
obOTnmXqIhClaHrxk+ueKWwUIWdr0lFREgAWkIRuCrFOpeM4dCNx3JxFxAE4JL2N8RFCIZno9ha1
Jre5xETFxMVSwGj5AO+aHDTvQeEoQET/rI8VYlzZNIQHI4kxSimCqYBlKEDRExcNza+dq1g7Qr8J
7ndCU1J4w6zZwQ3hzxTQ+32pZQmTLEb1zofX+kUqKvFF8Ivyt9cL8TnCAYV6CaOAVpnWOTL2SvdU
APd6/lD6avwpMysBF+Jsiq3kUjcAowPxRuhdkXqoQGz+z0mjl791qSs/j2HHNth56Y0bhbj0+ZX3
wMTRXap8xATfjqBJp/MJ6EIVZTaVUcanlpvbVzDy4uewkqIPHvUCEJ5F8OVJKBZgn6Nwr1WDdIzL
pL4BWQbiYRzazi7KMfqi92b2yLkNo0ER9MKiEKr3tW1vQVLfeFZX3wvkvJJtongTZUT1cNDQrLj/
5Jtmcce1CsZHGgf4DEg9+Mpei4hw0z9v4gDXynfMdD04P1adnIdwiD5C8y1cJ4XjHTtqxQFI5VxY
3A5UnNxbYiIqeytKxnOh8ww8GV2vPfVFQ5sqcFjU0b5P3j8LvAehpLya220qH7DwFtUKKcA4yfD7
Om/kI2LnunsRWTL6LctXfDalsnr08KJqoQaIFYriJhzLMyUzPpQRSZW+AtaGC9hIWq98E41I4oCr
QiVti42J0hbFBHz/n5Uefm9rUGNiZYmOoLMSmtoywDNgtUVtrYRdZgUJYtsoFgWiCdE+jbieJtsG
YOtnwwqTnddOwHnobNoZVAmuNHmjgrBExEtJEkS47i6BuY/PisadBp4m/IQiiQHsFl4OVMFL1U+x
lqf3AVasOEv2mnvbSeFwV1pjO9p6zEU48rqK4tGiIZOkmxslxCVFKeuQVI4A1z+Kg+5BVQbz5Pow
upN2wMglNV0MrkCxaRSnebhsmiVOIkJ1VBHP/SIqiNq7UqLwEIfq6MBhHG6jgWrR7MVzPd/ORzfB
JYbc0gaBqHlneBSGNgb7VgkClz0hOOs6GKlIDG6LYFR/+2mak8dqDJtDNGIJKgZEq6I/8W5C7hwI
wuTOF2fVV1EI1Cex0aobiZAkMDckgjZP0/QYksX4JoQYCaVqknyHiWvhOKLE4R3ZEIpCQOEfY1YK
+TeAp0duilD+FIHy1JhnCSVaHTf7yMSfMDE6niSCcCQgnt6MbSP/rMKiO2mtH2zbLspeUKW4uzGW
+1Pb+qUT9qPG5RoTxraXKgA4Ulb9LrTcuMUvKT6EAxWyim/gfsJFWfgKZdH/2JphToFhHpkvkV8q
m9Qs8xOsPA3XXg1ktBCrSMXHRE3uUhJOEIqQl+48QdbuCoDxX+vRFWxBEeCwCr0WHppKArFJUvgI
6Cb61vUgXlPOlTP6eO+OtTpYZPD0/HuoYJE+YC3Qb9C1R5/SUfFbHAE9yIhKIYUHClv7J+pVjYS/
TypwL6pPhJcpReUJgl3RyVWwA76RBLddg+Fb1/pY99aT81Vl5PvaaktHULLO0buIeU12Jgc9oYfH
3E36ne4G/qGoZPGeVKT8nGck9twoaGhAIzrWe0DWNDyNz2MoDvugy5qXdvD142BKPtSaSZWvCe03
nlGAukeFwtYBLTzFnNZXHmvugzd4XJ87NeLygqdKOgoSBEE02BKsExZRVlsveme0z3UHgl3m523Y
NYFMkbj7wOtDBiaD7bONC1IEizrSlQ9qN9ED+wS+hJgl1hMZv+LOAFP2oeBVum/7vn0R4q4DDVBN
JnpZpT/EYgGUJSGfekoJC2Q/JAVsM69c7vl3aoZng19zvztVfZS597LU+FArQsESrNumz00RbypT
DrG6wnJCw/YDXTPcVBwX4FCPuJo+BWrFcRjoejPsKJv31B3JWHAOlRz1g6M2QlPs5XKi5Axh4wfG
xrI6DVOnyPUB48VC1kD0MHClqVoIqw+gO7pvneLW1T2SZ4i8pojfCznoxFcp1kaJeEhGtUxuVMUN
3fPQ5VBTLqJ3D3+lZy7rqWZlKIZMogZdoCIRfTM0VZ3HnKOY+0uLoHUzlVTBe8AaCAzwR/UY3Yo7
oDfb8CS0R8O+3uw80j1vdZawMXmvSIMAoTJsYfYNRY3Jbi2vpNbeh/umruk6STVEd++yBaHR+GZH
Ed5GKo9JPHJhdZR8pY3ljvxpY5YKHZgQQ5kpdKTwtlVzkKof10dqVtfy1wdCyCei5YSBTvjybdBy
LExiUhG9UB9RoH0q7iDan7gvMtOxGNrrP4R4o78gh/Ns6/l620ud+9M0xUpvm9bSVgYXytwYuTri
ZiuxuceFdbzeytIUpISSyDBpXtK988ShKzQtgAp6OJywLB9tYJjbYi88qbZ5z+UO78ZNftb+TauS
pmoofih3fpcqb7HGsTyy9hv/trbrY7xzbffWutOc5LazFQcLZWdcE9u/S2Ax70mN/ml0VoJVZdCK
efgCG912DjaLPD8P43fLoQqf/8+W7Xyvml+uj+/CMnjT5myKRqjdmyqfOhrfylT5IIbathgp/89a
mU/THBfzAjDFJqhvRf+k6V94HG/+eRuyrqL7QlEtSfOJIvVUkWcZ8xH0GD7XjWtssbQYQNjpoXO9
KetdqkCWZOYFKYmpxHdetgGdzsWzqQcRb8q2LrkfiVQSING/DYV5bw3WZIUe3Leyv1LAsbDk3rQ7
G0Yz4Z7BFYFh7GIRrlPYnAXfg/J/vXvzOpFpHsqUG5CL52RBaPd2Zcc++F4jZ/+NkGdH2G8kOqhu
pQicqOROcb2xxQV+2dps1luRx33OG6ZZb+5HO3JS2bGwWdzEm6lKWNO33XfjQXq43uzrdLgsSJg6
SV4eUeukTac44W0nXbw8R89nSg57/O92qlOcC/4GHMse4NYW9vQn8753iEyTInSfhJ96uZKwXvqa
F79gDkZJaytrsbug4zrOAGKeHUMVEM/1fi4OL8k1mSqjqRzHnOU9ZVyxyjpmWXTbnrQ44Xb4xSCE
IdiOW+13fKjPlvBkrqwQaWmJXDY7df6iWjYfJYHbEM2aHykEx/eBx/nBtStb+s0rrzzo3Xb4Ymwb
W981FCtQY7ZWJj3tXO8+MOlekTpTZNvybF4FmVcJaaypG4EvyzPbG5C5uHD8Q9UeDOPffEyVhKSG
DHLK0L/tbyGaIToe+iuCEkvIVMVRtnIbW9qqYUX83cRsqx7UqPCz6cDtoLHljGpY/vIxNl6ZMIvT
8qKZ2SYjeo3JNmupm9KuPmEpaXP4HZUngA1b6Rw6+NOu9Gt5rsAMgWojTtSA2RRtDC8W/YGFUFO5
YYLOLLYl4YRdsQ/2wkdeI2BZxieA4lv8F/xDul0rfl7u8p8fMJusbeyhf7P4AY38KEG44W22Mj2W
J+OfFmZbahNRhZqrtKCpAwpdpbVEsjsqjuJqUB0aYeidAabX2pViaSdXLkZ2Niv1IHUlzBQJA6aF
o1qnQb0N469uvbrc10ZwNjezJC967qfTJ4TNe3vGJG5LQfc9ole7/PXvZgw8KQl9t4jYZFb6pzWd
mBmgnjb1j+63/9P85dvJ1vroYwd5yh1jLzn1Wfko3+Aq/0X6cn2BTNUI7zcWWAWUWfNX3ZyfHGOv
DwGmWhvsQ2SQyC3cu1sqy4wbAjkkEPfGCdLUY2Q3R/detBN7+P5RO6GdVk7KFkT6et334uj/+UXW
7CqeVCHBs5FfhFYZPwZ5i6bueqcX956LFmYDriY+cSaCyNQZ35iYPpTKOYLuf72RpdcMajp1UkUB
SKKw8+0mivGkllFtB7D76B0ormvAornPSfwjM53KP1C4tuVKYOsGgGD/gOufff0HLI6jpYkcF6iw
pLnYvyb75ucUYW2KprvjCnSiyOB6C4sL8qKF2TrxBsXPxuk140WRLZW49gLcgxe2La3f11ta/GIX
Lc22cU3NhJpCC5Z+9b0YTy6GHK25UgE308S8Pj+5P/0ZsNlSINtCor5k4oFvxWzMkQ5kUBzzh7KN
bMGOVzbRxYX3p7VXpsfFncIltZ37A60J7QfIOmQj0XP4FnRnzXNUnG76eFg7m1Y+2Gt58EWbPugl
U8tpU41Jz03A/QOwfnsQ9p57oJoM3v9wAKqnfAlern/AdwVyrzfUi+5S+nR5hery+L+rWt0rO1JT
4X3L8MYbax8Dyt3kH9eUbSvT//UHXfQV4YE68trma/bibghu01w/rPRpbTinn3DRBHl7yc07moAB
6Uh2bNffrfSIMNruHdHGGGOH1wZ1q4aysres9W12ABdupLvK1HCO3bVERQ2pket9W1pwKhVL3DjR
evCueNs19Matnk7vmBgXdJi6jXWQIdpfb2Rp/CDHiVORmkpx7Wz/wKGIjSvhaTbmXvXDGgQwvbmH
25An5hRyROXaDWJxiVMQSmPoXCeuyttutZUGV1JmH8FnZfI2Jxe6t7bes+RgNLIa+lta4petTf2/
mB9epZDLalRKM0vtGJp5vQNZCZtUfwILy17WVp+lMnq6PqiLX+6ii7NBNXSzjkydL1eSa4K7HBQ/
5DTsyS2bxT/EN05r+rJ/s11ZGWtBEKyR7aQwsUBCiF60W2Xk+Tf+uN6p5Zny57vNtubAA2VcEtTd
lMpvL6dKYsSRngDPYOX29ZakxaaU10e0DJBrfhsLrbaDeUk4RNt0VEJsxW/tQyligOd4DmlpbmOe
DvplTx5pbXueFtX8kYdiGj4VEjvKsWe9zLs68zM4GkQH3X1yCLkG5k54B65nk29J962cQPLSNnLR
3vympQGTpyKQ9ipHgbq5iTgL9J/+fXD2HG3SOW/77WC3d919ZHs76MaH6nv2Ya3bywP+d6+t2T0p
NK2mRIXMLIJfi9/rh94Mj4Fa7oe++DdrQ0UAg3DCmHiSbxdkKUeQz9iKNo101nEhycJvVjSu7GrL
m8xFK7Nln9ZCZGoZkzX6JO2M3XjAK9NRP3sEX/4fSsEXNxkNOYrM0gYkN5s0Q5IGXQDP+jXO2pwg
Hp/SL8PH0Bbu9Mn3QzlRa3Eaf9W/1k7Y1/353Xz90/QcqBa4RSfE0/wZHtMj7LjH6Zk0Her+07AL
juIuI8jrbteosYtRIEIT/6fLymzG4PhO6nwgcjiFlsdx1zz2N6ROnfRJIkGwQx6xje7XrtPvtFOv
u91Fq/LbyUP5o9CIPa3mPOwnDYh3ku6GHaaq+1Ww4uLKREhHSkcH4zV/OyRyHmhlyEQ1hVQ6m3DY
nXhURYeqb+oQAX9E99pkrGoafno0zUzCzKnKDHScvXBsgB0BBC/xDjXMdiVqu7haYduiS4EzyaP1
7SiYY0M1+HQxIBe0hf0FDP5lNEO7d9dC4NNBNZ9dGvJflQFQUcXNJrY29q5suR3Fa0Xz3AoG3oeN
uZOUygTZBW/WjdXd9b1/YdQnWdpUT2oQe59rYCieVLRx5AsH9dcw+wHyZeVwWRi8Nw3Mdgahrus2
Gdjq5HhykdrpVnYqrcaJEmGlK2stzW4BZYw7rdnQFcnal+BX4wIXYt23KYxf6dNSokfmdQkXe0Jx
ynPlYtRPyBBYqZsgzxy/CXcikF7Nqh8NTzzlrlttB819MFr3TiYg3UnmvgtTp628r9JIbdj1T7gw
aSCF8DsmgbqmzieNAOcW/+EG4Wn1aAGZbeuY8jiRDHf4AlZqre8Lw3zZ3PwEVaHnQ4KlOXlf3uKo
+Vze00fzOD3t8W+ufmY738GUaKWXCxP1TbOzRRjrXlpZDc2K/XCCnPwVYUCw0sbSRehNI7P9zmo0
v8tKGqHY7jCcm49YIJkhl4LKHux6q3+PPlRYHxmb5Ps//oYcGlguaDw+0Dkpb7eYEkJ8H1Ut8TAp
QoXqbfuktiHN7xXR22OtvfIRFy7MNAc0eHrqoNuZDaY0UGUlajTnW8dU/uiJd2Pw6XqP1pqYDeUg
UuISTFtZCKHHyfskcaqB4tw+B4t0vakZT+U1ikF3DOSYFDVS/D8Ln/lpk49GRnfkPTZ1Z/Gk7FI7
eOw3wO78ci/hq7frncxOvNu+2AQfmsMan2JhdqL0FVUgQgoPu9drw8WzR/f6rhzN6fvlmuGoQalA
/sOE53pHF8eU2iqSXRNrdb70NByAlNLnIDJECiKTLPrVySaWXKq6ci1fWONIzZkck25LfHdpVMUQ
EJzIOqhMbZMWIu6STa7j/WDYgzasIJxfCfGzU+9Na9OvuRi8cIwHhFu0Rv2sMxF5hJd2vMke24O6
QVAY8L4ic4EdVLYTb/yVri6OqWEgD6dCwXgH+GiqTCrlpMK7OtTkXRULxcdax288TVeZ50vXKaYn
VxsE9gtAJx+KXUh5H3dxH7spmbrbG8ms3QOMOOx3VCs8ZPiS7IwoKc85OTFqjtoWNob1T7HA3Ov4
IXxdSvv5n3MtpeDGw0Dyj7dyjqmh4KaOZVgT5OI+8q1vRSnK28GTv7vUYW2uT+HXrN38Y5Od5oKH
FhrYz2zrQXQQWJWoEWXxxt9ygRaOmko7kpqHdPQIxDc6UYKu/AI2Onas1L8hbf0YDKq7r1XpC6BS
tmEKEVHUZzg7ee5d4INcpzgzx1ap8+wsAL+RVM0ZXwwHTayC8iaoHMktyrXg6cLBq1NhRQG0BspZ
nfPlyV+YpjASy8ESzbaoCjuTfN7WGwzyYNTcKtsaRIy7xUXv7vogLq6Yi5bngVS5EtluelqeXgMU
lkt29hh422Cvb6Qtlpg3+g5C6y6y0zNb7krj0xd6/wX/7vY8oipXct8yxXnrES1wTw1cqPZEKnor
H/Sn620tjjDRMs5zqtfeMYY0MxTTMhPZGYIcGyVhA8nN1nLKeeu7CrPM660tbQWQ3dCOAvMA5zGb
mi7H8uQFRGwu1o5509/kcfdVNJN/seMw/y2yaWjP5TnOIEcmAeqQXdySQ2FHEbMEoaas7kENqSsT
ZXovvPtU01uC/xLfmSdmmSaZFqZsOOKpuItOJQAvSvDPq6/ixZG7aGc6Hi928MIw8z6gmHEj3PQ7
jJ3tcOc+R79UKhSiB2zGMDxWjtc/1lJ0naDGn75Nv+myzTAzgn7qW+WI27ydjEKTry4ur/vGHh0R
F6CTnqzM/cX5eNHm7KSyEsUa45w2R7e/DTT1lw42guiZjavbuQLLd72Py8MKC0FEIq1yz3nbRUHD
28qPCTZ0Lgk1S3lQhOFUQdRf6dbywQSOG5sMqqLE+RMCzJtfBnIx5e3qI8TajAhxY0vbKsfCcK02
b+muxPVFo6SDJU3O/G2v/JSVgZcTvVK42KLq/UlJerE2PZauMJetzKaH5uHLMIQlJV5O48jb9ig9
R6fil3KnnSE5J8cp7VMLm7T/N9/sonezKRIlueUJEr0rQJxmIc6tIhFFPd9dnxprgzjN1IvZPwwt
IFydZgzhm+oRxWzjlRaWJh/vW8gOBjVkZA/ettBA8uIxwjbVgdfdyI36iNromFdUP1zvymJDsszM
Y4az6866gnI78Qps4DZ5aG4K8dDIn3xESNcbWRov5aKRWdw+dY1R7rjAY5n7hXpzOUtX3o5L8+2y
gdlwdYbH9VKbtkAkhr7MyhmK9uAjQdloZrF2ZZYZ/PnGftHa64vo4vPHptK33NxJs2xaEnEVVf4b
eIakFjG1x4HBuT56S/FdyqLIjRk6Rk+wft5OhqSte8TCvObaXXSnOv0hd4adtAU2sFnnYy5eby5b
m62hqqhqaOivrYXDiyyiTtM23gEpkR1su8+5CYf5ofEQ999NEea/+R8gb7FQePhrIC/r5pdny5/u
zqYkGXMIeTo/IG3cblNKwQfLyF5WxnStkdmUVEQs+bBMnK6P0m68jbyNdqscsr2wVWBEqoHjO2vE
rdXvOJulgxQYPZB0XuVHNbuZ8v3Wlr9JneDncFvu1/Ici12cwgzgygyZFM/bacMNyAjzlGex62NU
OuqkH1tXWlkMi41QAkrVHh5MijWLnQhdG2ouPqN45An7SBl3frxf+VTTH/FuuZE/ndxqWAVzCiRX
DZcibJrIMbx/8g7SIfhI2H1jfhZ37qber16oFtf3RYPTP79Y33h/SiliczJynl0e011yrgn3J7fZ
MXtY/0yvF4l5/8gNg0JGzmlar/HOi+YUHdKTlxHPlL+6Z/OR6tJt8mh+cW/rV8pmY1Ow81uZlvtN
cC/ATlyJsC/OSwt7Ke7Fk93ZPAxtymRu9Wl77nfuXvS2U94RRfEEE6p/WcfVtbc0vpftzXYYJQGj
x/Kf1l7naESL+oN7O/F/s53wsHbhWTgaDIzOyB/gk6dCg3j7Mb0SOWY0cjRkVXIfqNh39KDCBu+n
P1Qrp9BSZNqQIUZTKSxTRj/PLCaxi3FEygLHXNOW7Gqb979admthn+2S6gUDkfPa4bBwfhuqTNaY
5BQtqrPNshZAsUkBzyZNrzZe/dVt1B2q3MP1Nbiwyt+0MtstEyRwSQh8fjNUEBBbxY33XWp4K+Vd
S0fPm2ZmO1auQeSUp8xsfKTWegNQxnpRsR/mPneeXhYD4ZhN81w+DsZpPbO50sl5INOs/MZMUlrv
WvcXAX/PTin+/lcjiWAKK8VX2dHb6ega+ggAg0aAbThdgQ6xXFvPy1PiTxOz7ct3u7LNJ31F3pQb
0zWPSkDpuC6tXUvW2pmtrB4xIMAMZvurvK1Bvr51vVO0r2xsTThvtji6dyh/7prN9dm4tKS5EnNn
JWr/XtQ0uFmgpDod7ItHo8WgUfxRyU9V066s56UOEifj4kpgGU3HbG2pBuYs+uhrRLJHu6LQXpMf
kfztrvdmsRWLwieTk/q9WKoO2hhrIHpTNNhvyB8H8LidlK60svRi5wT908w0qBenjBh5gVJP4Wvx
NNoSlstbASTHztpmx/igwxL+uHb/WPpMly3Ohq/tvc7tCB5u6rR80jHvNnJlL4Gj7TVz5Ray1tRs
fyqsqtY8MBsbIcS5treG8cEsvODOE8xqk+HAfv2TLRUEvBnM2UalIE0UtHjqGidY+kX+qIHgM+3s
1jtKW2+rwIA+rNUDLGxPUxp8MnnTUVzOA2RU3yV6WdX0MYltU8Jpqf3nhwn5E4W9CZ43up55uUpW
FZmF5p6oTvmx0LDSQaVndJ+vD977ftDIJFXgMse9cV5q0Mcj8mEh16ACFM9NbOIb2a4cJNPMenuj
etvEbAdEUD3oXVFqmzIQMB569MrGyfDPwmekcdOV3ej9+qUxQ8SADUMKELDTP79YWNBSQtgyAao1
cbSNEAdOoMdW61wftaVWYPtRn0GVBjbJsxknuLXlDgqmQGb+0xhuPagBMPSut7FwE1Uk7n9AZmFK
csLNdvQ69kRDHbgrTRczdRvbE1AByfJj8RX50dFycEgiE5vvSeTpNbvUlhz72q9YuEVNs8IiHoZe
B3Tw7OsNBU5DAJw4h4mvlzAxKI0OToCDre0wRVCVXbD754vrbZuznrMztUabSJQvQBe8G3NXfwo9
WD7XB3hhXsoULhhTdT6y8PlFu+qpaahc0i+yMRI1UrXjkAiH2DReerW/iyJ3rf50YdYQ+ECDyNtp
Qb5mVUmkNRX3p9TPjp4efq4NghWrQvdp8r1Zb5gccT7yRJhKePnL2yVAAeOkJGP0/GN+HPQNOn5H
uKOcXdkVp5AzZrq6wdDo7mPLgbWxlpJ5t/3P2p/NGAi+jZdNQaxxDHfTQQ3+ZltPwQMoStc/4Xu5
1ayt2UwpLIHUcEVbWiNTf1rvR/n3EPJkCx9jcERe8JgGviMBtGsB00CVcGqKqTxVJ3OG5WGI5j9K
ADmnu9CMV47B9+fS9ONe02EkqDXz9YJ9sRepSdxl1ZRarBwiRQhNbieUb2x7v8xbbT/Y6E/Xy0gX
R/+i0dnWlASmFqUDjUbxBy9vtvooYQP3YzT/66j0fw0MLU4zfcoPcVeS3zGRwS5bQYM572uByF8W
Neou2a29/9+t0mkQScuioJFxz5zHTbpGy8DdswvCr9qK4Ydk/NbrX0M52o2esrs+nd4tUNrC1HjS
PAJCRlP7duV0JTCjipI8PP4s2xfTXUsssQnWdKxrzUxn8sW8GGQd+mo7NSMinwvwOH1Ixa//s65M
v+GiDbWX0rjGlWTTQ10NMnkbmtVWG2P7ejPvL7IMGYGSiRutABCf38rxcWirhiziZvzRfKses61r
1xvtUUKMW+49ey3V9e66MtUmQNShNEkBiz3P1vd+o8cNRYMbSum6r/EQy58Mf/hxvVOLjRjoxTFf
hX0kza7KsljIOG0ws5scqw6eh96NWDTRyvGzMAsoOFCBvhoWLOz5AxcLwzyOmulgDQ/a8MlTPunh
yg40XbRnJwEGxDgJ8TijhfkJZ5Y1NijZdDHGT0DUhRPCCiUe7ZwzCDnlqQuj/fWhe7/7TOuGY4ci
AGJoymzoEtUvcjGoiKNKBFKbaOdpLRUNit2HK/nc9x+JGm48dS1gyyoyhFmhk9SaBQ9S+lZOSYbG
/wwbaaUzS01QJw5MmZethgfY2zUUilqQBTmRx8AYIO+le8R+KzvONB5vvxCT7KKJ6SdcLFMJ30Mx
1mmiD7St2nxTBRTXAE8KyF5y5lz/OO9r+ggyX7Y22xQsHHXQ4tBadyqb/f8m7bx2JDeWLfpFBOjN
K4vlerp7Znq8XohxoveeX39XtoBzqlhE8YyuBAgC+iEqk5mRYXbsnX8UkQHsgh/jL8lj9eijuwvB
SnDYGkm+PenXZsWhuVjkCNlxMQmzCcGWHaQ7ZVJ3ib1ViLj9XARWNn0z3iTQS9ZidSj7Ot3ol6wu
ycd9hFzLQ21bW3wZt1a4Tpw6IdchBAEW0U2Zlk6pQW/KaJTmQZxESJ5teIaVwAEpEFrdlH8tGMSX
pBVdrxlJ2jM9VqQMBUKwN0DuWkkkmpFCoSA9DEXu6XIdEloVB12K39rDr4Guie1ABQdv8v1zc7tk
fg7JFLBobjUI6evvl88wW1lmRMdLfgSv7Cl2unUyxW29vgfXJhbfLhjqvKyAvLu6BIyJYzIhb9So
AVUr6zNcdkfFiaFva5/s7vP/b3GLw1nWYDMhFeXUoLuDshy6r1uzwLdumMXh69Gz0nlUluCovrQ1
axxCnKItHSAI3mm+8wT5IAnxxPwnKFdta0Tw9soJk2gr8Hwx02IvvCOiRF0diP2M5KepgdXQfxvW
3+/v3OqyhL6j8PPoQC5sjHmiWA5sACBAOm2fBeVPC6yi2RauFDzFPjRhTtdv+MvboNOwSUMFCESE
hMbifanJdqJ+rERruXIDiOOGsXwblIIt2X6ieHiOYLWWR2XD7CuKbHE+sYsMEAkVaPZXKN+FC8uR
wY7gtucTasbzDKyunwKYf1/K9kML5Lsik8rRzBiUeuMNEsfvxjD6kzg0oSzxOsR1YZh+ud84dUb5
GLrsY+UUuUsZzfBqrW/3oaX0GxnVLYAYhhHwZf8xuLiJ8xjYCMbie5gKmw6pc1S6o6CvcPbJY3KG
RDK1UX0zv6Yv2S9tL5Tf/vy5uP4Fixs5z01T1SG/AADablA/dOYHc9iafrttsy3WuThJsJnPTc8Q
CXUNNBA82jUPzl6gBlQvP261vW5RRcIaykugYYC73kBr27gJot5AEavoPknWz1RPHiiL7kbNdhHL
3ecK0pb9L3l49ud244veniAqVBSq0Auk66YtQzIFsn8jdTTDjVIZrWTSmrM5muNLhkzCIQ6ycKPc
p936BTGJBoCfAjowcHm5s7JgHex1+C8BRVoHKM7MnWI+yEjH6V7xEH7I4Tx0edlGWBD0c/AE7zVw
F/9d9BcA7sNEGznzZOZG0vcqfIww9TW7uaDIRK0iOMTah8na2KKVzyMkBsW8wSvmcRnxZ5EmRz7i
D7iTCSVw3sB8l8et/LNVJJlDEauuQ9wCITsKbar2fYhVZ+ORXcmkrgOLRbRZZSHTKjOBhX4cobCH
o5qaHzCPymseIVqekCXfnDm9PRvYFHk1B5NgY1nHhC495sABDB6nd3Ycu4EBmrg13UD942j9ytBy
VpBdL0kjdc1lrORFCdp3VZ9vYJBvnzxhwiR5J14Xbd/rKKUsJs0qcWvurEfyWxuUznGy9PSD0eXR
/v7LdxsQXR8XcQMunLKeQIaZDRwXo7WQkg9gl92Azi2EeUF/od8i07NmDBjSaEgrr03ko23GeWGi
e7lXDsrHvHT1T/qDvssP9hkysV13zrw+dRn+xweHDxNzl8etKbLbx5bfQBxBJIE63Y2KUj23etWO
XGS/MNtjUROAVt0EV4UUqNTPIvucyNxJKfdpf6hKeLq/y7eHE/PEvzplbrKvZfZq1G2D+AZTFxqj
a+cwGLtDZ4LIVAKl87pSGv/8BjJMQjjDdls46eUJkjulrUPIu7mBzffeOQtpJYj3Dnn1iq36Fz1u
PjIVYaC7eGem6BZHtiE9FxTkJiUAE9mInEk1run5/jbeHlbKGEjQajpVYVo8i4SFZyGOrJlQUNbq
s6xpb/NuS25rzXeBaeJtIWsxmX1elJzBirezXYog+qF9VPczUKrG80/TQfXivb9TNpZ0ezBZkkqC
xHysGDISf7+4f2051p2kEBRZJQGQXigzXedGO44SYLFcfZCT5Fwm7WM8jcnGUyEer+t4DNOcECTS
qHsiwndtGrqKNlLznADUZ+y2SZT8NCO/gpfphuM41sVxqsItIO3qeh1ACghKMdq1PJix3lkZ9OGi
6lUdIB/ec4JfIpPMQUoA7vZq8s5Oo99FlH25f3Zuuz8my72wvPiwlBFHuJHYaf0JBYLdcIze/zPW
YX8VrAT/A+Dx9tZfW1wcV9+KaxquWPQ/OZ1bnstD6GkglBGewtsJMoQYytLiR/RjY6m3YYswTKgk
RPAAzy3CFito1JrGDGc4yI4GUpUu4xbxl9zWoKlxFFKLLkRnvhp+zAYKyEZYPQzIJLoSc9KuZo5P
ji/F9DiQCazH7mtY2++oUtcbD8NKbUBkPgYdQf7DiOvii0DuwfirxlnIpYMyHNOzcaC186lXT0O3
p8k6wWU8nSb0qYaNo7/mSC4tL76MEckobPVYtsdup4XIDuVf73+DleTjenGL2zX1Sd9UMibgXs+O
/hG039Haha1b76Hi3pduy9NXusEOoXKvO22xf6yEEFd7uyh0KGZZ+pPO2eu7piTRySq3Vyrp0ETO
xl6upB+s1EEBkYwAGpXXxtaFC+sSZ5TkShzzJ+XAGT8g9fGKImZQabc1MPwavy691oW1Zare5UoU
2AXW2q+WKyCNypvyMH6kpEJ4adWuGjFQqJ6cd1tUBmtnhuCBCTdLsAHb4rZfLBPayiZKbWoEAdB/
0HoIkG6EfWu+8dLC4tr6yCuUTUYeJ8TsRRuqO4Sn7GCd7x/NLTOLkA8O9A7VsFczAvOaHMX40Db8
dPVLXS5H/I6LDRvTZOzaCjvVfj6o+/QQScAxWyKv2BWskQVcZMa7fgDGc2i3gPsr7VRAE//9XMuH
pjBDPQw6rDcP3T44Nce42cFfaz3rXufphzRz44cQjtnRaw/VF+vj/T3eWvwSsam0Wum/fkvlQxfu
hO/3z+hpjS/ll9ZFmIspwvJJOstQlG183pUM8HrlC+dWp+jDzwEr14/638PRPivH4qztzDfbiPo1
L3O5yQsnl0ah0yDwxtWvPivJ32l6lPOtV0L83OWFv7Sx8GRzHdBhjLDReo0gsxP0o9ZTzwHqj5K3
hde4hYoSJlyaE0u+OLVmoSEr3rzuXnRKvflH7sVecjSOwTkrdoIa13nIDkB8p8IzP90/NWsBg83Q
so70Kkic13LEhe0uVoO27Ik9R7W2UDzuigNqJ98KA7G+xrQS77651QeYUaBXwn3GIJdBu4OEROrL
2Is+18h9VLuh2imeINKrPEkoT0GaxCDGZhdlNRa7NLx4+fPcUVEqwrCQEjMOxleBJRBjIHB058ox
flH205utHHD1sNJjsw1RwNKXNJJSp0WVlfNlEWxxaZHtO+nThFLo/U1ds+LwCelPQX11A1kZefi7
BhVd1x6UY1dIno7IaOxstRlWjgrNIVhWdXJKsEyLW9EwQ51LI6+RNaKbFxkDSZciDY9JL/lPdZSp
G1j+VXuABCktQQV8k6dM42SkRc+yJlN/V1WyF1TjEU0etwqDjeR1zRTCMGgukRLBPbw4HPbM5LoG
0ZzbV/VDjNKSnpy1KoRV6/f9T7USJlMfpg5OhMwgrbHYQ0ibaVcqseHqDSOLQS6d6GSErh0bR/zN
ExpvDTPnxmZPbGWBiCuDUiSTZVT+ZrSly6Z8cjr6bo9MgZzlfbIPD/kbw2LYazjYX2PSka7ZbbGR
rJxMijAKEAcWzLFZ7KuvO3bbWZjt0VdxHDQWm49h/O7+noo9W3hr6gCMP7NALsEyn5WrSQprUKBu
rcqfO2lAVkvFt9w3shZygp7WQGpAcUTisIiUynFM5Q4UvGu+n5lLxlVRbW0exdjYNo3v2ufieCA3
KHh4SCGvX4Q4bpraak3NLdTsKwT8Lu77UKTybiw3GdfEg3mzfbbuMFBiC5TDYmHdZMtZ12MLhpr3
/rFxU895bg49LJzo42wybK9upAY3JcmQyX+XVdNe6to46QbNtaLSeeyRGHgIpAKRRiZDux9moNE0
IYk/abIvvx/sKXwJYQKGQ1ZFRbgSUlEbX3ZtA5hNJW8FKUzxc7HZPYptEmByUTqOTiNYH9DPgoV0
OE8f9B/p7s877UBWqJHBnEFdD9zP9cd14K9qjIgNTx1EAiVlag5QEpk/7i9r7epplFhMlRoVr8Ii
FC6jyc9QUtVcQ5/tr5VZ2w+4ABL0YKiKjS28vYEIxsO9SP5PW19fJkhObztxnKnYGiZzn8GQ4Umg
pTZyFXEQrw8qViiP0QLGhdEeud43tdDqyRQlflnP+wDueyd8Yvx2+D4qXf3cUS08NPaUbFhd20cc
FxEaU2VU+henw5Kcqk99ivxaML+X++ZhUlPKyUby7c+/F0UJslkeV7BgIia9CMTMyWmnDroTd2oR
mMyUsvbark0eJ7PeqBOsrQhhYLJn4j3c8mJFdgUHipo38JnMObD4nxEY70TeKvVtWREu7mI9I55r
RneOa45OdxTzBMjZ3pK2xrFXzTChRuEJzAqA0WszCLUXYVS2tEb0HCnx2J2mdyayAX/+cUAf/MfK
4tmeNasdNIctY6L5kYmdn1qqP6coG/4LMybspaI6pRIlXC/GLlLLqnAKLvOVu9zWTxQAzkOwJUGw
9rpQaUZECWgbw0eLbNxGtbCBzprrqvnv2sLfSXb/Hfngx6TsjvdXtGrKoegK0gF6uxssjkkX2nQw
hUzbl0pDMDQxg3an+MPj0Iz7+8bWkgtap6BmqfOvNGupJ49IUPFGI0hXJ8xcN+o+1/oSoAMqge4c
ByWKQ/r4pFFnfIQ9OfTirvo+54H+qUR8wkGepPFbl3ZD4Mmjqm34ktfTuHRhgl7MBMwCaYW8uOTB
EKS2zMz9a9u8P0+fBOXnuLPd+I162sYC3EabImDXET5hBtWgQ3h9nmK9nplAx6eA0Nm1venGju1F
ukrFitEO9cXQvmx8AXHdbhZ4YXHhWwIlkJWywaL8UGe7f3oZ48MAaZp5yN8zh75xY1aiCZYoBnBp
WlLhXwZ/XY2AZRrKGoQxrRecuqN5ls+CZC/db2fqt87mytiSLUmypszWSk5zMbTf6syEcqrVnhOl
9za28fbasBpxYegqUxxYejUAp3Prlzw6/+h/obuUEEK72ZEKrr2Dk3YX7ps3xrAZna0bhiGGmWXR
uRR/v/Da/lhnGdLQGn1s/ymTmvf1OD2Le+02rf/h/ipvbdE0h8pC4PQE0mFxViQkjrSRhqJbJ9Yv
Rqz+0rrp5xAVf4/g8+6buv1wGCELF2ArMsll8D4G0jzmBh+uG4a/otn/VFWd786OsjVScRujEATx
hKMkSJZw0+DKa7kMq2lkTYpCl/VZLV76+rHJCwD4GwHeqikaLjZvuQbl3CLAi2MlmrMpYMwnkt5J
7fCNHt5PUw6eTfzaISxaw72/iWsGUVBSRSjEfP3ye0UW/GqdInHVtMxLC5LlUKHkAE+T9sbcBN6s
FWwoatC9F/A42HyFq7k4ilJcJ20JTJo7MP2dma5VuLkX7G2v3bfpw/+Wd62dE66cIggT0FLUF/45
K7RikjKWGOY2MmcTrULjkA3t/v5O3pqhqCHyOwGEFSp/10tT00lJMsTDUfCsn1vIhsnvfCIkCcXi
+5aEh1/6YyS/eOdlAUOwF0+9FhlmJxncZ1tqf0QZ4hj9sAWRWluNYByl/kSdi+f3ejXKgCSn33C5
MieYwcJov9GRRpcK2qaNa3x7AvG/OEaGGAw68ssjn/tErZournEQ7uLoGBnPUV/t0jlD3nmjqrBq
SxSeRLWLeS+x6ovjV41+NyiK8PVt8Klz6ofaUEIPje9jNqBMFTn1sLG6FdQKy4PkBJ5MFbjwkqWL
lLFAJLnXQK1M+3DnfJlSF1jytLffo2ePUJu0t3bJEXWTfRF5EY8sYuZH818cTjEyCzuocMzLkSHd
aaRaRxDV1UvnZDcFI86Bl83DRpF99dSIeyaqe4Ly4Xp/6VQMlVwJTxn0ym6Sx/rRrGfm7cp8/Hj/
EghPuLwEOly4ZDyvVYfFAa2jRovUeNIE0TAUKP45OjPVf9xqcq2emAszC+dRVU0e2AnvWRbK8l6N
bQZLJysFnjJSs9TVD4gqb929VZsCB+NQvNE5Pde7mNdZBBMwEW8E6eAJOHO886OgcpPa7Jlhsxt3
VIqX+9u55lMug9jFdiYpxHH4Rw5INbUHHFexG9VB3Zi+WRm3oPylg7xkVgBq7GUBoyqmXkpMvprA
cGWURffBw9DRyFJ2iNZ7wYdwL7tbc/4rp/LSqLHAFM2J1IP441RGY+Zmfc8kzltb31jaynm8MrLY
QKmkTxENrKzO0E22H0J5RC47PZtB/WPWqiMV+GeYMTesrqCwrzZ0OXsRS5UfTzZrS8/Vc0ev9+e8
4/nZ5hza2sTFoRycMc9sHUOAyn/6KKl78m/wwUJkYOagAkIRYg5bZbXbcJLlEd45dJeAzt+U8RIq
Jb6C3/L7Gq4jqfhgoDy+0wa1RGk2/Xn/EqwfT2hvQe6Tat6M7oWqM+hUajgpf+ePKN15BlROWr3r
5Z1qwRtCs/mQHinn61s3Y3V76dnRGRHP7jKntv2qjfUePzNlYwCZaRuf63qOzkiIb/VFVq46d49x
aJDPlL6We+ok/TBHPlc9iobn1Eg/11qxsZFrl4FLrkNLAvIUHb1rD6Y2zojnzET1VbTM/1dogCpu
7uIRIND6rx2x1Iv3vI38Gb4E7Ahmymjft6782waIZpya3lMrNz5Eu5aad9c+tSkaYvAd0bx3zQ3n
uXZKBQ2iSkURRPnSq9FegPVTSTQ3DjqG72IvViaPXtGeA73bOKJrX+/C1tKZTeFg6kmDLSFRE6vP
iYOCp+3RjTzM0a4ajoW236YfWGlnU2347xKNhXtLkPqgLYjZ/qAdJCiWsk85zbt9/WbcZby8enao
5Z2PqN+XTPyATbyOMLD81Jc/YPEQq0qpTVnNDxDUVf1ZuDrGbHbDeRtxsrbFsGWQoPBS8f4ukrAi
bDXw2CU5UWA8zV3tBUHgbXzGteU48JmJ0jrv4DJ59dM5sYOEquA/y9GAz9DqdbuzetoaF19zLcy8
ihiUjgH9metL4oeh3xiVcGq++dRE83OhyW+AiW5cglXnKUTExCwS7/sylXRGNQm1TMSYXHr4/BPg
B/vyR0lkOx5r2zNPwyn/Kse7rQrrWr2IHqhwarDTkamLHbhwA5OTZ1EuKrlpSqBdED0B8ICWVNLG
5EvcNu1fPBqQX1uV5TXMzbpjHf9O2sD/oMKUutHhXilY2le/ZlFuMQrZbhSAO24OuYG5ix7E8Gq8
V8/gKD1ig30lu03haR83jtTKd2bXUUZnDJMRSUeElRe74BQmTRpSVMhRpr06evHgRmTWcB8/1m7z
oXR21Vtp84VeuSyC9JOKJKM0t422wOJO2jLCy73xS8srb4js4/2FrXhXAT5XIXEUte3le9UEs6JO
Q2+4ZTRKXxrJUn5KA1BOSZv1sxLWW1wEKyvCCFkSl4Zb8/p9L/axqqOua5oJTtEYeplmrM03WVOZ
G5HbqhXw2gpzBIwzLG/LxHCGJTF15oZtU3+sZr0+JV04nO7v3UqxWOCAKEuLoUSysuszkaehNJrh
CDQhGotdoKBaEPu99tg2le2qTlifGB6kA+JbWyS0a18NDLAA2FPJvVF9nq168DtVwr11w89Q6bOD
EjM8pM2An+xJ2rh0K2dfpNnU8MErGxSQrtdpjU2kpyiv0sOLdzqFBMnODqm9YWWt1H9lRnzUi6OR
IU9aSy1mxp+9B6zrIO1+1nvpaUIGeLvSv1Its6/MLfyajNhM7XeY6/2H6HN5FtS6/iGwTvF3hHJf
JfC2Au6VyO2fKjVjuVQsltWYoUmhjvYD0+W1bT8hJZBBYjfVnlz26XPom/YnCGYybwxa7SQPzVZs
unJqaG9ToxCRFB3TxXeEIshBg4/KtG2NqauU1ldUzUo3bvwfoaFsjOWtfE4YW5mjEW8GDdqltTbo
pKywKgEJhCT+Haop6dvoKKTQq2/6m/D9JsGu+PnXQcy1wcX5UbJqzEsHg+kZ/cnv6m8xzWZ9EjLa
Zn38F4rHuObLBS4OUK1FTiir0JzXAMiVHH7d8M97tZjAh+Gbmdm+wanZEgNJaQDFAMCI9AuSms5X
w5/1mAGBed54CW59prDlMHPPi0OmtIhktHQq57xj+2Sp2WnZyeCM3PeXqxZo1MuUIoGgW4s3VFXr
GZ4+sVnwmXmW6icnI+2tDT9y661Yx4WVRQE3L7tYaQZgG1kYq+fOrKIzE4eZGyBbspEvrKRIwhYM
PQrTauoN4YkutL/0iu9TfpXeOm/Dd+nZP4bfBM+F7dX7RnXD5/Rz8rE583/blNK3F/ravPj7hcec
u4BIM8Z88rlk8gl8AlAcE+h0jCjKQ7u3XWOXwJe22UO8DbCvDS++ZCHX6RjpGK417U0bDW9tHld2
6qXJlUNFP7idwndxk0g7X5rcYpO3fgU4fv0DFh85mu2x0B1+gPxefUIArhi84JnBRWDAoUchanzp
fprWGdk7rz463taLuO7cePUFDJkXeJmDx4XRRqPdQQIfeO0j8w2uf24D1/+Q/g3oGf7HaosYb+3y
qGJmj7aBxtTpwnkrk5XUsdKC7ZyiXdoyDTNtsQzePk+0ti9MLBxoG3aNMkiY6A//jDaImQP1tMUz
ufrxLu0sHCdMUVYbaNiJz7D5TTuncIfnCiYnaxc/918EfFvbSZXbji4BTbA58L+6leD/4OATd3e5
laOelHoqKMX1KJn3cG/3Xqr15oY/XQkw2M4LM4vt9DPwg7ogfG/2o+c/VA9afQwP1s6CYj7zjORY
Pm0B49d8n6B4gpEKpjTi32uHAJMsjL8TXXDgCw1xKLw34Rg0pz7w/Y0J6zXfIwjSFEgjKaQv58La
aQQ3ItHtmYfaebQG51tny5FbkZ25uR3F3v23Y80cpIkoZwE4xNcuXqfAUCTfyACjT0N1QhZ052j0
dybOzPT+X1iiK0d9QpQQlq8UqmR2NKUsrMzkt4r0VTIZBEw6z1c3WT7W3ChUfRBKkQlBuLpwo1Fs
+mVcdqLCJpj6Xq8A4g6ixNNsvIqrp5EMjzaqUKq8YXc1a6IxVNz/aZUpH5sjjJov1g5hU7d7m31w
3m0WldbiMXBFlHlEhnLTe3TsstRpDvxThRGM3rlER87h/KseTBvymy3HIrZrGQBeGFyCTQanhQty
wKCm/5gT41Nn/+6ZWSc/RLXy+/1TsvoCADQW9QAGZW+6cZNaQHLrE8wI1SWdgRfAO+d6rzyg//XQ
udGX+/Zu2VmJNi/tLbyJpc+hamWENTLIEguGViit9knlFg90+B/n95PiyYeaPgEA5D0+s3WHN1uf
dM29XP6GheNOJCXSfcQK3NR/aOdHdCF3mW9u3PSVgtP1ShdRjdwFQG1sdla0sUQo5XvKS3LWD/LJ
8caNprXYtpszc/EZF1ew8i15bMRnbLPYq83SG5u/7n+5tU0TETwwaboPQGqufTKU731ix2KipXBC
L7Tah8aQTnG/CdlZO/4mVRVFqFRStl9ECFYdt1onmKVSRf5s1OoXR89frNT52STR31WzRb23+p2o
QADHcKhJkjxeL8zJbLUfYk0M4Vs/o1OFegq3YXK1V4D/1tO2euEAjzBxAiyDQtziSymWMbQdIxNE
J8EpGPfBiGALwhxnhKfnBwui4s26+NqnuzS5iDKTKEuhz8UkGvHmroydZifn1l/VFG9457XIS/T1
RbQA//KyuigpdQ2MQaK5oo7D19g0izddFWoPWdKE+3oelWPo06Kb9JzCS5dugb3WHldKcgDLGGZA
Bndx42YnamelwPwQ14eiRF6l/eZM5W52xtP9y7BmiekMVFSppcIxtQhQAins41FI0xboRbuFZBxL
K7Fc5LwP1RRupGdrn88Gl0FKC8kqM0TXBzRsnIGYAbVEu1OznRJFzjlT+hqU3qRvpLarpsDkgURB
xwW417UpAIm+YwwWM5ZJXJ9UrasPjJXlz7NTb/rHNZfFQ24rzCkIKunFPVdFLVqTQJPJD82zVHpw
ZYGIHTw7Y1qXce5jetxsAqy95UyeqHh/isQ0Ua/Xl5VqC2iWKazhlVW4IVbJkPtjmJvqSrmpari2
naISoRio4N5qXjnmSAcnGSC8CQbtefTj7NOUx5HnT36yBQhZuXs0b8AsQeEIDncZWQKjybJWBvsX
xU5JLpKEXqYk+zRCSjGTP/glTNKJk33vQ2fj1q9cBgbnKI9x8eCUWW7qVA/51BRwx6dK2bpR5vxq
fH9280EavVL1tz6iuvJAMMFAL4HEA1DisirulHI8ViofkfY3dNzh1+pFTV0jd3udWCI8/IzO1jE+
DY/opX+fPoZI4u6Sb4J4bTjn8i7bpINa+cykKQRPDuNJpGMLlw6kv+/Vjp6yPtkuKm5stASqD3nZ
rYHP1a0Gvw840iZjURceLqkGEyLfzHDnvMHvpP5fjhL/KJ32W4OozZ87A4DA0NfTmwZssARqkfPV
BWRK8BhlcgwxaJHsS6WAqpoo4HDfn674AoE5hpkYkB/SEAtfAMG7ITVZJeQHWuOdxZT3KTaGaAOF
v3ZwCCvEZB1twBtipjSvJamXWZBekDWkstvO4bkYDFBFCgCjZmvmc21VvIWC91DIIC4ji2mmgWIJ
7VmipR1Dca45fr6/b2vnAYpiaIoBU9/CNJS5mZFt4BnoIPZuFJQC68L/aqfNS5Vbx39hCzI8MN8q
dfAlSDHJpTbvEsodRi596K3wi6UOBeKRQURbT9si/1xdGW0pIM74tJtQwg/nJhZAXYDb8YMRZN/s
cvpVGzWogirdcGBr95fyJxEDT7ooU1+/ClVvxEhsYqttg+cJraHUqj8YdfPp/gaKMGsRo5OKK/gH
in7UWhduIm3mrGnBh7ltWf/KxgxfmfdewfTtGMQhFYGsdHO5+HLf6kqrmV2E+IZNtOnvL1fXgeSx
zcQnni7c6Hn63DDnKe3lDxFcHMaDsq8+/Jt5iWub4mZcVHTLsKXpFzgU/NMBxhRNfjGN8LOjxdL+
/urWjgkgGSopzHAzKy4+7YWhHjprPWsI3m01eEBIe5+lrSvZqTcM00alaO02X5oSP+XC1BipclOJ
KDpUs96FMPVNmW8Ogq0bwUExkUuEsuxR1l1XUm8wqClOiivpfxngOu/v2NphB3MFZltHHeVGiLCQ
1DKYo4CYxEAZXgp0ZqTKPoIJbNoKSVZNib6/GHslLF/cKz6O0TQ+90rr4qc6Ho9WZ7wF67jh1tfM
0KBDHURQqDH6ev1hinFgqos/4tbDo5OrvB/a597/c0Q9QytiyozC0yvg8NqMmYxKr0Qp4EZjfCsl
4aNTh1ud1ZXj/Aq/gXxYqCksEfVSqA257pD7VpGenUwZVnionfMm2k2JMcIgmMw/7h+HNYsgJ6nK
IH3JXMIi4jdDqdUmmcEHpxrOWTP9KnznrGsFAql5tFGkWPlQnDeaZuIj3QLMi8yIlD6GR8K05vCt
DLzJ0+xOOUPnLm88VqumUKEU7L8k9UtfG/XF1GgpjxUwArcaqCLF6odSUQ/3d2/luhLe04ImvKc6
uJwRnpt0CoqyoRVY+kygavaDZVfzn9/Y18kboIMIs91UXpChBmyWUK4qg2cVLiHVfjCsz3++EJqm
As8GzJmM7Ppw23BT+rB30W3sp2/Z7HxtcnUrnlzbLKAKNhSRzKM4y6QZ1Y5aLQRTnFH0TKCmLqSR
G1u1aoKRfv5hHoTM/HoZcVQnGTSjnLC6/50Y+Yui1P8CEACp+39tiN9w8Q5IuS7UsoSN97PqWof5
lOyU43Qon7tzS/Vmq2K0dpQR/kSVFtlYqioL99aPcWX2OfaAXTAJOE9P8iC9J8LYOAIi/FiEJ/RB
wMbwrxhRWthR0TRTJTHlpSnjByNuXuKSpTnpD3sePjbGtIFtWqvkkzNSCXMEfFJeHjlJNtAKFOQ1
opv/y06n+rnW9M7eZ9qkfJmgi4SeMh7Nk9mrsZdm0eCacQP9uz9IwVmdgm50rapO/0JvLNjfvw4r
e06FgN/FzBv3ewmHdJrebMaIvSgc+9gEw1MeFLOL0uXG07WCh+TKQXXDpDRTlzcfl9CzzduZuu20
6z1SZYTL8133lB0jpI70yJX+Hn4plVset07Vit8nGiR3gCNXJntYBKOA8eJJ7TrDVSmZpW5GRYsU
RWVMH4rYyk2rdKNkttYuJaaBC8lGgUSwLV7fG8fqI5jgsCgY51pUUd/Mw3O0z3bzCzTNnkjUm7eT
um8hMUQT/LgZ+Kwc8KsfoF7/gHTw4ajP+QFJV71FkTs5NWEs7eRATFvlpbZv5PZX7CRfJ4axyAVK
eDSz+mvcOxzEUFdpRqQ/0zg+dwHQlcQvvtS28zmS1dhtBjPcd2qYu+hP1F43heC7dTuHbN/Rn5Wp
/xw5uZe22ne56z7FU7DHgX1HafpZS4IvIxTbrlFihvk5yaVi9uD38TdS8u+tLXt5WryRm+LF6dJz
bhm7TmesKKjUn6qSftZzWTnmcxqB7NYdN+hIx9pE+aRl3Bx11D+L6AGeq/BtN7cbrvDmljBbCJ0E
7LXI1lALXZyhrswA1Fpk7Y3ff5Wj8UUvhrdanG0MjN18N8wI5h1YrmgH8BRef7dILQKzCojvJDtK
Y7CQsXzSg8I+z0ZTZ26qZequyhPpT8sfmMXrGkRiZPBMUF2bbZGkgEya52oum50/pV47prsWgvX7
rubmImJGuABm9ZkpQbzk2owxdn1o+6RnUwJb+vAwOo2rELTAcrKxoLVMkCqECoCFqVpG4hamgrIY
w9LnAgjBz7Txwl/6PvZ6t4j32pNz7J8dczd8yeQtuzcfEBfKsDLTaA5F+RvQtx8Z5aSK0qSwKxQZ
Q0TI3Mbgq+2SR9G6FRMzk7yDmRHJufv7e3NIX42bQNpZO03cRUhQOJFZFgpKnXIeutQ1XGSFXWn8
et/KqiPnJnBS8eaCaev6M6ptWOm1jrSl9jb0XcWzTqg9PulABZPz4LXP7V/DqdqHx/tmbw6PWNWF
VfXaamLESuqkWK1G5a2TyHtp/hCrhFaNtfFcr26jAO8xuKmJycJrS3U1jG2Ukjbmc3WW9Oxjp1bn
2DA2XMpKAGcThNA/ol5Bg2zRjJumNk5z0RRI1Nr+3sj+tIvqIXy5v21ri2FMn/xXocdxwx1R27mT
xXICrlqVeIhqRT7rcpQ8SFOaefdNrS7IhByZai3l8eXYQRhUXRoHmDKMxq2lmShu2DCxdggcisKC
DYNse/lp2snMqkRODdeZGt6lnG5KEf8ONeV9UoSf/sVyLCqAcGbhjZclzS7UW2BkLKcK36fdb58q
/P/LwHJ0Cf2mOBmgxXRT/bFuRlfJog2Hu/LxqfIJMnLyNc6a+PtF/G6i66GrM/ADPXGnUH1bB+1J
TdSNm7lS7GO4GZQbY6yEuUuur0kcr9SCvcA2/APxEACxb9KUeGWbPkUx3KWmvFGfWjaAoOAnc2OC
FMZgEU4u16XHRd7BcOA60vus6M9zYe7U/NNcTK48qIcw/t2U5sbXuuF/FUaZ/pfJSzl5NzrIcAxI
pdmSnAh0dPBGtNNK+Ou1fbi3N9a33NGlqaWvg+S2KwNMdY68U6R6Z2jJQzroj5FWPXR1/zIHW0jC
5VFZmlw4PcILuYwksmLDDFyZyKrsX5RyK9C4iYyXZoQPuTiRdVXlbVSwsumhGwTxrJQeKnSC0Ss2
Ib0AjhYHbvIu+6gSL76iEraQsK9F4Mvkb/kTFodnluO+R0iF1vlOwE9Rvt33iGZkT/o3+1eke/KZ
AY3vg6dgPtynu/ogv3E8wYloKa784u/Tr/ozycTmYNraqb48YML5XezNVFq12otsW0rH06ypp2qy
geeFwK6m4m0Eh5UTjC9zPW041S27i1hpTCwliSrsimwFcPAJmvG9ftqiDlg+D8t9X8S2OhRC/hxi
piFKN/3E3ZzueS113fu0iyc1RKyZMyxMPPSHYQ+NueIWv8XMF2DjnXmKX/7hhVf+sNonlkZlzBDJ
AQXnZeBVh0wpFyE9ACnpk4MjdeY+sVoFKqog3N9/NG5ANa+2ePlEc4rgZNmbciqIcmzR4xh2o5e8
ZPtiJ+3SN43n0Nf3A3cre15xDNRIXqdCqC/eNNtjvUocR3y2vK9/ZkXwtZEgvUdR8LyxsOXbzsIo
xiHcCi5IpW62+HjsHFwL5cQxfIxe5N0wuwIZrntwY8J2en749D+JSawc/kur1qIoTJesivUEqwNV
CSlyk+/olweE7P/H3JVsx41j2V+pk3tmcwTJPl214BCTFArZGu0Nj2xJ4AyQ4Pz1faGsypIYbLGc
q95lHlkCMT+8dwefhjAO8azas+DC5fMn6mfBeLE2vAtH/Yf2Z8G0qNLOSUu0r35Xoruy7LZ23fg1
v3DEFJRus3JXLw4yEobQEUSZ4Kx+36mwYdHsATsEou0JI142fHOiu8RJNyvTKS+M2V5Egk0F+Qz1
FyAlZqeKAsYSylXoGBAooUo8WCXvIMYwSmGE+vgfOBgszSTy7agnYAeCqzU711F0h9aKJtfPnu56
hFOlZz/EKPxBYzzzdMVrDtXe3HUq97KNkgWQPnb3a4iNpe0pC59/fsXsEO9TwJ4TFQMsbTdMOGEK
XyqtwhZs117nh/7BaFaO7zckxHyk3zc5G2lV6+uBwZUChgBIbxGYYhiBfTHtom23h4xnDnuUxsu9
9Kt4PjBwS8B/hT9U2J7WCVZn8j5yE7//ltkhD1RaXiiDXF9jWN0DqxJzz3oE6xeQUKSRvcgbXhV4
2l+SS/dL5Km35MLuvTWI6FKs9uEzZmdJFHEdXgyTXAvJTn+hIcyvwDbGdapemCvB2pkWwKzPxuwI
YbxqgJxGY8OGHMRrrnvsCtJNUNgtd+NjATecUPMtXxqSrJ0eZ4jOeduz44O0MXT0crT9B28e9128
aTxrq0OPzVvXbF4bWGMWmeIt68LoAu2Z2/y6CIstD9U3U5I4XIsXlk7Gd0tpXszPhG3HujxAmhJK
Q8LmXkfIDRRzXt3G/dLlEAcZunrNwuYsczQf0XmEWkP1rbLRrFR2KGmQXEjBjsFPn+IdAsKDNnj1
cU2SZykufr9gjdnhVXeKFr3NY/IKJ0ExhZbu0YtTtY1weOiPBpgoG+3VetUDQOrWL/mzCsW817Nj
q61jIhKGeWWv8a05gadPQzeEaqfhT7lXw24xCdbOypUD25idWw0lUI6T55YJySo5yKDf/QX5ij+6
BsgzEJgAD82xXYRnU51r6Fop0MBUQfZordy3FCOBH/lnE7M1w8Ysq2gqUTXDTZvScKCP8aSuPOZ1
eY58OOelTy/yRECpoTx2VseoOjh38x5ecHWgbUApQ3wZDOB9SQukxFc3zibbFPt8gvkRXNV/WdkA
maoPzc+O9iKuYU7sonm7eYjL0u+6Zi1mOHsioAnQu0CyQi0b6OrZLnBFQ6a8h71eDf8YDUIu0d69
6i4y0MtAa7vQen8NhXC+3WdNzhb+mJl1M3VvTbYgaBCc29E3ukWgEmCvbaLwP1CHPwuNZm3OFj7P
RC9IhTbJMXuaEqRQ8Qj1G0+F/EBYbyN/9T5cG9jZ3ClWEsHDXtoI+iT2Y91zDu02Bnuv6QMsmSv1
LziHyvXyfjJnd7BSOVmOMhJB1SL17MwI4CoY5DApKuy1WZSTNN8ZqLMDFAMSGAK92S1oAQA/sg7R
LHOzXVYlim9Ta4SgU7exaBV+HtmexzjoGGoKEEwEuE36iH58pxd2oulwukRIexlvpXitGtYB2eo+
8v0nGWvROjCuWIIYSw+Ufeoru+nb599wfl5//IY5ccrMDSuPnbdlC7PeVyOQTLSRe8Ue4O5t+f2v
bX8U5aFU6urgPcyrqK1ZMd3NMcZpbwVm/q1E8fLzTs1PUbjzoN6H3Bo0rBZqJ7pWtEkH1KxX5YPm
VX16Z7HxriDZz8/bmW+Gt3ZAMsALCHVFoFk+zh+qTcrE4cnnoc4+3lVGxPZdpGQrh9lib6BaCPEN
KMGcCV2WJq/tzoByBNFKK4Tso3FsTcjrp+6ordwMSx3CU0taxwOZjqrFxw7ZudVw1S0tD04y127f
3UD4d//5mC0UfRywQP7dxuycVN0upk6B2lJ82f00j1nql3s91Hb2lRNtxm/aVt/wg7JfC67nO1vO
lbTvhKoxgoGzzAqHcya3GequHbwVg7autsQqgeAyxT2NjeDzTi5NmWR92SBGAA0+5321kesMpkTb
iwgg1bZKH5yS/IB350rlZ7FT0AcC2gPQIOCpPs6XMwmn0iYXQXt/QVXtYBBIPqqJH4l4ZdqWegRo
B8C+sDxGCUjeRO9SivEwQGtgQr0kFSwP7aS4bhWMo2uIlaFb6hJquqh7gjQHsP5sCSp6VFQsmmAu
qVWv1DYfS1FFMIs2w4SvrcWlTgFKA3wFKGUonc1O+96hXe4MqATWXf5zMqwWyvfuHZGVlF9fD4jp
IDqDSwWOn7ODgvQpryCij1yvKN2gMKYOZJOJXRScrcoTyDl/f4XJhS4RyzBmQu0YKJWPM5W7nJdp
BP5MtxlDI2DbKd6ovRcNWzPoQohCBKPq5ShzUI82uEJXunr2AHlrH2k3ufxRYJtPYEFbMfY42t/y
YOY9ACE9EB1fbOoR9qanBz3ewBR+m/mF4yWZn5xWH7Ny4s7G4N03zM4YJTNTc0rwDTL8I/di2+ys
rXIQp/XbbGm9AqH+Z3dnwx1VMasU2d0uu1WV+trQuGc7eOnofPf5Ijq7qt9GFgi9N+8YE6S9jzOb
wfhnquTM2idlI2sOYCltkjuNIicjy0dN5bUrbS727l2Tsx0iStTHaoImm4mBFW/AUw+2cNql6qhs
r1j9Cl/2Ldo4m7h37c2yAhXoJkZjob10z762224npQjZtb5beycv3HSo/ALqihMNRgjzre+M+pil
GvSQ+Kg0p6Eoi0ujcKNfP8yA3oDOqsTFnSNqpzqdmtqBVpdGDbGLymoKXDNmYRWpza4G4Wklg7Qw
Xa4GF3MYqUtc3JzPZvUg6jQ52mNuPXqOCkZuRYqjltiXTEEE8fmCXDg+YSUGOACg96ifzk813sW9
mSDjj/L5SC5Txew2LcgaO73QkvDzppZOFSkkgAwwXq0gcs1O0KwohxwwcxOq1Ki1XWo7nVwq0Jba
dYf4ij9FMq+wqUs/PlrfkletXWl/qauofGNZA78EM93Z9cfcqrAhKonVOF1PnIQqbKLh7/cXBvR9
K3LRvrtkC3MEiXtCK139yJFbmHgK4Obz50O5tPLfNyK7+q4RgFKaGr5QiBmqL3rEQxDMVlb92mDN
Tt8epjAMEStw5PADoPkVa7611rTSiJzw2UmBqBsPJwCWpdLnbEF05RQV4CZhrOA373ckU05RXedP
CgrrRz5GnW9WeXpZaI0a0rrT/sKCINAyRg0fcAhsuo+jaHec9EwFf7PSi9NkFFv4gCLHtRahLG1o
vBEhqy/psGelCJ4Nsj/AJ1hQlbJDq3d9wJ43lkgfPl8VS3MGmKkL3RgDQdd8gZeOlsNTC8OpVPxG
1BD7yxXupyjVraxxCLYszJz0sgMTHPyjM4ZfU7tlw1pAE/uhH/GmZTgbA1g8qFpA0waSQMmo70eN
0asKUKMb0TRASeCpf5HWQ3zlNLaKSpqK+2dwGZwT1ERoegjrruG5bgbnGiAc/dEZI4V5sdXzUwqp
Ao8xQXYOV/PHxOUQUMWVpoaQkFWGMANr6CsAvU7qsaoqnioz02EnUOR2qLVVe+BZQq+cVNHCoRmU
kGpD9YUUo/MQEWG/OOlgHCsAbmxfSYz82jAdJA26PoOgd5xOw72Tkaz1DDZE12mtl7siN9zH3FIh
gxkNTnQ98m4KFcVNgCfOQeDzMlaaRmimJPkKW7hsY7A8PfScJcdGj5Wvw8DdvZWnjaflrb0FhQIQ
vTbLm2fmlOUtTsmk8Xp1KCMfEpXOtcQePbk5GCOpbiKV36Y9vTPVzj5qYsIlhF5cVkOSXIzUYvhp
NTLcHkNy0Kec75WodV6jikze2I7sR5TH4yFte/UitnHkQ75G9xnB9FmVqiAt45YXZqaKi7gukWgD
exrIFuEiIILZa0iYc2OMfe0XLWdeQ53uEbU9614lfRnCY23yWtZCpAYiiUUVaGWzalW8tPIA9pLM
yDd94NmZ4UB/gCcJnrfG1JqXqa1OL63b5T6lzZrYwVJTcBBB/Q5QH5wSs6amkuTu2KEpk4uL0owv
G9sO9U6/+XzbvtUi58cgsOEgBwEzAC7SLEBrxrHWphwwUZp7bAz5vgjTzcDD+EbGThIjnu+6EJn/
a6zvxmuDKWy2OkwB7rIf7NeDRff9t8yCNyzkJJkqfAueiEeI14Z5/NDSZz50K2fI0qmIHB1eUkAA
o/g8C4QhH6slTL7b4oK1h5jZygWd1H6vZEXsxW7/ujLI8jA/G+R37c0GGWE96YWK9qQCQgPfs5Nz
4KfBI3vljhfe9CWygVgdA4nITVP4letbcUi3a8DVpdSJFGH9s9+zAa5yt9MVQ75XA0gN+sYFtv7w
4EB6qAuTZwoFZFpC597jK3ftUsgA3W5gUnA7nBvTIpPXADuGx38llENtZgfXUFYi//MmoKiHdB28
AZDqOgOjpEmP40yDLps2Qe+1gCqc+ePzWTx/F0N3BLh0wOFljDyHEZAsVXW7QQu68tBmP3EZ+AQp
c9D2vEhfY3GelXLfVE4k+Uja1+HulufDuygr1oYEvLT+DzSICYGvvg2qwTPv9Jdob6PGEl9AcyVp
vTwL7G9r0LTz0wd9lQx6lAKlPeZswWpZHNnliL5GuQcHZYhWP3exsbILl/v4rpXZclQj2+65nDMR
wucnpABSe3q56btjg5NH88nGPeobuSmq5rpMVgjoC29FEKDkSY5slCT/zjqZDFBXYDFCFjw/ktQv
dDV+SAuHHrrKmL4Kvbf3VNPjrTrW+k3hwjXBjyK6lldceJUDOApNNcjugXcP/PXHmS6zLtLM0pbF
R7ozSk9/Kb/lGxdnbn7VTR5RfHpao+UsPIc+NjorwyTc0qaiQ6P2TXfp/tBir/86HuONcQV2TeYD
wbHPw5TeFChg9OF/ABdYWmEgdktmBJiwyH3Pep1nHV5p+IBYvF060bfkmGyx3AMtdE5jYO7WUy1n
JTa5qd43Ouu1qVeiGio0Khdc7PObog2gemGmMKYffKlXSbXMo6e17XR+33xsd3aZV62mDAXMQYF1
YtU2Hmw4gieVAdNRu3qIIyiirmytpdMQj0wTbGYs8TOT5QK0cqWr0eDkRDDm3Olx/8tHOrr0rgXZ
5XfnUx7HKeBWBLgWIUVgIhpUafzt8xN3rRezNWLlQ59XqAQhyU6RDwN0CsSgz5tYnJl33ZitiCIp
iiqXAxWX7dG1xj3ne41ESLjk2S/nVj6O2GwRJFqTFwjCQMw3i7vJVQ+JdlGPwsaiWEOlL/cKxHKk
OoCvm2sAmLE+FjEcNDwWdUeDPGETgpPtBnBsXVkGZ7Cfty0FavG/mpJz+G4dZA3R4UGHpmQ+EZUD
DnBd57N98azdraN+llbEm2wVkO+gp83vJW70tSANxhAvg9NE4+vRppvPV8RaE7NLqRqJMTkxmhAc
Mh1JfZiStbrtYhOYlTcta7yYZytB762oG3okKUuSTLccBYq9k6cIPT/vyUK4h2qVJLraKBkAiDib
m7GmRkSnXh53xkYPO90fn3JANOgh2aIAHxh3PNmtc6fP4CFYE7hTwZomJgrhZzoA2qCzaXQ7pFaG
jazNWT+YLPGHdh4Wl/YW+t3tY7WHGt1We44vrW/ZmuXyYs9xqSN/gwvePqM5uyj42yzi2NaXA8BT
gCbf4f2dHPCyBgBbC0XjQ0B3bzyvjPjSrQaJrH/N7PxhEeWgLRsCM6seuj3lvnqsttJCM7+qr9KL
4aju6KlaiWOW2oQCLGR70FHA1GYLVlcj8NVKpAMAtKXHtm21DS8zM0QZSqyUC5cWLmpDwMOA1Qc2
z2zhovBO6rxE6VV3IbxHhHJy8n6F8/YWR398LLlQpfqzEXP2OGOTwlDWAxsNzE/lhhzBRhuLsH+d
AuEz1KCK6ktm7+QsrhO0F4Ox943PYsJa5PDqSNFDHGfDA/CrOwmjiJ+c3Ofldgyk1sAa+mzptEak
g8Q00hgAc8gJfneE5llupmWFYi8sOB4Llp4mooWGqsAnfliDayzOoHwDQngWPobzmDcqMH2KgpeY
RiuyhSplvIe/mb6yD5aWJB4QYNljK+CCnq0TvUj0LGN4Zw5VNuzdps0Cxsd2Pw1iDXCz2BQKWrA3
Qhr1jA5dsirPJwV5ktpM210+8e5B8Ky8SEqnXMmVLDaFmAaYEwk/mMNAh6SPp1SmSjSVtpAQJd9S
cADD2rbXfI0XW5IkNlmCRRA1W4WQYi6I3lNsaST0Nq2FRJvndjzbNEMFYPXnh9bCkgDIwJIaeogX
cZN/XH6uE7ulWuIxmdLG2hexZYdq4eTh560sxd6aCk1syAfiRQtxrI/NQJ0QCkEEE9X7qm/AlUjc
Ihlt7QoIQaqbtH4RnS+dU9YqkIYcrNl5giQPhhIXAiqD89sWRNZEaSfI9xU06y6VxNUP5gjHQKet
vEEQ4JQZfB68YjQBKATH6WRxoeyYNmQ/9DKJjprKKRC/JnRAoBI0eJndi8diAlesiu3KZ1Q410ba
0lNrZfGtOtXlTof4a6CISgumpCCOxy0d5TRl6qk/DJna+bQzkz1nxui3GOtfZrcjAfKux/NbqCui
ZNAcDDXSvL032owGukOftHq4FoPd+5/PrFwf8/GVxFToiUj76Dlln5nUGacR26IC8OOprhw9iC2t
TKCU6BbbNIOMYWWj3NWQ0j5YZqesIgbO02vQdUcVB9RYPKHPAE7MKrqcDohxpbrvG9Gqvuh8cck2
NPPrLRge28+7vHRHSS1DiIdAnBlDPdugzBaJ1k9vshrKaQpIcqyuhD9hMUv4K01CF/QHpNJus82a
UPniRoIPD5RppXDBmRUmd2D2Zckk3h9u9XkwXJabDLvI2gK07Odf1sPupShfev/82ebsmZRwO1F4
gv6Oh/xWD6ed6wMAv5dEpH63dh+utjY7kTQ9UWONojVYIcfXUtseQCG/7IMRLm18XaB24bh91zuA
vD4eTcPgmigiob0MDobNXvlphuxNF9feWpBkZxtQCoLPV5AuR2y+axCtSXFALKSz/AdQk8wYOkRt
TWB7ya744l7xMLvVflhXqIYc0h8Q5IUotgj4Tmo1IO4IdBv6J76gYHfk21WTuqVr4P0HzaY4iqMJ
pUJ8kHSc0CFRkTkhsGf1hbGVHrLNnWsG01rB+oykhKcCVMChpoDwlUi13o9DX+Z6zPocAXPdjMYP
lk70mJGEbtMyy64EdDXhNVXaMZIzuuY8Vo1Sn3re8heCgtpGAKRw7wDysfIElHmF2dwYpmT1o3ok
CyOzvIMNCT2SZ4A7jIS0vl4od3BGlic9HoNqsu8aYw22v9SiheIpLEWQEztT6VIVasdKjhb5yOhR
K/n4xY7ywq/1hoUZYgTcIaWZ3X++CBemHIhQmefFSXIucmVEJO1iC1jszMSge8wwbtrYUcuVAGNp
kj+0M3uhqD3IWKqKdrpNAj7JRr6JRADurQmC4xu1ei2/uRBSY2Ohtg+jO4jkGLLn70JqwaBIOHTS
rSyvrI3SATiW5BeM1/ddbZore3nh+IDSoi4dHuHpg5T9x8ZShLpKMjrQB3btJ1uJKk/U4jZtk3Rl
IJfmy5EwQyjkoMhhz9alolRFSmPY99SpiL3IHq6c3Np9viaWOgOECpS68YaHD6q8a9+NnJp0bWRZ
0q8vs54KkZwUkz/F9Zof/dJDC7luHHxQ6rXP9aStntmZ03Ng8qEmeNUrSJDCA1h1vg5tTQ9mCj/g
oTJb1KcS4kCzZlD9mhG2I6VLO0jKjNphmExzO4kmWnlQL21GPEGBygZyQip8fBwClkUZ6uFQkUjB
LfZLG0WeSSSPliDHNK5gM59pa6WQhVGXEn0GPH/A2j6DNOSxqWjcSiCzEDXDXgwNoHg1FO69UeGr
xLLFxpAsQPcgsnRW3OkaLW5ygVRqah9rNfeF/b231t5lS5c4EkD/bmW26XtDA5gsRyvxnu+NYNrB
aMSXpmIxiCxr1+lqa7Nlqyd5TmyO1sxts++PzO+8/N4BXUx6mii3n++RpQPtQ99mx0saNY7Tl2ht
2NCv1VfJ0HZuCZCGZKO9rIdfaxMmf/5uT8ZTNTBDutLR5rKs+bfRLjzDLlfy00tpO1TBcAnjKgWF
bI6IUuAaMWlSe+sCWAD7pANI4wk41Upzmm6HgNabQgh/3E6hhFP++iEKACCyhsB0QZHLnZ1t0UDK
dJR6m3n7OMbPEQeDxPoLKjQfGplFG0zNIer4JuopyEXeiO8kTraJaNbe7wsH9Yd2ZicIDB1aPDbR
mS66i0E9lrnQz5fg4pL4c7hQ+v64JDqz0aJaRQsM2nVtKYI2faTquNLK8kJ/18zsnUNgr0uFVA9t
/eSqBjYk3pjX0eaP8iCNvbXHzVq3ZocGxN5SK67QXsFwwWl4KLegjae/HvdgeqR+jhQfP5Mer3kZ
F4kF/UcUfzfuaEL3iNlr4NaFWwSKQGgHOtngEM1FJKqyBXdyqtHIeAVI+07rR6yDwosVSEk4yebz
9bA4UzDZwIUFAWOA92cHYM66uh5EKtn+xVdjhyu0CaJb49iFZNMdQZmtV27JpakCgBIUUGLBVmee
NhJmodTwNwTcKjW3JXEfYsp2EA19+Lxji81IIQXEc8hOveGX3p99rqhrsHIgeuOIgxZZ17xv7rrI
/AM+8l8/h/+mL+z6j+he/ON/8P8/kWqsE8RJs//9x4m/lDdN/fLSHJ/4/8hf/fOffvzFfxyTnzUT
7LWZ/6sPv4S//8/2g6fm6cP/hNAWasYv7Us9fn0Rbd68NYAvlf/yP/3h317e/srtyF/+/ttP1paN
/Gs0YeVv//zR/vnvv0kJmP96/+f/+bOrpwK/FjZxwnjyNP+NlyfR/P030/4dOVysKQBeMAXALv/2
t/5F/sTQf3dl0hUpAemA4Br4ScnqJv77b5r5O2zpIN+KZDbwswCX/vY3wVr5I+N3ZGqR6IagNzDm
SBUZv/3ryz5M0b+n7G9lW1yzpGwEftuUx8H7hxq2FhKJkt4JKOi5WmSaj4PaELgDE/Dz3VuXjlUz
ek2vC3ITc7WPLuEzb4+1r1fDlChQVYEidRW6JdOabwY1sixQ89rJwjSnkQuVS91RyrtBURHM99Mw
1DuakIp4rVGq6smETlrtG0oxaFc1N3K4pmYRaiB9p1fpEbaiwrrqlEqnD2PbmorhFwUlzhTQjucJ
4rlWF7rm9ToUBJItmNXRUF9YFdRfzZNdauYAfE9qcU9l4PyrN6nbGfGti+dtOh3KDMqicAi2rCxF
0FsC1au2XzpbxHnkV50Sp+6VVZhKzW+MDEAD8Vzi5MuNzONN6wgeOixqyXjVJiUUdA5RlLPxEZA3
W2wKUhn8oq8rwXZ23NcUEl9557ZeA9ZRc+2ChwJgJalZvVMgtlhcx4rO8IeLJu8IchFDmqbQXqQT
s4IJkgzNd3dwQab3WV+5yc6NAaqDfhR093d1aunQoqT1YG9g1BYpNRQVGML5HAkCGnJd5IEVpYmy
VeEV110YWhcXm9HU+bPdAba7Uykt1QeoAqPezOFcLh56ztPJ1+H5456IOqTDPkbdwTkUulXnN107
2TGgsIkR4yp2Sj3sRdsDT9r3QiUQ1NKUmFGpxtsD5OImrnIdW0Y3sFCpU7XY6jE4QHiz2jnfZLnC
2n2UMhUhno5K9Pem1ybCfacBE6v2q4nE5KtBYBwcZqwhfNwqzRCNV1NZVUhK9kAyEAzR0PXGEZYa
WXcVVwWN/NIaY4m/saAI76s1cJ9XCE242GWo62UvulI4g29MbhedFJJG10XasO/2RMwXMhQdu9Qh
BotO1mbnfjM7DIQv3Al/sDXjrvTMCv4XnsFjxndtRuPKzzKHlMGQW+W3agAC3W8UOqIYi5RmHg5u
XCA0Sjtie6ZVaXAAtvKC72MzMUkZaimt27CNe2iK+yTVRr63alvQMCoVTHnNiRVdtgzA6ovEFWZ3
o05FFLMHxnKIN2CvZ4BSZzx9UTgQgfsBM156UA+f8h2PhlzfWE46pc9O03XOdavV0Hdv6kaJPI6H
kR6yJKUJHr1VRV8h0CSc7aTznmzGkUZm6lMOQ6ATQqM+KbwkSibu01oDPm8iwm2Y33RjNXw3aN+z
DLh7wOa3al6YdpAYBlfvs64cX7DtHeAXHC0RQYoK+tCBp67AfM9KadF7TjomAkzaLol1FSLag9sH
ZgT0dOL1rlPA0zCpo3JXj1bCbmW5lgdF3+hiy7FGEQjEhY2kh+EUBMJ2dsanoM9GUoPSB7WBoNLL
OBuBPDBZFyoVefMzamtxFHiX8y0wGKgSJjhvHN8FlxK/EFEKnC4gLPQpyYEYBNsxqhs8R4jbfXEI
09PEL2mnaUCZaDbdNqgRs+/oVkOeSNuL4pAKNY2Bgm/LOg4L0xxGwMkJmdCxyCI/88w+2iozop+u
wQfNpwlXug3LGEk3ogMMCOs/djZp3kJgLI1bjCyw6QPiEIbqiW91bpyFVsqd3rOnceou4zjWtSvU
SkxyPTWKXR3tMWdwXNBFfdcVRGs2kzAnbVPidR75jloNYpPQJDNCx6H65MnnEPdEMUaopmhJk/sT
dMzvkyHWa78vnQk+JN2I1VWJEk7KMc3V2w5PDytoWyQUt6Nr1vxo5WaTnXitA+0+jNlU+Y0DHXa/
HCt33OpEFPZG2C16rFWd6jllC3etrNan4nZU6ppuClbn6sltIK9x4l3WAZE+1aI71ONEo6+TiHsn
bDpXi/bmwEbzEk8ft79EuoHR+57DAMpX0riMtnrBlWccaZAHQHw4ZF6W2hIQ0oN7AN4jOAJ5kKXK
azkBZP5oUc7HHWyqqBUCu62rARBEw7BLW5R5tmKI4jyBzEEFyoNAHqe0vQLlbKhNsWqC7WeTdfXB
UmOjuYBN7ZhcNE36OIwqdIEKvT6SFjfftgDQPv2ZQf0L9AB3AucspW3GPaPKsnQ7Wh1q09JE3s07
TzS2m20ZwM3pjSIYwHWXthmR4TovcyfaqV0FdXC/7HjrstvCbPvoOwpEDrKNhCnYtZ5t0rQ8Ttwt
IMVOSpTMYq7Ru56UZe1hn6ZPej7gP3HpYI94gJskbtCUQoADWgi3BVZdy8ovUKLW4pA2NWs3KeP0
SZ10Uni2IRJzzwzeDxtnMPrrt1jpl6LG/zMW/BA/fhpb/j+MGiUK9f+OGrdPPz4GmfKf/xEyIvqz
pGAxSE3QMwC2/l8Ro/M7YjUXvEJIGUuvvH8HjPrvsIHGkx8OCDaS0fCQ+DNgVIzfIXIO6LiD+B8m
JvCK/pWIUVZ1PoSMMKyRTHeJlQFSBpXoM57SCLCkk2Xgupbqc6QOU7WlMSIMP5rModzWmssedGqX
jTfVCXmhEcBFHigqCnZzbTA7gORh1x/a3tIuTFplpxaElwc77WxYCMDYPdtCb9EdrlQ4t546IWKB
EIm03ZHGIjsxS1XKXSRURwR1Wzilb0HfGdLBNntwrWgsfJdQKztMdodf1LKxqvFys5rTZGnsIVcq
a18pLqlB6ums1wQxre0bgBUio1ZHWbcBWceu4VapaM8jkTrBRYNWSa4499RmQ6AAdYYL30jpVWoB
fL2NUhshDBVMtF9NDrn0TQv820OdxUPAWNFc5p2ZvhQ8KgID/PnhigtUDA4xguOruicQge+bTge3
rG3x3ww39ksFrtUdreNO82FDlBWgiGfoTFMO1m1kguTh1YY9PaRCrx8p4vcdXsnGnquW9epmXDw2
sT7cJyJlz0KtHeIZTUGeXLMllV9BIPRZ7Sy13iqI/ZEiANAFIYrWObwKFLs09jkO3j3OAqFB/bIZ
voyFToVHGpaXW2SYKpThMaxXRTn1sIfvR/0EFUINQrpO3f7MO4c9lHoUQTKudNMNoEhjDeRknX9V
S7A4gkY4BvWYrSIAthW7fyr6AtWqsUCNKhxZT69I05bUaynLbinBHFn60OL6ADfuQlfsIve4ybGi
artlD309Rt9TQy2+dQrcNngku5TkrbrTkQa+70WDlVWrwwmG83UT6CxXr9LYNH5adolGamAVnwmP
UHpHFDv5AN1gAadGm4ENpVYI5hilIA1bKONNUzUWAR5axmPdt8VRdzr8Be5YQAd2eGPrG8Xm9k8r
cacHHXTfqwnCBveqm9pXI48wUeAyxmFD837fimKoIL2UJ6B7qVP0YigZIV9Narh3hSrsu0gfuLrB
swxWHuUIoVUPaiOAHdg0Vog/8SSColdux0/WlCDKmDJdCwpFt145Mfh1RJOh9rrRAGLCjgnCMEVr
sWhzheTH3sTzFwSvKq49UTJ235jws065aHZlnhcH8MuVgNhpsi9TAWWYoaxAo2vaAoS+xkLkOk34
4zHtxaUKa4ZTjn1975YuvwYTGcWIKM/Fa49EyuXotFh7ahWV360Uu1OpLfqT1V30AvahsU+kvupO
RYj6WDft2PsVGKN3CFux0i3VwGNOH5H88Z2scq/tpGf3WZuKyie2GLd2wRF1FG0KBUahcvEa5fiW
GniDJxcHEvUc2rvMK9RMu2RwOnodGgdHg0AS+CUrEUY2Y07gW5AIem2xDOxCiilKSKo+oJI3nAx9
eHRFj12UFfiGFJTxPR489Iq7GeJ9085GaEqJWEUMUo7yizOqpxd41olLt22mLVIxeKkOlhE7Xpma
aroHG4I98MRm+75t3HuDKxkL1Iaio4UFLiu4iAJfn2T9XoPgzEYdDOUBuQME9nhLaM+axZuTU2FN
lWktnHAwavUBWSwzwfOj109mQYBEE6P9s2sQMBppXHDA3zLxyqYstRDoFXm30XNLeYAVkHsNE5WO
+FgN/FGLeg0Gy5RgmRt60ZxKWKJeg/ZBL/rBRLQ94i23IxOGuKjG7n/ZO4/lurEtTb9KR096hAx4
M4U7lhSdRCUnCFl47/Fc9Qb9Yv2BUlWSEEsn895RRfQwjbTO3thm7bV+kxzx9i1yL05y6axLpfjZ
QkXp1iyz+oifqvAYVAvbNJgMUD9dlDPbrNPOLuJU5KTsQTvbRhmL+wlKe0vKJY21I4Qti92oCjzd
DKM1Fy8amhArE7UPgDqp83Iz6dayp1dpflDqCYGQNF8XMXq9MzeELAmFq5aZBH9JaFm9qAo8GnEA
W1LVl7F3sk6Ar7qos+ZNgjG/S5a+/6oiu/R9zmujcrSkCfcipoMfukVvvhdqInwDMd8EqydfUxw5
0JcZ7YCxLu2aCW3dEDfqxiGD1B6ktMxipzH0fPJXq4rv2RSxlKQgOjSKNjao+cQdhb65ZmCTMbTH
VJ94W/Yl5jlmH2nXVZwoJ6EUA7dT6hnv27w+NEI1HuWm5g2XWvWMiO6cW98XpcfyN89heyi1ctYz
ksw26fSjWqUZz4UGHTmh22VJbyciCV/VVe9xX07pUlXjSa3D4grtfd21MLq9WpSh24dwhf3AkmO3
71IAvkvU+mY1DIqtqemY2kUup6cpGDC7AMNkx8uS+dMy69d9PYouD7/iUCiUUczcAt/QtuGwvjyj
z3EsBaDUeHDKRS14WBtkp3xJRSeYyhbd4dmavTCycq9Xeu16TLXSWWZNf0oCdfmYdXPiwS83oSfr
vFOUCcZWUE4YTnbjadSU2KOuXt43bSfdtJoRrgRm9ayEcX2XxP18AP8yeGKgNvuxJSbwFLxsUmGQ
S4dcHoZ6GMfepAaFO4ojhiyzKUtOGefyUVeSwM+EYDhyJolu3Y3tQwOb+WQoYbSDzZw6Ql1qx8ZQ
04NkLuKn3BIFvzSF0U2gmC3Dp8pQXUUf0qvOSIpzGBjlu0Gq0YTTmtG1miLbLUsgeKmOGxRZQ7QL
C1Xz+yR+rEyj2YlChjpSEmrXjQZBGk0bNG5HpbrD4Ii93eWj01KAcuvQlGxdnCVXyGEW6xZ8ZOD3
kR9jrHCQu3H0+yLQd6LVYOPQWUBitJayUDk/IVbU+k0coUMjqCasxS4xcHNvRKBQesxzoYS4NSN5
5OkTB2rAWXylV0rvWvNY7ybKER/aIgzele0gOGUXx3/2orYy7PjlSYPfTJvW+e2Sq+E7QLKLS4Ui
3HekLO/7KKk/xbWlZ7ZZB4iHN23dOXVoyLDxpPwgpmHu1FmgO3qh6McI0S1O2SagAVDouGUyvCZq
q5uyKJ8qvHC9eBSHTxTMQptHTO7xGkcIYDGlXayI0ZG8bz4X8ZqXJEN9nqMl+6TArz9EI/JJeS0M
3miRIiRLDSMwXzqngzB+WhaTElmQBHdlWogHXk9wTTVr9MIZWDXnoO7M+tLtqqKKPd0gCwgEqXba
3kSEL5LVd3LYKIMz5Wq2DyqxO8QhRDkVqponNhDIG5AID0bTLye1VyrPmHsgQkKl7PVZRDdf5DP6
C82c1snTDqYp1ub3uagk94s0i1dhmSmuFhnKrS4G+V4Wmvyoz6VyWro23yeqVHGiAm2IEKWu7Y60
8t7o6Y5rVYwzhVwb2UEMhOKTqkb6FWXDfh9YrfZxEi3pE1IbqmAvXBitzas47bhutbD0sjxa626R
dS7ZNidxwNAgyNPoz24ehackaaeEtbwM75NwSQHD0Ex5R9Vz8WYB0CyPXzpSZRZ2361qLj5GTRd4
utbycwpJryAKtsa+agSyE4I2/hJMBYzC2LSz2IDnYJrdaVGNzuMI1R+jWWj3eZKX5yKQB0eb6sgb
6hHBvBWC20TyspvDsPJR2kcmRK3iG6sKpEcjKGijI87qar0mnKJWTa57+ltPimZkxypP4huSnMrP
cKHYyyXGQ/RQ0ZCxDT2b/brSsuMspubNmKviJ7Ka7ttoaKZXTkXiTJqB4sWUZW5Rj5Ydm0Vztirt
z1YvW9vIW9EWSJH8cjbHD0FVWr5a5s11uYz304TiH9/SD9BYPPHRyytZbCy3sdpvUc6OkGZ9vMqn
6Us+9LLotfUYnlU4MPdhGk8HowutB32URhgpjPwxIrflgmjwYUvjvCJBSse90jfjrTFL0te0R6xB
U/oMGWkulBb/xxx+6qLhJxaLYXKeWbelTUOhKHNb0vK+id1CwxPeMzSA6ZIdst9ui4zE6Vaq1Ww4
tVJdp8phdbu6LbpKvU/0ejxzuJgO6lgTuHwralsPA5YoQXMiM4/Nkgv7phmUnTrxg+xwqXrAAEs2
lG5tBFXCnjQhQ1Fh4VgoK0V3Mt4yh7TIWyTy+1LbFb1SP6oRD2N/ala71loRotk1xEzRT62ud1dL
q2eVQ94TPlAOFw+lyuFp9dP40CRSd13MfXibV5kCSwJFi3M+58JVTRJEu2IKi0NVBGbsdYBVOtsI
gl6w06yk9B1NangjWbHqFaVR165h1PmR+s7yLpnVxJPNKkrtduACdREkFKDjSok6nhaa2l9kWVof
tVKxC4eicnBkolIVjEo93JS1ohXunMHht4eR4qag6J2nrGVO3RzLxq2iCmMLNeyvaPNXTmOO1q0p
9JNbxIUuO4IQ3HW5oNAnEXLhEUiX8KHD2+ncUiF6ZwyyslcMjl0nhQF+bGsrP3Th+BSoWXRWxKp4
H+Bl+LlXxmWfGOk3eH2K24bmuZLicL0iv5KOTYdAVk5Wan7QWozIq/lgZczDIKizk+mxeVUxCN40
HOBK0jzRTY32EUeCk4iAcBRLz09aka0NJu1LnMz3vWq957IGFxGU10ZDCbiuR7R3JBfBhl3Y5veB
jjudsgh3ZtDKXh5Q8jZ0kLq6IVAgFRuE9hCok4XF4VXxPgkm1VHWBLORJ09VotS1osV0kgzFvG5S
j3km7IUITwDsKY+JMlyVSXnTRspjaDS4I4/hkUvX2htDMDpx3DthUDe+1Sy8utKy5yHE3yhLVr2j
N7f4Y57/2Q49ZiLxF0MeKluWK4qHywqGT5o/J3X+2ved0w/DDWjyr0HY3QNu/1JHqQWsuw2dGZeC
ZX4qtOwaGDsa6v1tLHFgTy2+cFaOykpaAWb6c0qDW7yXr8Q+ucvMELGdYg8A1imNL2Y5AuxNj6am
nftiOeBqcd9V2q2EWx9Q8fsK2atZidwsq74XaaM5UsKV22aZst5zeGgYlosDtbAbAu0UWTLuGkN2
GCNsDQvrSWrC2ZuV4iTqw2xzcJ6ydrrTqLTjbi3aUVA9lMLwvp5HkWJ8fTconU8p5wplQv7C2rXM
0Z/a7qY2jSveRe/VUHNnwbptm9gZpXe8eWxzQQMy0BY7y9TSmZuGjkvkDlFsW9GgOsIc+0WT+XiG
jRhr0vsfZPLwpDMdKapuhrx6DEIytWj5Vsxi5CyB/k4OhP0Uad68iLdJPHGXaJ9rJfkUhuFDHvVX
Q5Ts9KHe1epDHpJtUeSl9XgnFIri9OY0+EYq3afzfQTZpmrvinze9S0KHnXxNcvEu6JZVQvopmhp
7ajC+h6M7LbnFRJpTiD3H4V++Czokh+kn5UkeSrLdPGStDzIafXdlMrGVgrVjwSgevXwfky+NGPz
heKQHZRPMp3E7kZEEgX/GGfp4secjlOcyG6OiWCKK9KADL9OG7WwQNYaPJOpYtiJiTWdpkVnE/yA
tKShqydftZisDjNHVphuNaRwI6YC7bt2+hRK1t5KJ9+C/ClwkyrFYDdz5RXiyGtSv6fQez9iCNeX
xUfe2k6qPSrytQWUpDVSX28XWqbcdkITHJau8E1eKOb4mMlpYmdFsQew7HddcFan/L3Sxa7ate40
r8tVRxIn36Vd76K0REog+LkW+ZF5b43Q4Zpkb+mzk1a3SyfDUB2Ofdg5JL97fKVp6iy+1gIVk6QE
DVHxvaUj0AXNbVCNfRApO1yNXaO+Bk+yLxd+FBpGrWDLc/Skp5YjCiZ9ytQT+7hySPsdsoxbZTD2
AF2+JrweQ0lx9cK8skT0dyQJh813XKd+usjv84JLqIYEalhO0MxX4dLcTQkMjWr8POnp56gbHsEr
nEJd8Bat+DinsWstMv0WLEHN74JQ7mNjdotkx19aqYgbxSDxu+FLF5iuPFJLCCJPmp6WRaUJoD4O
GszLMg+vtRBACmUFPjUWmWydmOGGRb+bs6ahDJnnbp31MTLTFm4y7qJiF+g2YWJ9KlEhOnKp5ugh
ZsGTuFDCiNXM6a3HMYJG2iA4pAvUXcQAHchaF09Ct9y3qVW6yPLMJNX5Y5eWIedqru67arkPKCm1
NpKdaXYdmgGPtyXCdjSftfZpGDlUlgGQTt4BLtVj+dhG5scGaVYnAMxli7TywZ8qmUcrkAWVp603
Jzq7XipLR4nl7hCGeYyy9LBu+qwf6RXW5sjtH0hJOu0CNdA+xVUii74KIOOaotySg0eYcJyPC/B9
D7owhSPH/8z96rVCHSxem0r1yE5TTNT/i06KP+lDmY1OQv8JR+o5Kh/ispSbb0HPFZMVVI5nV5Kp
8dyLGm84wLNII83gw4rgY0oGGzxUi8h9NQ/DB4Gj4rpW0sKyi9WMfHFIJYbhvZbGaPeO2WScs7Fi
LQbYkdpiJif1BRjWa2gPpXgMeFcVL2V1/V3ViV9j2PpEE6slDmzBoLxuj5kmXQM0NneDmV9kBK8Y
7L+QIr/GWhF7L2BEA2WIVtAtW9Qy8FDKEHqSNsmujs/PrrOC+J8pSP+Mh6QzYjtrt2HLs0QtZEkQ
IbSHAhB/rd3nYNoaVfnRf3oFWnqJgFnxir+MCuITHuJApGD9vB4V7GvVECoLva3yji1BtRUoDLUJ
0BJ2Rx1GKtsLEV8jG5/HhRIl7lL46aDztiXTJehup7S+4dL1n7Wka+1czvMLqMO3YoA9RzeQGYKC
sRkVE5pXE0cPKsi83KGLqb1w/6Jd9RNKdGHi5JchNsvBjMx4nizRDuKIkt6461arJeFzh8BYRbuy
ev/7cBvO1vO0gQBc9fewk/9V7UQmk9dH2sjiUfPn0dMkp2jQlFV2NNlt/dTJ/gyLrHUuOZdIrxFS
z4GpKSK5/GzT8AsRXpPqOUkjIAUInhj7Zb9Uj403us2xckZ7TD9eGOeKB90syFfh1m34Yps11pQO
dbiGk3wyVF/tr2Jn8JJTdLTiC3jlN8cGfQCIucpK/8V3XqWmUxUhynI7AObn1aKr2PduZUtXlyHY
G3zlj4m04DJz54nIGmzxlYJQ0KGid5WcRdT1E2GHJYTbHelx2Ua8T/2LFMN1lW+nkpoiPVEYOiI8
4NdTaepdPQ0LATNnlTCQaQfuV+ci7Fdmt393mZK2EU34OcQXETebIpoDI6RfYwsnGkqdFzlG5eLr
YVt8wZJH9AcIePexf4mrI18a6XpPvFg0ahgqkzqtcTs3zO9VRwfCBKT+5hAlzvnRtJNTiv3FeFsp
D2AC7v+GGtFrDuuvQ9+s22AIqFjzE8Td4i/ucOMv9/qOqh+y8sgv8XQ+ALS4H27/xnd+4wyHEv3X
d14b1i9GT1tRGIKfoVVnvOtA3rmiQ/ZVOvFR8/je7Fe7M7BSuQS33vBYfx33+uNeBJf0n8F5IXiz
RzMnSs+qo53j42CLB5oEINqoPWPkEHgXjopLX32Dkdc7o0d3C4uYyNFs/SjC2XieahJGHxme3T+k
iPwy1q2uRJxLzVCxodbjIsU0NXLFw2oD9q8fF3991S2D3xgpkoLF+8/RWafEzR2WMy1F3+S4uDi6
NxIc1dJRDMCOEXiFuEHqW2ET9+N6PmGX7k6uZe0zN/TWEUqOGnvyg3JcB3pJ2ertc/FF3A1iv43q
KiT1tvsja9bhVZX5phs8c1ZFGa7PxYG+caMh/aOpCKHCUlGUzX5ZQm3S83LdquoxZVonFuo6yOXq
8tH01uheBdvsj15OsNAE//pzka6fMV3PAySpdtPuX1ukJFcazRp11f0zN2dhIjXqIk7Ts5rSeL0u
mh+LtMHRQvD/0RaEOq5L0PzQwERfdM1SN1swlQuxhUf7w1/Mj/yks82z9mQym5k37pfiQsD1x/91
pf2IxxrFn4q87ldKRG8Criwsw8bf1xaSd8mU203++feDep08/hJjq3Gfrxq1ZkYMaW7uM4E3XRCM
xvvfB3ljIPCNoeuiA7k6S26WhR5RoCXLs5NhdpaIF6NZ2QI9yt9Hebbr28wXihWg6FceBZD57ffR
8Kxe1AARo85drRjCdBXsFCj/QQMvHbqJpaPdKbd0zRCmmR9bfBRz0c65ISkK780ckVzob7nkGJcI
i69hVM/TDFoZ5T5I26C3tktH682C1jVtEeAU+pLehFSgbLnGCl0sMrCHsfrh95PxxnfVDfBfiK9A
TYO78/qmKkU5U3vVpMR6EsTwnAvzBd2hSwE2+ZaewuocOoosKfWZ3ihRXOna/e8HsUmxfkzby1Fs
UqwgLQNrSkx7dmADaR+r848cY9jrZ/UeQnR5098X7y+emW+s11eTt/73F9e8jugJ0jumnX6oP2Bw
hxHnsK9RFxjI7Izv3W2B09fzSP8/MvJ/Axt88dFXvs4rQo3zf/+j+/a/vv6fw1DGzbeXtJrnP/gD
JCnIf1DwYFdzAosSZbdVSesHsUYw/0ARQgWzYCkatRHR5Kb/T2aN+AcKUVSmUSA3ZKxs+VM/mTXq
H+Ajn48kTnVtPTD+EU7y9WZAVoR0CS6yiYQa0gz8wtcLJrQarOFoT1BKXxzWizucej+7VjhoVimI
8GIewdheXQ5rSK49cJmUF1Tka7aVhWbQpjwuZwdXiG58qEdVXdiMupCYD72OUYwPoHjSTzrGalZk
y7A/mivBVBPryxLBQJEPmQx4InarvNV6jCmtzIwa2RNDmS6uLYMUkKuz3A/CF1psSg+apVzCUxCD
gjmMQiE1V2FnWpULsnqWn7qmbmaIDmu/OapqzGuB6QEctbORdrgNCX05SDCgdBfLcmXwhxEGCZiB
CDXnUBxmL2q44ddGDx0zUFdgHemf1vWDGChTcNcmbZN6+pA0a38bZEPjJLJe93bLFAXg/bLS9NB9
CtHWTCNdG87jkmiImutmKrriKOj1zooVlVM/B7SETWdaRaBjzMr83jfRDJ27CACrnaTSyE0fjUZq
sIrejsYxk4DeH9pBBJIQNmFWXhf5Uk5OLxWL8rEYozZ7VNt2Fgf0DDqd2meIRIfDJWjV3yZrQOyK
TlhnAmgNutYL+zgEXQXXSt83RZ2Vx9xqEuFoxuZs7qpOLJdrQU3mB7VokypzxkFYyqfIihod7aNk
avdFqetojtCVmOxQqs3Q5wUeLXdWJTaCU6iDUmEEMTANNnVMiBaZmrVokcQC0IG2X6zYMSPZaHfx
Ik9YLYclgJxD32em4EW9GSdnQYgj7c9wCh4p0eqj3QsqYH5wY9kVdhmd4IeGoKDrVkGW961i6goi
Ae3BpzMqUy8OKsU6qJhABft8aGQdSgD4HpuVI3wEqdZc9/0UfR9BV4puZgmmdCs3VcXLYrSCe944
suZlg8QLvisWqd314tAO9liNuuEO6MDSIY1hJoB3CrSP4SwHYHCkpuLhLfczhbyqpHORFkr/YKlx
Bt13bhd1r1mljtNZ3JvU/FKdxoZUjXG110DRafuqhkxJAb0JJhAaZja5QznlxruinnHCSocBJZmy
1vPmVBhDr7qJLHfWzmotU7DzSC01v6CBVl1lVgGQqtUTAV3cUB6+0boq6ayE1mRQKO/0xl5yU0oc
c2wyGqW1kVpHM6TivF/yonQbZLQCtKvzqKDTPDVIyUeK1NJ5WMT8RBWxyfZNNfbxvgBnEbmBJGb9
dYRjt3i7mGE17GXUNbJzbuq56qZy0JIRj9KEGRTNRWDP5RQud7qU5AhF82MtLzA5DXBFMMzCM6sm
wfk4M8cAeBs8JbuQxsk6Smnfw6jIxETfkd8ULGM+RgaTJ6ZdNUAv1Rxdq5OGDTzU2nHO5q64shot
yin9ZDmV1qbXaq9hf9zF4RJYH/PGGPwiSLIPtTrptUdLP6YZmetG5+NzNMTXklkugZNZpfilyi0o
LFVQgUFRIxBzdgdr70Oj5YFo070COWiCFahdNTHx3cFueGiTcwTSRLytENcbHLGbLPkKlFF3iqEy
B0BxNQHpeGAxVu42FVCEfZ5Ko+LJ9IvFQ73QG9iDW8QujywH7CS9IinaAzQC4MBLIJX8VosaA0x0
C8pdoV0g26qZ58GNIEOw2aHJHxkugFktXdvHg+S2Q80BJE1L81hZgTDsOnbLn6ox5TiMlyoNuBJY
jGgn0lQAEVIF4SgKVP3pVkbhZLek2GA8Ftmc3Qrgluab+bQsLltZkABhYejhRbPRKe9nLRM6L0nq
TPINvJib+7jtBcvO2kzSbdlsE/3QqmI82hJAb2nXZXIWn5WUZp7bBUoV38vTImRH1Wy6boQ6FCSt
nwKPoOFIF/ZTSSH7fS9yTDtWJKcYadTg22wJ8C+OCH0XUpigZBy8W+QgbV0Tg8/Oz8Kw/zoKWbD4
Yhl1BkuL+3w3qzwGDmFBq94xC7FhPHFjwNqqE5WvKuUVDMgMgIytpEnZ7wEFz+81XDKSD7Avw+t8
le+/aUaURJ3Zwl3iNELvQ3IBncNrVQTlceZIGx6qSe4LuxRNDqvQMpbW5WTueYcAUwlpNZWd/AW6
jVjszF4QjSu9tuTmZJlcn65U8wHcCfwR6PoUjao/x0WSezcsat4MbRvMgx+0jSL5WpBjUiTADMw8
gMZ64gA3l490tJLc1miA0RWz2iE99Cm0p6Pcd91Vyu2gfDKyUHsvYJcBfr6ypsxljvsUjhTXjGOM
Q9QcYGk336JOLZlShKwLr50TZQSnlAbKfuLs5SbIhRDMjVgnAHZZ1YonIMZX78pahDKWV+IkXiHj
LiDgrYdJYstYasZnq46nzq7KFepmSSFQgn+e3P5PI/Q8Gxz994yeE/CCVyTw5///R7aqSn8APYfT
A2ZaUbGKJBv8yQKHnoPS4NqkoRqDmiivsp+5qvaHyMJZDTMNHsqopfCe+pmrCipprLQKMqIzIiri
Wrn/BzRw8uEXVQWEHVfrPDJAfJRgCaHp8DpXFQvQJgH8M3tCM0QaFmDkEaC56Kqlv/8ilb/58fR+
2TZ6/Y76GQpa0yrUyujEzTtKTkQjaQcAdXqv7ycosBkAtCq9pE9xKcw64hfPNbhFypiDWrdVEQE8
AKpz2e5q0/R/P5qN4Muvw9lk+YEqjxPseDzCnqAG0bQZ3MWtblqcp7t97dZn82OA+YuGRNf4+R8+
Sn+NvimihL0JXnuN3rnxNTAwjIOjyMbO0QHI64kn+YRw44WSyrZn9GOxvPiC6yvkxdRqSbKo7URQ
MlrqlQUNjm6vuiURi115QSLj9ZPm5wipEbEPDP5p2+COuLaBxeEzraVm7c+FHl4PbantBak1D0sq
TbAS5A/jGEwuytHZhehvrSIUQegsWKuDx5bpZgmpCdWnSGyrVbjVUyTtq0MlFBem9PVT8XmQiDyw
/XmqIngibxYr7D1S3gB0D4lB70xZdKM345+/X6lvfbZXQTYrNTNhe9cyQVpvhASKPCOEAFf6vgpQ
/o1V8saHexVuszRl9FNhMxFu+jK54anOAFvY8Sl9MjwIp7PNTew3nySPZWoL7sWdwdG4PdFehd8s
0rSbZrIzwkO0/jSdVzHG0OtyuwRNghTjvF8u6jCuekF/lRqfvyKiHVTVDSzpVqbl632hgF6c5xZI
EAAddzi0u3SXn4UdZJkLEuLPRcvXkdbSPRgqNGPp3ZrrL3mxA3NZysS2JBJmj87iD77k646B2lR8
Kvl3kq969S7elef4arnDdHVnIr857uWPy4dmF/oXdcp+Xb9oVFNvoTnPZaRt0QZBGsiq3IDXk76g
8Sh7vI5uQ89wYszoszttsv9GD+PX2X4dc1MGXL2dFSgmPCPOwa7f5TtpVyOmWl3u//96ORJJE6Hb
orMHmHhzOTaLpEJKi3GA/yIXO/XD0NFaDVywcp+sBXQiavjlTeaRpV/qDP16/LyOvCnYJrPR1HVN
ZNrbdhKNdtrue/Xw+4Nh3YivF9PrIJtlK0BmmeaeIJrwqU4+Rgml5y511ZBiTKU4EuDM3wd8e1Ro
gq5+ingrbLamVuq9oZcEBFtmJ4KAfc1XqSSz+q/U64004+1R/VcQa7NFImXMwIuxPOZlXxuJo1Js
iOpvkop4Brh3i5rU7wNu+1xcizzZsIvholJ0DvPNMilxPgErTMTWa8Kd5kv73PmiaTa4y8XL/X/e
N/wl4mZ5wEFMChRK1gMnuO3O65EO4vUjWi5u6grupU73W9/t5QC3C6UcVHkwCNchsS9A80ZvJLyw
Nt46SV7G2OzqeSposqE2btfx4oJlDvPEu/Cd3loZL0Osw3xxeEIeGof2+TtBHQR5Itvh9ew1N4Wf
uKaLgHrvRB/kjxVqyU9/wz9pnaXtdnsZfnPXC4ESkc8wQvYWl6LWuBAb3IDAZfnOOCLffrFt/9YB
9jLk5ubPZ4uTTSEkdDRvRJ6ZTVCZThx+uDC1b53JLwNt7nwrlmtoZgRSd8LHggZJ76c31TF0L+Wg
8rq0fzeLmzMksXTKbxKRGqOZfV0XJFuVy888gX2AvRWu5hDIs0eIe9jWg1BAWKW2hjuo1Zldt0Bh
4DzjFl7cw0u5VvPiA5z3xziTzkGg+CPd6d/PzPpzfvNzt6cRLOQlhs6/Tky470GtAUnd5/6l3tiF
HWptjqCwsgTKd4SRFUxk009zmbitecElcAt42R471ubYkZZyoXT1PJj+k/xdbWzR053YGz43+9Xw
ckHgxrW4ii8u5AunwzbDiuUJ3b71dIiT7616FwEO/fe+0/b46QPRDEUCJIdwvy5g2El+t7sETHvj
1fjqrrA2Z1Catj31MeKsrkIJ5Jr3JKc2JcmP2WLHN+tpsL4ZUx8KmGvuGuPSIXjhFLI2p1BoUkgF
/Mz+wcUSsa0jysGn4QjMcN/sLDd8/P28bqSK19yYASNjh9gcORSAvNeH7hh1etKiFMqAg50GiLJ0
9INxtRqhQlT4Oy40b4xwdWdB0w6sIQrpm9sqCtWyn7oAUTBMtfo7iYimazjyx8BuHPFEg/r3Q3xj
bTI0AzF2ajHU2jZ7Lx+lvhwYInZxOlTp3s2pPv57ITYbbzDo/00hnbva/FiVX3LEef69AJs566Sp
RaWZAIa5m5TA08TxwsJ7c5ZQx+WdABL0l6YoOvMCZTKk5CQhvxum/qEb4wv57JshsLSmbPaWK6Iy
FEbcmHR0alTYqxytk5vfz9Jzwr85zYGmcGVSNiPZUze7VypxAMpFqAHmVU/7ifP8jNSE4cee4NU4
TvZwJ7NjeIglV/7au5JTHceTLl8Y5wYI8byn+BkabWymUiPpfL2nxCmOFDqkEZpwzkDtSXcs/DNO
gqPas4+cRHmDi4hn3OgXvuEWib1u5leBN5sZLmoRSxOB1828nLub+X3/bdpb3upsLD7QuUEr9V9Z
+y8Gu0ktglFoF61Z5xxJwvF7IH79/Uddf/P2m1J5kUjc1669ukkorBb6jNry96tSt0O4AsYp4s3F
Da0+B1TrpW93IZy2eZ4ES42QTkc42t5uon1f/UB0F9POVYDLG79M3uokbAAFerxYGnkjHeSQgu0g
A8IGNrHZ5S0mqiKtGIZ6BYisOqf78jbxu9N8k58pj4CTdfL70FXvfj/Db+1L1PWojvDwk019s2uG
YJ4xqVgQGJHuZoHoYur+KxEgisBL0KiObAY2ll0ziSlMvCbHiFrth9zVtaa5sBKf5XJ/WSpcZ/i3
6WD/tritCnWhCjupCCZCfKc65S0k6Iel88zaTtx198FEpb4Fr7F3cl5jgA3s2I1jfxTt5mIusU7b
b37NFqzX0MNqFpFfMwxQE+bbUPkwZhe3/Dp1v4uyud248RrKpNwMCc8/zYtLz9iXO5AbO1H9sFYQ
L+f4bw7MUGl/UH3hgbJZL0YazCYaj4hwLr2NjgNk0MBWhkvWXW/uxBdhNqdoOpdzFKXsxKlFQKDS
9tZ8RuJr102aJ2sXAHJv5UGYTvw1qM3RKYRiWOqGBgIxgryMjSmQcRTBwagy0HT2zS+QcneX3gVv
1SaozmHwBHsGqtPzz3rx5p1KMJ0REkbPJfvipt8JnnpvUgkV7dTNri49z94eJmFMUcLokGP19dWE
rm2AOTICqp1Lq9YB/xEdEdxHJtKhFuLizBChkdtd2P9vlLhJ+SzGRz2MYvp2ydT1kGhSvwrB0plY
vQ7zyQGl51q7DBa/c2la3z4JXsTbrJ1SHkJ0N4mXHOJ9Jrh9tMfxh/57qzvl4PZIpTzmT6s7GzAG
ZwCNwu8JD+NJRiuldYYSoqt76XHx1iwYIhO/WoOAf95algrVhERrNK3XM5yXzlf26Q72rQc/tsEC
KX/8/an7Vjr0Kt5mo5ZoA5diLwKheZJ8ye0QydVc6s/H7j48Uu13UQj6pqOcC9LESZ4m3B0uVaDX
23lzPEFhwreT3iq19+37ugkqpKbi9fbmfb0W3kef7sLFs/atlGulSgHaVfBm/AW0rCEEYVQN6SvU
VU+Nr+ZrA6Q382s42q75NB4KxFLV07/08n0VeJOeDA0mhpAvWdkZyLdUc7S6Ov/+O76RFpCQo+0o
QdGSfqGS5oaRR2nL2Crj88TTDBTT3CJokFx6ZL9xsP8/0r5ruW6dafaJWMUcbplW1FJOvmHZssSc
M5/+NOS9tygIZ8Gf/jtXqcqzAA4Gg5mebujLkZFVhAZNo28sfQFrWyPAUI0BxanQXOAn3SznSdox
AjvMoA6LV5mKLIcKtXoNKp20x5bF4WU7mACL2WB4yYYd8EScdxPTL6D4IWNYVAXZO93UBm15oVW6
TF4EwAY72a3mZ77gKRfCPVEeg4TKhWnY1t35L8YK61jih1kq/qSCDIabBTupboajAfYKwOkhY4fi
EvCmISjWHH7Vmb2tHzapbVWyKoIEF5IsqbTuJODnQfs1F5m3gAgMJMgeZ4mMrPHTEqm8f2qkpU+A
ZXx/xktu4k8KeciPvujmbjI5en81JQdujsz20Y9VUudNGCutiGTc04qxy+YbMN04gG6BIe9FF8LN
JF1Nc7FVrIM53dY9BDfn0zSV0FnqOJ7FOpSrLyxR7wRZS/IC0Em8yEXdqWUd4LF5YwpIL8tvHP+1
JerKHsC7ouYBQmgGJk/NHLPNMMOHukLtwTrJPTGc7/p+ia0yEpRae10CHz++6+RmYG2DulFnZ6D0
czr0ix39wAdIM10XbwMZOBcNuiLU+0AouilXSPQ2kuYBWqUu+DeMXH0Bw6HdLLzDybNGdmC1wsxI
QdFF8tfJT9FgKJ5H083ccvMyQd4y+1mcxrsFYC5IaJ8/MsydhWI5hoRIqkmDwC0dcEC8XsBblYDG
qgXtBXgUzptgeiVGVgCKUHFjGFQMyOqgBjcCTPRD89SOIZjRO1ADKuoJWg289xar3gyd7A9rVAgo
BVDRdjk8c8AMb9eBfmNyotsUDy1jg2ceqCvGq+6mV7dj7f1Fw0Zm5BZoXyuY2CdTAXRhb+wR6OYA
hUTS1ofowgYSpU6HEoviqY+8lJKZvIHJAdmbjMEy6Al/9hohLRLQScDa4He77nJ8fZftzGxhox76
ztZvzn9JiRxrOnNa26M2Vy7bvNPAAWobhaUVexOFiYHwZxoXo9rhRVsOyfgTGEHISkC6OTXctEur
X2oICC7IBZLp/vzvYSVyYJXGkD3gbSa2/fPyTXGOTTC749IG4dBS2qaBbNJ4U2TwP4oQHNAeZDD9
n7fJ3PO1USou1JayKMmE2/tfNViwDAx4qpBnA/ace7kwHtOEOvu/RVKRYchqxQomPBuITGh3N57K
+l3PkSStM2gF+IPC5CvSX3ltkVx3q1iE3hOUQlpc2lNvg+wM7Am+YNq1k9wWj8b9ZALCAErri+E0
bGK/5YCoWK/BT+ul0hRQb81iLWG9QHfvgrdk3KQeeRThSZLt1CNgXdtv9Ko/maSO0dzGSbqQ4NuV
lzk0LEv1YZZ4BCXMyLTeVurwQGSgkccO3tq4g1veQGMjgBgjSA0aT5198MPsp01z0f+K7hVOkGfV
YD8tkEpQNIygiEIAnx38Zpc8LWCSnezicvk14JU9eIonSjf85I/MaTEcCYUvEHqjAk1fLk1mDGYV
Y18JO4U+4YndCaCndNN7Ax0r2RW34cv4WBlkanmnHrhvW9alitnXf+3T+ZAFlYkpJIk2wuNxhq5w
uZEfcsxpR76BazUC2Qnk4g4FOkq8CjQrJVybphKkACw8gRTDdAW+IUMSjq0MPpCcq0LGs0OFwFFO
506XYYe8ZbMAFGIHIomNPoKnvead02C0pQdi7xtgI/QyAEHGcCgm5GhYjmDFjdSQBpauHSQ9hKAt
OOw0TnxnJScrI/RDvYqKIbFM9AEHEJZbA4j3eB0m5vZpqHMZGPBDlZk6k1M6DX1LKuu42g4hCLET
ENFqEufO4Fmhjh/G2ZRYA6mebVq5Xwu3cyOCB1rhWGH1iQ3g6dBnAlga08vkZ6zitp4n8gCe0gjk
9Pbkil5/IT2Clyx7NFJb+Dk5aBXbNQodGFBGRhKC7tyWOJGGleuhZq+IFroiyMOoy1HLDAFqBtjP
Pmp+5JP4ZtbSrVUrp6VTNucvYuamrkxR9yIGd2oIlMHz4+ohAy4nDbeDNXP2lB20V1aoPUVjUjZ6
oHCgMEykynOwS9uVX6WA9JFThlHxA6hkF53ohfva7/NLZD7Z19tJ3YVqW0Gdy8AaW0/dm/vhctqC
3H9woptxhzaBn7YOxyIzZK/WS12FvaxgVk+DD4F+9an3QHEeOoQrdYNhugYS0qgFN97woCyQoQD4
CTwxvMuY50LUkRQHDCZlRD+sqsc7Wez8UV12SkRYD1VegZ3nQ9TBjJcwXUYdUYxET2SM1XiSo1vp
QOqQEvINrxjQFPoZc9lDOIZpapRcBu/wSNyqGoUKuhKg5S76zPCClhd7eD5EE6MsHWY5BvOfS3j6
bXV2BEoNbSN5MbjAt7HPuxqYty5mVsAagD4Mhk4+h6GhRJUNV39khw0UwArNETVCOGmCE0F0o+In
x2N55qgbsJ+glFBpWB/JbVIPRWTLFUVQK7sEFJN4qXCIhysAuBcQZk52/a18dbVcKuRhRjEUUlJN
Hs3qcUb9ox+qa0HoXDAPgHUj1tw8Xo5tgJ7UOFTQvlPFPajYriQtvIAQwv78dpCo9yV3X/0aKioW
oHVs5hG70RSNF7WjM9QDhwaM7bsf35cKiUMiDeUywnfnLN7mUCA8WlkLCOlkdN7/vhjEcMCpMWeJ
2gG1tXkzh5DyRPMrAhFoM7Y2tLn98yZY0UbWMMgEaUwy4095TyxJ6EX0WExU9Ac5Aa27od+ZpWc2
g33eEvPhCLQPagMgFvmK+E8XySTiD3+Kk2TEoBl86LVt8it5i949CE3PG2SF8rU9yhWscpKDhLgC
Xsb1YvrdYGEjLyNwq1fpPhwS6A3xchDmdmKiAck+NFc0nTr7CpjTwVhMUpAAI7bgZi/mI5jbIcL4
fH5xLD9HxeM/Q9R3g5SCPvUDDBVB6A/Ls6zyto959a9NUN7XqclkFTHiWLYDKT2m8McHkGeT0iPp
36Bo3jyE0EuGbHbyF516ZtwG8MEyFORSFoaZPodRdWqm+j2VIrgZPIdnCBv7EMlytL0I8hnInPJq
gcze3NokdfV25ZTM0AUnK86uzAfxHuQ3se5coaqx6Rz1IFwVzuymaKx70T5zIEXScnyW+VJd/wTq
RobeZN+D0ZEckuA6uEYl1IdgZeCSpqjsYrO7zV9wDbK8af00p9w2EPIuV0gUAO2PE+xRwCakWgMK
HT2Q1sDHW1yI0vvj81ykJkdpla23WQC1kAI2Zb2yZwtwSqsZnTC/sjCA0C0FdC56gIrS7nrMOHkP
M4KbOnmWY/hIIVLCa9NDhwqZSjA9ZW3K06FJYvBHj0VUR8Dpl0PFSyoZSG8cVSDg8CiBnuG7q6+W
KgqDmiqQmSJA2QNpuGYoOpCWa8u7jFnxBwwfGBRBZx/UkdSHHAwhE4wY0yLZ0QApPEAZXgaUTexU
b8DZmS/wXTL18xcTbKw9XVumAlI5il2sT7irQBJwJJyG4mtxGXrxhWqLLzoeZJvUT3kNH5bfro1S
ISpHhQMSqjDaEdJtK7XVkQNfZGVXawvUJdKpWlZoAz7dUD5DVtMeRMvpxOuwrm1hmjn3PevrYXgZ
s8+6DEgm/XrEdGwQtETAoKmM61CfQPshQ1gH18gCvZ7//QIxZJBpmZqho4dNBZpclVIxqeApZgDB
++xNDApeLCO7T59wQwGrHMS7MI9K93nLVBeCNoMJzV4UJ95Kh3QDvNd+joGlyd2/YNXkWaRiSk1o
dULoFEGByw42EKQByBSdj+QBmgiOWtjRvt6e30ZmGFsvkrqmqs7Q8jSFySkajlCctMtW2vRK6Onq
Tb5oD5Wm7Ajfe/2NYWo0k1bbS0UxIZ8FEboXgJi5xa7cEuQ2mExLlP5t6bG8jlwCICpO89HcmuXu
L24N1pFf/wDKhcC3AQadHD+g9doH2VG98dU6DXa+A0LTzgBrDX2NcxzZJjHEqYMcALyT1IHvx6gP
GrLbkhxBQHOfQwtFUjlvCOYxBP3dv0aoM9/0Qwf2ExjRg6t4uQOs2VbbnVzrznnf4S2G/H11LWSR
pfc9OYIJILMwNDXafjAkzjFkRTBjtRrqTEB0XtZaMrxQh7Uz99a1Kuv7TphBx/EW15vzS2J2L9bW
qOMwicA36dr7qIS6D/bGNk4B11NtUirqburLGEAWzhHkbSN1DsDINU8SGQ9R5kel2iuQTeq5Fyvr
pkF7GKVSTC2oMl1FKBIDUvLE8f50vd5RK7+sk4EUCYWxH/Mv4fd3dnJlkbpQi2WuQEEEi61Xya78
E91wZwAPaCrb7RGvmWt+VYaZfa5XSR0vEfQBYvRnlcvThMkobzlmvb0c0EtFcxN9f1v5mXjcRgUz
bq/WSp24CK0CRSR2NXv0mt/9feTjmvWKU39VOfNW5bzgeR+TOnhRC06zmWztQjS3J8HNIw4+hFmL
JkAqzNChDgSE2Oez3deFAhozmOjc3gv22MsAjMP5dXvdXYV77TQ5k7cA9Nx5+kHeWjteFZH5lln/
AGqNoxAaWirgVAhb8AV5/UY5QK6yvDbwhHqEJBQeUrgSj+1lcoAmhuDop5JzLmmabTL5gCEbA0kv
CvJAyVM/oZRGIe7JTxgd4XI2HAHtGPBPgjFtOei7eCc+iS/Sj/7VePwD+oQKReMl1zwCAOZLcv07
qAhodQUUCcm3GPzJBdbMrS8it9o2Xr0r9uMjt9tIkuwvec9q3VQMrFFhSPIJ61ZB/AyBja25IzB3
8cjHKjNj38oUFfv63BChigZTkQUmwUZPbmOlb8Gx9A8D0f9X+IF5ZFaGqLs+q0IQNJJv2aEHVeDF
lkBK/XzE46yF7nZlQvbPZwr6e1W7ayrMc+i78zaYLdmVL9BDnynEasBPBl+YMQUUPWdXaEPH3p8R
QhktvCv50tiQowGtFHf4zjj1+kjQ06AQ50ozyKFhJvMhPi1ufFC2kPdJ7WGbOumxADuW0+zlAyaC
biZO6sS+mj8+IT3JklQLeLGQMNrRLrhu7gjpTuq8tHgWwiopK/CgG7wPSsXApghFA+kAwqwOjd6L
YbrvpV/nvyfHLenRUCsIFmkhT4xWKMdlk5tdCyXdrgx5pDO8tVAxJF4ksYHoENJ88WSajZ0rV4F+
fX4x7C+kE7AvaZ1/Gatqp6CD6CpWo//oveEIVhR8I/KAgcDXX76YmBv4YZIerYIcuqiVhF5C3Fcd
ue2RrZmuepnfVafmpsFQLc8r2KsE6hW3IpjAv0xUlXo0FqhcknCs+ID+b5QbSf0H9Y9KEzhwQHe+
cIILO7VZWaWcUWzlf967nWteQ3wFNLPgYvKhnOpGP+O78g7wTT4Gnrm9K6vErVYpfiN1taZBOgqz
K+YNpLIvW403ksMzQXmm0KVFaBDPXAbJXtpTnt9z3JJVvsJ8xH8fjLrPoiEDkxS5z9IHc99uusfW
BWvGkb9b3I9EXWehEmE+hJSvoIcNxMqb2NjpDUjP3ktYPaA7LcpX8vZ7+edqhdTtBmD2JKN2RQp0
6lt3RewRzOKg24kNCW7uBAYzmvxnD8O3n91CnyuIOZNvVml96otQh20g/ofWS+xyvh3TO6DgBsJ9
AwTxdEPCGsXQ6MnjSN3ImQ1SHPAi3hJGBdVH+zN+Bm6A28Fmn/CVUerpQlhLQ4t8RnFjbiQX3C6Y
YW8eIU+KgaYRTd8L8zsZ/coi/XApmy5vZfIBx3ZjlL9No+M81rmLIju9Osp1UmgK0W0mvgk9D7yl
dTtyEgwuoGFgXBcQpjvK256TRLOT19XKqAgia1CS1cjKSH0nzu0e5WMorBEZoMaJ9kFuf2ceDYR1
mgrFWBDfv/MyrldKaNek3oDJDkA9sPQ5SrmDRDYga4qzvJqSE13zLgVysL+kzB8m34UJVpsbLFVj
4OLDPd4ozeVi5ocxmbZVlewhs+60plT4Yjty2gDscLOySlXLE2MQy6olVt/A8ozZwtCWbMjrBW7r
Z3gVBTaclUgbmNzriByBcwumjkioQxhGIefyT9kOktjJhjx5CceDlbjWb04cILfAOXvUAbG6CRO+
ZKkgWgWTz+CkD4M7/yQJhg5ROjde/OIGPL73CiftZAeg/5xJoY6NnKUZoUGCMyW93auhreYcgjdm
MF19ReqEhIaeau9fcTDva3mXqKUtzJy6Fs8GdclqTSCBVxmrQNXcyYznUWrsBICK81+Jt1fURVtl
YLlNyUeyAtPLzdlOupfzFnjroC5YdKaLRCDPn6mH7rH5wwTBfMQb5uD5GnWbikk7Z1A0J0lPs1XK
0g/C3u0DwRfqm/PLYW0Yel2obhKJgi9T8tloSONAEmY0TpxSOpbolZ63wEQtIAaiUQIuO8gnUIuB
AHqrF2Qx8z68kb14j1GK2+REkDWWyxXIIceePqYra/S037gocSmRJ9PYLt3TGEErPZ6eIfp+LWuj
A+q5PWRw7QrYFkHWbmLoFfmDmfBwJ0QM4uzPoALjELZKGLz/DIcQs9/NpxqzDOUbydd7p9j1sQMe
9kB384clB7+fBCojwwluMcOvYfQBhFmIZcisVQvESlutsasIYMFaAw88bi5IJV8me17Fi+kLHx/K
IFu7ukISvYEePfnNEH13gngvz5nH8QWeCSqIhtCzh4IYgjYZRZDc2JMgioCFkXll+RDc6MCUPp63
SY78OYcgP2m1qqBapAwSCSgfAqoLjNwI9WYQkgZB46q5MtoNpGfPW2QmOmsfJDFkZVLJ/v34nZ//
LE8qvm/ki8/oRjotBhD+Iu0n+0YvEjPCpgiCFlIypSyqerhEfY0xHnUjoVYJLu6tcYGRIfgQbt+N
5nJWyApQa3tUNAfnRhBKOez1szNjom7ptuUPjLF0dv9kbUzT1n4uGV4afM4xlgetLVMRXp57oe4I
oktP48tCA4WBwGtV8ExQIT7rjCJKRpyDGOy7o3wrTpb/f9w/OiY2gTEkKolSTobRn6fwZhmQJpJa
hXgFUaFYdaafhKuKN7nO+XB0iRAziWIQzjDcNnpnx60KoQj0Aa34WhVvzy+SRVdAZHL+dUq6UthG
apBrE2yZF9pTApTTDahfvOIYHQfI3UF3TjlEfrWVrsEuv48a1NIX05mPGWba+Rp05AR8OSEQA0FN
SCa5ORV52q6H9kuEh0b71j60p8gpLqNLVGoAt3hp76p9ftkeUk7oYV594KD5zygVe0B/PMcziqWg
w1eBDRZbDINbR8yJJ844Ro9WpF9mQgPuvAbwRE1JfzRCfKd00+78l2A+gda/gwoPijw2eUk8On8Y
PcMvN7hy3HQnOYRKhU+PwNtrKjo0JWR39ARbO6D/GwSB35dNb49xxAlDrNAOkI4O4gngO0GY/TnO
GlYc1FaGKDRPz32Ub4bG60vBFfF0BT2wc34TmYvCaISJkRUUF+nZiHmIayF8DzwVFB9OUXCb50/n
TTB7XhaAqmiRIk/C4fm8oADE42Ma4DuRd2MY2i0q68gLRPwDTOvA7uVH+IcTHCIvSb3qgveIZEa+
lX3KX5dBmCDHjuAqDvcN5hTG4Pn8CiXWM3W9QsoTha4Y5DSBhcYNbyrwdLc2ZKKILi9QDwNEbBe0
9WJQJ4Dh0dVGLsUx+0hCIEuRAfKCqCF1f4hZAuVYghD6wyaPjZ0ADuxsZZ8cktTm5VRMr1mZo+6S
SSH0oCZcNA+vxfSh7Ee0ln5xNpW4xZfYRvQZAPaUQbNFbWoVCGUYE3QcUaF9zzZSCLNO6KxjjPU1
21ic3iyzBwT49n8GqQOeVUlkpMv7V+zcFCJJv8sf7X0TuEDOqGjVlbv2SrTlX5YCZMaWD1Ni7+qH
feojdroVpnOLBUsYTNL0TT89WSEveDN3FWoX6LyivgiGm8+HcQgLhBYNh5EAFoY7qI5fg3DUEa6z
LcY6Nsbd+a/IXBN4I0EIp4NOjMZ6LXGpazWI0sA9JdiGshWy26XlXf/vxJdfXGVlhfpyfQBwVSlj
UeqF8hLdNbvpiUAN5b34Zlyqe+1y8RPwNQ1b4acJQbIHU3FAAl7vFrBuVVyCG2a8Wf0a6jsGUd4t
pYE1B5MFuqaqKjGL1W/ObyzPCHUE1T6NexXc3Kg8PCNqK9Hv8/8/78NRuRyaggOg5NjSuItdVb/t
UFwcoZf1HStQIgLjNzi1aNxWMCym2oiwUg1VIzmNZLYQVxtns3MyyPfwuD+ZlT0QLsiYJwDTEeqV
n71fT2RtyUjKkIBrKrxRQRiI5N6XHN2fPBDMgOqFVzZl5qYrk9T7E5KBRYF1IVbWDw1CRyY8NTPh
T544e8l8oK0XR92z0NYTE7AtgW7lEsh4t9wT1V4sz8UMKhixnczhHTzG2qBCL+maDoVGYJgpJ1En
cxArwurQKcpNV0KRGCwZYTQ5prjwIMyMwEXgy2iAYngDc9PU6jpLCAWBaMz9e8U1mKZwyTMbY3fA
3X8nzYWMD3iqUN95H4X97CsgUIDaV4TF6Rc6mOi1Q7CzWgwZCiA0GDGNfv4ksNiPTORISMTAfovg
TPmJOHVjlU4w9y+STMKAVvBgeZ0nObItPwYmGk+O3PJ5ekhAosLnJ9PU1vZiNUGfDq8IxY6ljb5X
PeWXINrlxtxVmo1JnDvxmL5ke7Gzv0PV8ck2iXOrqkLaFFWVz1g2IQODbhKBwavImqLtWEDShDeE
xzokn+yRuLey17YA5YJGnEDKyofuLvXa2g4BCHbmFxBhz3dYY+D0hnP+67Jy4E9mqRsKtJKVBTVK
UBYe5P1ypxzivXHSfi2/1CuVMA04UNrLn3voJgde88LdZUarFk0boo+MR4UGrtvPqw7BaVjMFXZ5
MUanVi6zHKInuQBZhdIJk0M41LaIiZ6Ix4fEuKXWdun+jdKGkZYQp7YK1JWrt0bm5DMsPNsnC1RE
rytBqYIBG5scra2+gdK7ozxap2UD+DogbfjKYMgm+BkiJG4dm9AVeHkj46r89BOokzsJrdpHhFFa
3ahviWKXy2bStnp6ZY627ir7wlvkw1xJ0MvhYVxZb2ATGDoRr0VQwan0NFQq6l1dSvh0GJG5AW7p
mfSoUwRFUQYkM/J4mT8z4q/s0WlHI0Myj9gL4tdU0QCofxaLq6ni3SxMxzFEjAeAZAqaVZTD5qAB
0JoB0V61BntGV6WTeRcK+S++RL0PE19q6mCg0GUyx6Zugr0MBs/b+j5wVSBaAxs8LpviRKS4lF1x
n+15B5K5jSvbtNdm+G7jgohbpJB4bTA8Jwd+AsBjUXMiD9tDVqYo76yaoS8nwuQdvimX5kbFgCWy
AswCA9CGWe59y0t4OJ+Ozun0yKhyVDcAKm0xky9AE7i5PR9NebtH3RmTrvXgjsCXq6bRjsXE0RE9
FVS9A55MA28t1G0xClGlWR0sGVOxaRflZ6oJDSdvY98Nqy9E3Q2Wic/TESKwwR8fIkizXSVu5Iq3
vQtZ1Mf4t/RmXRAqa4CgnpsN70RzHYR6roCmvImHAGsk/DsEBgsQ7CNhkRM23SbbqDfnPx5zSxGz
wCz73k2gko00nyA0QsZ94z52RwUZlc5xD1aWj/LshwnKP4o5GDRjQkCWr/VNt8tepG13aLzFya+G
E+h1/kIqjbcqylFqWbAmIYFJRYYUjjyB7a/dnd84RpHp06ooN2lDRe96YG3tYSmKx7EtdIjGBqET
5Qa46vMqelTrEjrjsV5zOZpIkPgSK1c7SvlIOvej1uVYHgbnIc0IOgGvO1Qe4fYSXC6dGs8adcno
4lDFyJOJNXDhHtFnus0Oqi37hTd23GIWOyVcLY66a/oiNJNxeF+c5A+7ZTdAydYjLwvJGX8vYNrl
hUjm1YPXJwRJNRRF6GfoDJlCUyEDxXK4eH36UCihPeqPBTi6GwLT7n8Nk8oJM8wsZWWTbPoq8R21
Mc8bBcd8MH5l6v2o3UQ84AzPBHW0FwF0BWaO79YZv8zxYlguKl5nn/1MWi2DOttgCwIjgQwb2jii
+p6qk50GfbQJwvo2aMXTlAi+moubWTQddSm3kaZvFUAEo1K/aUbtZbTiEwoRHDQL80Za/Srq+OtR
N0UioYuULcOrtcYBlA80MGBwTng1DHbGu7JFxYEmWzoIFsNdl1shv6yTnS5tFF+BgCje3ztr9iDy
LPeg6fXI4OtLegc1gr+Y7GVHvA8fpkJCVBtGEfb4GUV0GlRji6YQJ7FmbqolWijUQJr3C0FmqEyg
5iYiX0Gp5lsztcLNUAvNRdrV/b7sRZGD++LZo8KOKUFxPAzJRyxeamECR8nvKgHStH/9RiBfrYuK
N1JSm9pQ4FEkLvMmr7tHWRomTy3BQaGgGqukKLrFwEect8oiqURLCWxeZOZW/TJtHhTozoykLEle
2jpB+b+qvwnfjbhdvkMiT4rM4N0ilPkgavgcbVI90No/713J/kMmrlxINx2m23M/u5BvOGsjkYW+
n1bmaLh6YMidri/YUlIcGnZhtCO6CoQ0XRQJTQGUhb3/o0kqhYd+r1Vp5EUvX3RusyPimQKgLcKF
BGaE2P8GcR5QO+CclVSogyKMfN7QWp4g6y5hhXq2L5XmOV5eoJL6rX1cWaGOQKGpsW4QlU6gmgTw
a2BVeE2iGruA4KL+zSfVJD/7y4dTLTLUDhnLL6Pt+TSMQimRM9foN+B+2oihvgV/6y7Res9oyvob
t6C0skddH20jQOKeUMDrsvbaN+WrWQdvRZJzQonMiiWYCQXbAjhoodRC+X+rp1BvWt5TmMFt7tLG
GfJ7SXXk15yIut5AwsHJtnEOMMv0quKddJ1YDgRmNVt5SP0OAAbO8WeF69UPoisxk7yAc53cGnEM
Cp9calIb2MnEP38q2Ms2Ic2BNzuWT3lpCthKo5EeOfraaHQec+n3QiZvKk6Kz3IbGQpD4BYHgSeM
fT4NTYsPOZGKpYSWaiaW7gSagqQe/bCX3LnhlQoYmweUH/jdYBINwvcn1Cp3EvqymAsSsRu3O5IS
U+JOv0ht3djI7oQCosvLuMkCqHPxySLtp92SmQ2p5bdFddUb/dMQi6day+/Ofy+eGWofWyvXB53w
EmnpjzK6mzTTjkD/ed4I64X5aTHEa1bbN84QGIgIr0oDhExYHvAk8yM3e9QaHxo/ipPs9f8d9//J
IuWHYS/Pk0nWlVXPqljZIbdzxXMJKlKq8tCHrQaXKAmJifQrnLj9HIaTYxEG8h/EChwmKp3uSq2b
ug7b1rlEmjr21OcbM4EwfYd6cXIgEoOKnf6KNpzPRW6ur773YZfyvS4goGbie5oA6rjCzzf63QKa
Ib8j7TGONfY+fhijPDCJ5tJMCxhbFMU2q7tA5FGfMy3IJphvcH/id1Oh2Kr0UQ8q+ELZG7YZhS56
jQ5ny2TWln3YoAFoej6EwGj/4+ESCH3D0DE8QKDwQA4h2eJy7DHyHUte2aOSj64UJTkj+U7jpqfk
WdpGt5YzPxUnCJ5dW1dcZCRvfeTvqxMcoPRQNiHWRxiLwfB1CVEMR7+V/dJPXnmvY84Ho/0+EDCu
pAjE/wJcUsJTYvCyAHZEWu0f+Qmr9WSzUoo5WQ+Y9x8IAw2ZpozvhIu/G6fkrYhy8r62wlrV8bmy
cHbbGDjkvuXcvMxIrmigrkKHB+A86gstYa7WQo0VCUqxy4tpVwvpcY5UjhkW1AlonA87VFAa9FyX
5BR2iOQEuQrz+DbxSZdy8ebAF++sPUIUlMysIy9UkJD6JS6tTFMfTexGNEAI5xLUcAYFibAKhfVR
M8ZsG5rg59rP4qJYjpBr+rOSFDJnnoT1gALlHDQrMQGFeWk6udEitbGSBO9RcU8WXlySacD6GB3m
LZcrgOkxhBocwBmw3NGUT2k26lUKjme0KYf3bQbfbP6DTFsRecgELDqXvKDC9CC0BgnyEOIedD9E
q5akGXsSU6LWrbR9BTloC1JM50MXzwoVucYRUnEpUZSV2sLRhbds+REtA+dSYVWJAIj9WAt1GmJg
DjW9BvlocG+A87nBSCMYn2LQW6RX0Yn001M3vuXtIIv0CWYh6GHiiY28lDrnoOit5ZzI4HVzAjqW
XDZsvQpOEHt2ZUEx3F7RQnvKl4uss46FErjn95Z9OFf2qUQrTeSunTGOjpZWOLmp7md3FdLUHdhM
nMhVTsGtZBwWNPIh+5Nd8J6oTJ9dWSf5zCqoSqURqJKGCqMQFzagSY4caxzvYZ9BEzBHsGhDCflL
c0lQ66hucS7iCKQhlh/uQfw8vhAdEby5OVkkC1YJjU9DBBUwcNSAgnxeUVE3fT2nOPHzPo0dwyeB
rn8ifOHTBR//x/balTnq80l1DbUFIgmb7MqTMjj1nuAEBKCa1RakJCF62MXotQceIwvzw63sUh/O
LBVAlIgsbDsvJ0HCmL3Jg+8wj/3KBJUum4vaSlGDakk0gU9AraJwqy9G687tyCt08VZD5XtGUg2l
nGA1U4WH7nih9TPHCzmLoatNkEQWogFPGluen5f4DlXnNOcRS/B8T6MCZZkuVp8T31MvRHCcAxdz
8dK9za4MfnMeKoa3ICpcahG4AgZSyypE8aDJP0MdbCCTxskdWDDN9XGiIVzGMIxDTjTrGnf2gOnd
57mb3EmapxylrekmbwRlW+/6y8XT9q1sWxcojHhQRPMKZGcur/PJIiL69HuIJ60CVp+WYggFK/LA
KhEQ02PT71FO8HNncKbGNjDiP+D3dA4g1Iipfgcp3KfQaTD5z/sCLKcFATJEI6CKqCh0haERgT0u
FXL0IQlUjqXbmjLnkcIzQa127GRBTck0lZaD9lC+jyzlOxZkVQN6TULMpBP3LAZxnWbi+5pd4C7i
zynhvolZb1NEfwtSUmDCRPXn8ycTdCuvVXK4rds/Mx/NlojRJ9CsyjirYYZj8ikME/JcoLmgon8F
osoSsHTiHvKbfm1u8FDYvsaO+DK+mJeSl/p6aPMuURKd6CR3bZS6A8ZIU425hlFwwm4JRRShZMj2
vFya6QyrtVH7aFlK23YjzKjL6KWmDKBGytk/ZlBZpevU9oWhbFXAxMHfROUmTMInSUpPdSi8cJIe
hbFj6xcJtWOC0hKlatghYgU6Jop1x9wNqK+q6BeXl3LJ5wVh7d7aJLV7iWF1iZCTXqqvPYmRYzzV
J9JRMXeYAs6cRPdVvlHeOqkrtGpqKSlmGEWPY7Y1iF2RCqTwg8xDlD6/Sc3CpXx66lEXaThGo9gI
5EGAAQzFB7BuuxyaR+U0FPv2iTAVFzgD0Kze5IcBldBvFW4+HIguWZfAhbU9yabrQr1aimybtjxq
b/Ytu7JB3bJKrPdLQMpPBBA+ACTlYYQZzFfpc7LvtwoncWAhU9ZbqlAXrSq2Wjm8V0L17SjvVISU
zA3cPHENSP+FbnkkFzyfXInjsPRzcpLCQBN6bGVatRedaew6y+SxFDBz83Xoohx01gI9aErEFDCz
X6vetJV3BEvX7GMugILpm2tblG8CmP0Pzz2BiICswLjr0dVsnRRiMMltetGl0KzGLe6Zi19XSJl4
bz1WdFv9ANo5MbUwKAZBhg0plG+axY1iHcSwPOAwq+axNkP55zQt0dSTPQ3k5GXWQq+SQL4Z57ui
tmp7qHI/kVPOs4flLGublJOmetKi2oelAfY/gGVz7FKwdOvjwhs+ZE1cIdv574al3RJjEVM0Lljd
4IsONPxEgHvG/fIk+QXkBEboIzyGYN1LrwZMY214HDq8dZK/r9K/AhjFIJ9hXRtqN19qJw84GS/b
AppUogKNZoVmWRpGM0oEDQkRBCkx/4G+/lJ5568/crt9zRc+TFAfC3hcNVoMLELQbpoucaa0Bs1t
5EYZj1CMWTQFKf5/qyEX1Gq/ZCmBGABRdIkNNLxzDy0c0U4eK6/6KXky0M2pyImXvMVRX8hsBIw8
kiqYlUqhHS6FZJtKCL7uptwryfJ6fiu5C6QyliIXTGSX7+6YXFV+6OVOBHApoUT15u2c2wYH4cJO
MYHFkCG1hklfmvBLXuQYBxoWlcvBNff9JgLtTg5dxzKxCVgCL59N20JRgrNS5sau7FJhRVJyQZUE
Al7AuIewrXYCCMDy1+BI2ByG0wzyYpErJ8mMZRrIUlRZhAQsTfkzDqk+jATAaCh5Y2d199J3GW67
uvilhbNoR6l2ic7u9jtrhZyDiCaa/FXCvC9yuU0lkaTxoDZCkHa0gy7ckIr/4oCk+XquPTxUgsTh
JdksZKGlrExTN2KpCe2CcjmqHlBeUJ0sBham8I2TeCW+JJOLBGrPJ0PgWqXuxrKNDKsaZ+Rt8lFc
HP1B2hJkSrR4g+nIL7NL9El5TRt2LP9Yq0px1wVjmw2DAoAB2WbF2ui1I0sQnppwDZfHINxk22Ky
h9wdj/XVcs+XXmQGWx14AKCcyO+gTq/eWyZWjmDRCaFvyjdDWHKOzXsT5Uuw1aErrIqgFtLp6mOb
QronUCA6Q2a0+hOOTIoOs5uHaDrYYuqWumNhQnlCNJRCp3vFdI1eulW4kw/furwg1ICYATrpLxDS
WhXisIjwU4Abc9J09o28vf5/7H3Zctw6lu2vVJx3nktwZkdXPXDKQfNwJNsvDFuSOY/gAPLre0H2
aWciM4Ry9euNqIgqV0raCWBjY49rfXxzzoaiByKEp2UB+ooZ88lFY9NcU/Q36RuAf0rHZc/64PqB
HOFdYb0zGiXDBeUBXBnoz5jHKrCNdAeYNwRVkhfzrBN+KE94VeKalRkxcT/4KTYgO+0944m74fqX
/Hq+nO6z0ZMzn541uQerFNSTlYqulhNsQanED4kN1B6kRO+LESOhCzFlzrhMGv/84K0GDfXkDBPU
o1RBw5QR9hTPmL7OVaDZFNOnjxXlvMUBXYgBVjsbl0OwOG2h18iTrHxHSdStHs3A+sC2A4pXGF4c
7nSGMWvpI8aj7JPb+EvqezXmYI20ZikSWpCK7Pw9vY87r/EbX7+Kb22w2PbXoJ+yAEz4b2SG+PP4
kWTh+WydFibIga3Ld8OuDoBiEUyevjGi5kZ2z9+zTB/JEm4hYQBjBKUM95FZMO26zeizyN1OIDIt
wtFBHz7bp1uAaRS8qhXZoeXxjMBwJXvNzpuD/z1kMUVpmPVU5ja+SIlFUwzTFzsr+jdAV/mCPlqw
cD3ZYKHsMvFjxayBBjReQtFsgGrIztoiDyxb1rl+ahdkon8r77u5OFCjjLUzpQ3k8d6G9TJPkQGH
w+nbz80mwSyqvekeEX+krR9rATJKDyM8YGkK/nz0fPA1hBs7G8k4JD2+RrlLX9uIP5sYbQZc0r9B
yiTbYiF/FSsYPzOyd8teXVe4qWM0BoAYR1W0xJj4x9aBGzbxPA1gVxsYMoXvJ6Zsid6BwIvPjrgL
YPgwCHpja7FvtmrjfSzorP9+KElwt0aW51btQkPRkHtpozUG8LJOMISMRjxrL0+RnbOyhwIFu6d2
vZGtvFNKc5X9HKMcybRInZfIMmSoQBJRluBeGWti0WbE82EX2V7NUJew3ur8zi7+k17HgzWJMSvV
WaopEzaRF2lmxJQ+OIsC58HBUKTFXw9MT8mcR9niBBuHqRQO84rIQDHuF9X2qYHuEuOz2ci6D849
GYeLE1yNvNB1FOn5Lsbxrqsx6IlRbzB10gwr05JAopDnXFKu9phdwCgrImdcjQPTkq/GnLAcng1v
udcD8+Kds4/HHbE33avP+ZVsJ88+xYciBTNSq/kCdwLHxylTJuj+buUwCWAn5iDLIwCyIpkFla1S
sCbVoNaL6/Brp3Z+XaH515XFcGdtCC/4u5aJPlxRKbW6L+tOgTtDed0Qb8LAyQ85FrevBZi2+SYP
J84aZHABAhbLMVD+F6uV8C3oAoL1H4fX8154nlF0N8aEuUhpIprbpmMraZs6BznEO4R8tC5sohp3
5rwW0EwaKjcOMg4gJ33ixnn9Zn3uggLkq171aoK/HIkW2QmecYmPpQuW065s2rQuWqt4KvWGE4Z1
Pnsu9rzhCFXYr+ZfcvC600t/LFMwnrbWUWq13EW1AOs0PKbrSwuMRUKloMqnCnokSQxNc6cbgJuC
1Q1BfJcaoJzrNk6gb/LreARYXA9QLqlzevrEHssUXERHix1S8R2Nr7J7Dk5XoPloRALgPywfH0sT
DKiTme2S8R7XLr5Mm2KTmbOE/OzM43osQjCdwM1wWcYXNO+Vm+6ejwkDzzUk30nIn1ZZQVymkgY/
1APbmZYm7Xouz9hgYMF0PYImAe4HgmBGfdHfe5jia5nYc0rpGgZITx3QyLmqcA2donINukApx9KJ
mGr4o0p81/jMiqfffhuAbcBBTQmw/sCxLLwNhdqsI8YXEfVi9usuu+bOSv0MvJX0SXsBCShG9mSY
22fP8FCm8DjoNh2bhl+EvIF3zYA0xmMXIPD1c8BCoKpGbvDxMs/u58Eqhf3Mkt6ddZ4BwzRHoFeu
1ygLRvbflFUW8Z4+Ecf7KZqwdkT3EteX0rpn6r2CdO1SS96hc4bkcP8Ek1UBMqKpOPrFQr8paecV
7uePt+v8IlzNsQ0DobTYQaF1Q5d1KQoGLP+SAGfeWGpQbm8+FnJ+Fb+ECDerSZOOFh2E0FHxuqzy
6uHL/02CoNtqxpxqraDbdvOY9WD5k2FKypYgKLKmzO2q8deyXsxtmte7ZSklBk92FILmAoEK/L/g
jsCsVLethnLnTDToB12iUu9Zb+HhtwBVjrcf3SzwEoWHAu12hV5q8BF5DQxlRH/dmiCeau46EO5M
Pvi0aTA861vrrbzh3J3mRvftJ/iPIdTjQg/bjR10rY+nLaxlY5xnthnfDRjnIGpVwaop7AEwxk0d
zRW4vQDPL3S8XbGso/OMgTgSIVxbtuQsb1WEvbAUvrJ2+0R1PWexMAonmdE+k71FeA1iVDA1gt3W
EIfG0OC25FbScOjD+C6/pffLlf1c6qH+zB6ajbHjBZf6S+tPU1B8RtZs5YNdVBJfnVErsP7hoPHG
mARU08fPWpatKoaTcDUSTKMMRRuWzXeTlcHHF/DsWg/FCNvadlU3Dpy5m4cBmhM4dkCvMc35Zj43
V4Bj3lWXnM1sfnCA6TV65Gv2adk2krWeO9vDLyGYyyljgKXg0VYPHKbY7b256aKk0LYs0yQLPucu
AGASE8cqINTgzQkmJzNWJ564+c93xTVPzfO7AtynPSacgReeApW/lcg8u7wDkYIRWtOla3QFy2MY
z0t5/WqbA/Ip1SWDB/ysRAsBvDuAwmngfwZO4rHKxJQNY8wDkXkABVaiLBeAeOcTrE4J/CUtpDnq
hrl9/7EKcUX8SCq3DYf+l9KpfcoLDEoeP7ZWexXHU4EqmRumqrtX+fDMxwLP3oyDZQonOCACA3gD
LIGefzUAl600GzZNEiHn9cQGqB+qrXC+xEiydUhp2iukKNsRaP3JxXzd3eUPvEDGvjev9KF+k7WK
nInJMbF0IFPwzktCpsngNq4J890cZlujjdat6/chvZwfCxWU17I8AD+dk9M7ECnoTKOifbgGwZOn
DG5UldZlnDqSl+vseXHQcUfluM5iL1OxNGXMeJ62HfeLeTuDOrCQaL5MhLAKw+2LteEbN821r+Yg
wDNpZDFJFf78Xv1aiKDp6gK6zCzBPa7BmtQi3KhG/2PVPjOYwTXglwhBt02qNWrMF2LecOrPat/9
Bf6MgKPMrBsO/2dcZi+t7wYyStuztuNAsGCj3HaaLAOEQt6UXbLxYnQ+Ax0oqFCuTO3nPq4kC+UW
/VTtfq1TeN3mxczmhBdIjWl4dNLybq7hJutNERC9/ZyUybdyqcJedcbg4x0WbbENhGjMZesYtcfz
ihTRsbUiazV2pdFzksDym5b2xEcB7HsNxHbf6RoZqJqoMe/SDCT1AE4CRA0xdmMdsBYthh4NVRuV
S1y2YY/gpJc8n2eloCEcaXNMnZ+YKnVu+irV0DnE9E71G1aNN0nmjJJuL/GO8bWAB46gzcQ00Zch
+J8NKtoDnTMw0efT1bhWQdJfz2QNf/98DqUIJtDoqthRa0iJm2zr4p4pgxYYJA3q5OFjSaIKiusR
bAZAYhFwD5BENcUjWQmA5MvEVraxi0wTs7ZOuyGvH4uUbSE/yIOnEm1s3cAoRKot9Sy797T2UzE/
fSzknDYc7qCg4a6+VFbXQkieVb5uogqYyQb1z10ijQB6Fm4U8qyiD4USrj7oKUQk6dUwuHu7iD3X
qYOZlJK3QyaJf36wY7kyVZleQVLcWhtW2PuBrIk3UfNrQZgkGD17OgerEmxS1dqjU3NZZWXujLz8
4irmJ/TgSjT87PkY2DlNQ08jzP3xkqpq1Fu0K+eApLCLsF9J9ldururdx1qAMQf8nUMT+67fNvhR
LQC5IkEl6HfmNJlpaCn0QENA42sLqfatZZb3bavmz0bTd499nuTflVVRvqg0i28aUJTlvmnELAnT
2apfiTGnn3p38ctKCdlaNG9uQWsS9NWMMkEGNB0PgG9F69d9ugCZzKTp8DaYOWCra+zm6HVUNzMM
yFRg70KLb5m6iQ4ICZqrpVcZJJ5GL2lqZQQd9NLn8Pm7VSs/k2adzCiP4/krrZ1V81idaYpvE3e1
781+WNebtWna6lNSzLn5NcndDP0mta30s181Gf1WuqqT+Is2ZzRwYtMM69LAcNfassTw135cWLSg
Ird4tEU50s8WxtDYaaXLTTHR/MmlyYg1gTXLulhHJck9t80NDA62q3ndUQ43PitO4i0Tw9xPa2nF
VZwjBciou7o7LbbmDCPOxB4hax3bIOsBXerPGrqCdiv47NDr1AJ2PFKtdQZ/rI1XNtSqZADjBbyL
/oJWRfNoJ6n91rN+zP0qqSzFWyylQ3U51vESbFhpp6Of1V3F4sTLkjZRkD9uEuIM9wa42XI38bu8
BzTqjjUzBaAMkkhZ73p9obC08pfExnGC8iy20C5fxFS5AZJcAVOrVIxczwsdgUSjY8zrBgjyneWx
lbF+644KQMNaijTHbUxmytpgqQxqfOHdVuUTQqsxTi7Y2Cam5WPIvDexxyzvWRgTt+ypF+tJu+4U
d41v+nFes42j08zYqUphIb2kJOR1mgaiA3sum5stsHCL+s4wKwd15xrF94DXh91gsMslbrxE7QHQ
Xzat9t2maRlapWk0G7V1K9BOWk1aX9nIIiIN3Duag0k1ts4L+1R0U1VpIVHc3u0At8u69VZRnane
AqzGXu+mwqiU5MrKmaO9Og2lNV4GsB+SwSvmsTQCSyPgf9qP1JoeFw3ME5dpO2eviHo6ZF9GxVT8
irb0TrfjuYrWvimNq1SpiXUFz6QrgeBsK0ukEgb7mRkvSgyIHbsElE+dLfnXMl5RUEkpc8MGAETW
haO4gxPazaJMl7GjLGCOY6NtRLaVG22oKk4ByA8gWsyek+ml/dCNc1ZsWzdPzUA3Gmp7dCVN/oA6
SoPxezQSdVs9K+wpMtTRKMIB3FnLdlC6GGddxBP1rXbW0XdZuPb8aLTrMm1XhdH0dU30eXhbDaVY
A3TxGHXhE7Mqx02Dbn59n9Q22ofUwQB/2xQPJYlse3Ycv7fGjHnwLabx2mLrulx2dmGZXtUqK2Bk
2nZRLmg5z9rjtBi03qZtvPq5bVbFdqbjChAEh9U6jMBSZx4MZ5ddK1Vvt17XErXbFXHMCr/tlLLy
tTg28OgNsapg+r9Jl/FpdmfMMtfl0C0PRV+ZKwnHenDtMaBFr/ahXVkO3n8XXaG+ZmfIBzVhMjXK
wCIl1x20+fpuk/bTI5l6kmKeZukTCkxsZxpvc7Sl28EQl67tEdK3TdTpjqLuLOg3uyiXKVHB8ZrN
MACbaiFtDnzWbmmHePexsT/7SjoEySKw5qCoK7xcqQNiC7APQ5+AQ7xcana7NfMyMqkucWBO+pDf
H5UDSfzROXiP7QrPBnKQ8GD24PDrlwfOt7Ju0Q+8Vz85L6QOccnnG3kR8OyreSBYSBE1RNE1GEcI
pgXyKNGw/PXxHp4XALwGE5P54Hzgnx+sjDUaG5kLW69mnya02YGgSBLznPUvnF8S+OcHEhxtooVu
QMJkfTOcC5O+1dXLx4s4rwi/RAjukk76fq0diKAUJA4U01j9k11dVrYk3hZzPu9qAFJhAJMitAE+
yvFS8IKChGaEnLXCUIuLufccE7hTEeQuQUhnRR8v6+zOAWUMGGmY57dMUZyupWnBcKXrQo3qrtmk
9RTMqiaJo47F2Gj7BgqYZQJjDoAQSKQJ10hL7KaNi/GVpRZpQl3htmTISRn7+ZpWc/jxooQiGxfH
yUxMFy6nAeYiEfowTpVsqWryzWR1TLRPjOQMj1Q5Oc1zu452flegncG8d+NhVnYpbSxwxOH/qu8m
3VqWAK3wkxlvetZQZfZavA9u7r1/xf/3wv4reWtuf3iL9F//jX+/NC3AQJN0EP75r6vspW9o8334
b/5r//tjx7/0r5v2rX4Y+re34eprK/7k0S/i7/+UH3wdvh79A3WHbFjuxrd+uX+jYzm8C8E35T/5
7374j7f3v/K4tG///OOlgS3nfy3JmvqPnx/tXv/5B4DEDk6L//2fH15/rfB7l9m35evJz799pcM/
/9DMPxEYAmEZuHUoeWDi949/zG/8E/dP3QXGnIu3AjwnKNPgkxrM4ek//9D1P8kPpjZHA+AHTwSg
C4t/Qtw/gf4HXjVE1XBL8ekffy/76IB+Hdg/6rG6bbJ6oPht89iOAewCUDBoDcE3wPdA6lJQYrDc
lrkzgI56bRctIWHZAk9IfWhdXUFk6Kt44V20Y7rV0OhIfRtuR+p5o5CirPVPpLKoEwd9lml97wFG
uoUWGaVufUNNv+x2bp3Hc8QKx0lAhVNNKmm9clZnKGCaV5VCkXWmrd2gdxnf4oWtE1WGwAD1KLnK
9QLpApRuYni5Xr9g3gKwt6seKk2+FjeFkhNt2tSlhbc3mNHHY+Nna+4KWH2fhXrekJt2rkgxe6RN
+joEwojzpVgJAgTqWNXWLDNL/eqAR4kaF4lSNl2gGuCsJn7bmiPZwC0s586js1W4oLInoNoAYTUc
irYNRnTH2wW4cIcEj4vR6yOZPXddjVEDbOCgG09QXWe4g8eku9cJT9SaHknjunO8Kbet+NmcWbaC
3dbpil7zG9toTC20tMme7XBWk1r5ouRat/CGncJKwGRr5X23hgzZmly/iAczJaCCnFsjU/Y6Yger
jrpS6+cM/oU7rg+JBeLPNMjKtGretKkwpxcTmBjLNemQ0HKDhI71skbamLrqU1/Mq6NHDErXv9WF
boN4bTYbg75YzWyhVRXNgY4Rar1aYNYCNYGCKp5mI8GpeiDIqjt9PyNVoTzXqr24n0wz7cYCPINg
Fb6tem1xPq2zUcUEIQ9hQBXPjLZMZgREw5hgNKce6T0d8qX4Ftuscy+VWBvsy9rKRv01SQGHB+jq
dcjXsKSpwtaQFsbS4l0kUwb2r7wYR2L5FqAzLOSjC90dvnepHZd/laamJuu+m3jkFblqWxU9qEla
p4mjvmJmep8RZTAWHzAJDLFlU2kmooXSdeugp7aJFJlZAFLks5IpIyoHeWWN9UvpzIb+lk5mbn2e
G0ujqABNxZqtHhvKqcM4s1GbXf5ZAXGYTX17IbUG+E3CWF36GnQkvbRB5bUYfuEAdnqP1ZTssh3Y
lCa7WdHYzDzwWs157mHqiJUm/At9BKmEZwFnkxNKZKZLlbs0M0mdfMYIbr+g78JwYnuYx7BaGrV0
wYBcuEt+21hwna3YK9IZI1AWdNCu4Vj7dYvbgIm3atGprUpSfydPlYUACXiW6E/ELAvKS/zlPHBd
BrfRTZpYFno94ytAkXOk3v4C3nAPmtvXOlwumucDe/vTsB0aMmFwF/MPAOJTbaRqCYqf6HcTRDrW
oOVOmSB6QScfCUrQbpRxMM/+qHtp6ZXX+YW6TdCPBTaXL9NnxIa4sR9/B2HghH8HmGqANAGoCSNh
J7A+VuUytwGKBQrBc7gAUmujhIMHZsHLHAUA1NMl8nhK5lfK5m95NrLTiEexciFlo7ZKPzDsP5+2
2yxhCihHk4QL/Ppdep1etFdp8lvNC+8STdOCGbDBngh2NSEZlQ9uTS1g+XpljTby7nLWXhl9/XhZ
/KSEVWHMCk4pHkT0ZYpMgqOR9I3WJ5aXIEtT3hn9ziol2S6hWve+DoCROTYaP1EZ1MUp63zlwwAA
wgSOF2af51ANZ8whrffE5L109jvU3OzJimfHKeQfUkFvq6HlQYWWiHHXmPTx2pi1iVpyvyv2fPDJ
3WvSecgzeogEkY0HHU0JNhgZhVManDxNxjk1vJ6tgUvMxyEj3+Ag3MRTipnheIw4LYdWxw/xuG5I
A3TWaqSS9CgP7Y6PkTupQLPTgWgBfHDBsajnumuBnosmnSkJHXSZsk7z1ORhKRsPOPuBNcuanE4l
YmjXgn4CzBpTmaJyIhfrDKta8LYgFIq6azux9qiPepazne3MB3Bh+LuayqeE4fvbAGIG64iwxF6t
5ljvS8NTAT+uf5qWGiuTdZmKDpoFSwrKETj9pgbEc7GOohQYwiMpDrNR5rCb8ojUMhHCjCVXTBuN
ggbBhUAcg/8c22uzQOYCIH1YyN6M3GdOf5dG38YnzCrvs415NTyRcNioaOO7lTVGnlFW1Lsw92gB
2Mc6ve4rqvNdbdu6N+7ju2yb7YvpCtVLoKyAk6bbGLJixFmBBP4zbiFSwDCdx4uNAVhtqLWh46WI
N3wmGqVZijbFJkpukGPrpeAcPNw8vgkQdCBQyEUAoCyNsxICDU4aE00XTAd3WLNjm/ov5dJoNx9r
5bnTRLSIJlC87ABcFDmuppUqU9lrSIG5nkm84ZOxb6P8Ya08lnjKU7ZbolHz5ktQvADeaL6T1YbP
aCwCft7ibqi4jOLNd+cFaScG+SjY+mp5z+IHyQoFCTpiI262NRwiJ9sU2xnnHM0qtFLB0+EzBA+3
1VaZov6Z3DeXKNB+ZVclBjC/SYTy23xwjBAK5gE0eAFxATPmJ2DdQ2v3dUyxLAyZmw8cpLQKa+BN
K/74md1x/mASsg242CRphtPFgrnRxjm+Qz+elKCXidSK00EtteSO2Z8tXQrAICgoXxnaxgBEjnQG
vCdxO4u11zqmGNAJ+C18Wdm+31ogS0S33F6mHeLbeyKNr/fAOVR63WpUlJq8+qW/JIH7rAe49JjL
tV5ijzz1/4GndCJT8A7BJspQloDM/ifktToD4wgMpjAy8bUpBzY+zqwBO17YUiGzltUma+L5fUud
jfmwYvJhuiXozSm9tvTMfX8N5lSpRyi4Tj+lIo6HHQUCncgOUPF0XryAKWpIGs8sN5leeJmsWVn0
7rkUhysKshDw8TUR+Hps85K5NSHYzDk0oyos7pSwCzCdFlnfuIv98cU7o//wNQHtgGgCFK2idiZF
laIjSCNebj0Z8VVTSZzBs3+fs9TDsQWXvAi/a039YNdwQwGkAnAM95a2knS7MPHzrgyuA4oi9IYS
MM68T4oeaLzZzgpC2YngeY03CPvCxm8vyL7cqlvpvM8ZxTuSxe/6gSzWoRFibmeCmADRva+FRuet
nnKdbGi0+u21s80cz91Jn/Ezuwi5NnwJWPzTacx5MK22oiOBDSHR8DhurNvlsxEwvOOD3/r0mytr
zBfa335uK8f7AHIM5qIt4VIrRdzmXUsJOpwNjJgiYACOnhKaIdkPpad/5wQApuwsz1wx7lcjVcZJ
pwwxC7vYrLE6tyFogF385AJ4Qs8lYNmvyB295CNjCVzPxGts7+NLcHaxB3JFbFADx1ppC+QCu5x9
Km9JoOJgn/sLcqekPn3s75Tgt30lftUPV2sKkYRizKXWgUjFUze0vjDA4JvetFtCL9WowcSfFELh
zEsEt0XFJXRNuKHiXe/qxmZKUXEtcsC5SjEuFgf1FrBUYJSUkpzyb3/8oiP16qoYi0MWzjm5l0Aw
WLU8S3Dz+4gzWCJOCfo4nELt31jbyQVBlYg3XGmwYagciLYZZf++6AeKgXr1S1o+LMZWoiEnNx8+
PAH/CdxX1CRQ1ju++cWSUqdqBiBaRfVuDaabAW2BxI9f9S+lhwsxfe1AAwzUHzWNJKLFtaEQzWGT
EXMhxQ3GWCF+qMbGMFm1gGUZo+4Oet5ZQDfKdbztLsERbikBBbB5KMt/vG/Z4flBrGNiS8EEhf8B
1M7jFa/rZKOLs+Ri4018pz05T/Yzn3fK/cXn0Qvb2r69WS6LoPZfmL+gi/u+ebW2PahX5ePvomng
PjdRHThqaJHGdxN2AY2YpGrsqvUaFiiKERhx5jXLbw7MIZzmYggmJ1BLMB2kSI5XjYpgMWstxHBv
rb6lHGHJdy456+r0F0AiJc+vgGNwIk+0PENnZmbcvcvjLwrleJQTUGoKOIku7zMdQitSt13sl5vY
77Jo2cpel9Odha1F7z0vliCUMgQzBKSKcV4mzIpQzfDKwY6sstg66FeT6LHo4uP+IAx9H+TQUa0U
zc+0Gv2SOC3kQKEsn1wUV90G7X6cs5GDKkGPwJNqo6Ige1ZObxDSabzvEzQAmnpCotbbQM0C6h+X
zDlZ8mjowE285aCRYEgJ2o3aMe/3yJD5ySLwf4eUd1H/scVAUUO3Szs5YDjqyS1rnhVFGmufWRZ8
RZh09JqiKV7MRHU1eoLAKVh72ffxu7UnXh1kHTCMPOUv6xPA673iRv5o8Xt2bBbgoNo6r8siDkVS
4fiCdGRw50x1akyUjt/NiGImd+3RFA98ty2ATG7XzxK1ES0v38cDgSLDAeobi55VWCVSW/Qreyy+
xK/aa1t52SW4PsMqSgHn9KYDL+dZIlmyVHHIq05XzMevWKqxmRBL5VF2RXPPgM5w+j3nXtrQcSIQ
Jp6DSROXQ4o4os/VrsBTaIwVKhP1l86+2CPHbsPlmsLlsrqZt5NsVOwk2gC5GLCrMSeP5BSfYxeM
PH9yNFCh1z8mjsCPkaJq4RvAUjX3XaTs1HvJnoo+CASiGGoaDmw4/kusiJprlqMehE52GloIhbfI
2GByjtgAMuFERTLbdmJzBHFCOqrONTdBa1PlrTWNvTFXwl5b4cpNL40JrmRUNP6P6xOuRzGktdlw
gfaN66EfZ7Nuhy3na2QAT5O9HifRPgAI0T7PR/3Qu2CeXMZR7WadLDqGZsvAzII+CTmgKoer6zbW
roMpWABELUf/OrE8kIvCEzqcQA0BUl9BbaZBjedc73AHW6APNHfTKimFnFFMSEC1B3lEXnUSH6W2
RaY/AQKN14XW3Q8zo+46kEOSkMOGS71VIb2NbvpjeVxvDyI7DAOoWT5A3rx3/ClaIzUsceNtG6Bm
c7QE6b0OKm94eBeyCFy6VG4VDkTbLTMWx534leCzpHWAcTQOSOd4qPpfKLey51C2VH64B/JIq6CH
AJj+XoFexxWZ00mv/FZDGa/67i6bPCGSHNtJePW+uZiEA12zhSSf2P3s6Go9FgUkcpRB3qSWjUEG
nM4BTLcEs7BrHkin5k+8Gsymw5dBOMBrCCdZd7fJB1NVUBo0AAGFBv+NHXHELxCPvIDKiY9Rcnsj
85rF/DfXIwwFG8CL5tp7Uh3S9LRplmlFFsprL4G45Sd7C/wIBLNC8mt4RnUQVyETjWoecuCoAx0f
pcUSjKQrPPyILDuwMZ+m4Cl2buCLJz4oOaUTaiePMU+wHAgU7KmRmRRTXSMaxsmNYfUeg9uYrDdO
KRvWeQ+ojvwMQZJgSEmj6J3eQtIUNdeKvcXxwdXo0TO77b/XnhWB1tTvoxnhyG+bcB5G8mjP5Xlb
0U8tTLhuhY5NXfYjapdFiFI3z6AqG/gazHMfJfLEQJkLO5Qn3MfFQpUmNiGPhxz0mmz7Cwt2W9mr
W0UyNHfmwTiWJRjueF5Ltze4wrwk94bfYlOBj+NVSjSFvDCreuUVXQLJCk/vIpfKcwEOuqpcXYgw
0FSvKy2jaE8AldNXjBuk4OvgzE4F2uYbZIoR4lzkV7ZsZ89p66FcwaiPCspRLacyrRbPuZtDgLkG
zQaOeLstLvXNArnANN1IuRhP/Thk6pBlN+Emmzomm4+vZbrkI6YskIrOd3YJJidOnNlu2d69A8Iq
sv6/ndnh+nMgUGQyrJRm6AcCgYTX2/m5ThdxVPRgHWuiLDJlBypZoCscaE8qZrQ25HUh8P4A9LJ1
79GBHOYcOp4jkkhd41NHDsN0OrroLHT5obooSBzXxHbzGEBHU4Q2y2GH+HHbUwC3cgq7CqVTwPXq
myJQdlKYJX7/BEt0JFrUIktrzakBLTuQzaP0M4qaVzP6o4C5/E6CelFvtPvfvjAOwKURLavojTQ0
cX91u2tN3rLFI48ABCYeYM43bTh4agT+4cDdBbJo9SSNjlLDkUhhlWtl6uiyWgs8XBzAEW/0vt1y
ptx2I03znqrPsSz++YEHAo4Il5UTlgfwqHcQa+Waj/3HLygQg6ZHujb+3Y9PEPKQVkZHGnyBk1RW
kTaGkraMb2eyNf7imUjtheNtqtvxWfp+nF3dgTRulQ5Xh1wk6TtI47Tm/SOgToC5xOthmPFCBVMm
79Sd44tDjyu8K6STT56rSWN0bXFwRg9kd2LC+mxJWnaXRYsk9pjl9nNS5u79pGiaBJzjjLcD2ciM
Ohwnjxiil96YebOuylzAdWVB3nqcT90AyAnmDoaN/CBP35FjcYKOgmN0cowY4sp+q7Ktbn4yZT1Y
3DSLqqKjDoaxA+1MHTopmwphAPASuaroiN3m6D2vsZPccI78eCIHV1sHQR28RTGfXGkxJldMjE/U
lzxO5I8+RzLR/q5Z/f+28T/gmh1s+knb+MP4+vWozfz953+0jevOn4AH5EheiF5NKDA06UfbuEb+
dOBKI0UBQD/U3Hi2/WfbuKb9ibQlvHvuGwI8wcFN/Nk3jrZxRMG8xQZVAh2VOu33+saPlQMoFxYi
X4046KBRTzOlyVqCir5ufrQ68nbLbO9e2yGH+e+97qHcNPJ0v+CFnsjkr+CB1dKtao0NzDXglZtD
Pfa6TXLVoZra3lK/2bg+2aPWSL01zB4tJKEBgD38nHA4GnA4bDMVBprgIwrrFrzTRVtqLbPwHYon
kMzxNAa6+K6GkITZjlOKlNdoI4pcmVMsGOyfYt13Vw15WrF41DeONZUOxKa7cgeA/zC/GbzSW78n
CPl/P2sjyhP7I2M0aUxF21q4+/F+uOSg28vtLdqHfXJVIaK5ez3Q+9sfVuVwXwWbdiJP8J3spErd
MsX6eIsUKAnRGcktjZSzQXhmf8hBXxKKCZjYAQXnsQqVw5yCzxhyaMjH/9DoMlTYxzkwfaAvy5N7
4vPzQ6ABMw26BktFV8axwCXHmHGZQ2C+o1+5z1LfcLTPOUA9ZZBD3gsv7U9x6GNwYTlOO0zREO4O
LSaK0Uyn39TQlGJLvxT7JLRD/U7vPe3B3aD9+ptzXXz7+AQFF/SHZNTgeG8wXicRKCMmtJjmsQMy
UulcOeVykbNZ0lEqvK1cBLc1GKaBNQTtjXB4APAiDIUoXALSm+iGynd5a6HdXmm3H69FJojv8oGh
WdesLMcYaxmt8pqy5l6t3EeLdpIM4pktw3oMTqsNJmZc7mMxVbFaa08hJnYflHwNkq4KPl6IQBz8
bq6ORAiOXqIr1Biynut7dd3CVvF2dHtvyG/WGePM4VEACaPD1YOXd7wYK8HQzDxDEncpx2ueyOpR
t9dDbZtKpgnPKDn4fsGQiAEDANqKxnBtqY2opMSQeZneuABhyZxN6tyinRmAGRhgkhhfIa57V7sD
caItpFMBAp8R4pYETBzpp6wcoqKiIMsuAgzZSGYnzikFOpGQVMa4H4IBQcnzokvqeoLBWMoMTMv3
bJUVHMRc588F/RIhqHdsd6NRAbsJNinbLoaXRmrta0NghhgzD4pgRCSApIvifayM527V4cpEU1j3
domGcTwieuKVWo5aB/KrSi8Rc+YpgXb8vboT6iPaM62qKFaXEH1HFzWYswaTxy9WP/lxx/Z5cudO
EoNxfksx7AI+LpSNTjhipjZVG6VDCxL6Vu4Ab77JkTziVeP1CU3vgPv7H9Kua8lxHMt+ESPozSut
TCpT6SrNCyPL0YDek1+/B+qdaQniCl29MTPdE1ERdQUQuADuPYb3YFwbJVinMKQB8uJaUqUwk0xG
nwqjLMM7I4+/F53yu2gUP0rVw1gnbgHGEwhfnBS8tvVgJwu0DNIwGjrMLh+1eTQG0KDsuExdqCz7
lnxnRarfdoMN11uv43Fs2Uf/abGeR6T75SwXt+nUkcTATYRe+qaXNqDvHdzzHvlWQ2tb7zwUk4+t
Lhv7DsIxdpQuIsSlRiiPIzpnfa7mZAX8D6ophZsziwaMy3Y2o6qgd532vvAJnqOgOe6agHfbWdtw
54Hky6kTGjkmeEmAhdXWzjh8zGICV0FuP3Hlbqqeh2HWRChJuTKaOMZKb/E1X9oM+wQGy+K7ClRI
u+eRyxh35b/ONEhr4PlLqatX8NM8tSajA+/Tlh8nXye2+dn40kNyb/jksXxtUKbZqm6+BeNE2YU9
usQwoEAfhVfUWJ/d//4MtqCpF5LWDTU+o2wMdtgfpqq1ieTdzplsj+Gv5Q/YOa6OAIigjXL5DRdc
+kFYxJqU+jSliiVDbVt1oWxJAX73MuW1n9QzpK8SQw002KjY0JWYNzmM0YO+kcNv0ICNDllnaTCQ
ndqXZEqVxzif51+3f+haPgK2DY0X9JRos/7yd05x1EAVFMeWuKNkPxjWAjyeelx469phfB6HPUQy
ZH61w6zTa0Y6OFpi5yKKydp+2ID445IBWEgoW0BmtTvwNpTMlEROXwOlENBwwAXAdZR5phQNHLTz
CqPM8Z9qq70Xx8LNJ7i7Drb3w7T77YCejAvzzE9h+6cl9KvozH7WypEo8LOgl7nZk9CePIHYKVMG
9Wx3GJ3bn3QtHZ4PltnXcaUZuUbDyYO+6aOjBJTk7QhrWwgMPzzHwNpC6ZP5mAOk3zWT3nUggeTN
WRqM0vA05dLT7TDrA8HKBM2dlkCYPSTq0SArPV2bc/2gFyPEx7q55czWWmUADuWg5uNpAj4TC3Uy
ixH2JnQw9KBa7tA/eg63KdghHZx+FE/t7PTPMYenNXEelVkThhVPpTEjqrnkOzM0N1WHlnXN7XXS
v+esGHgVh1kM6aQtTbrQT3XQd/Nh2oND+EA9hSEuueWl1rUPBtQIirYaMBRXBKYlynvw+LDyphDk
OtUUvtelxLnVs43p04jQO0W5DA/la121dp7imVS4yswA5S/bmnpBIYFM31K4FfG5n2uVAPRqgZ4C
Gg5x2cU+10UvaxkGpT92W6uDpxjt2KIQ8LMJjCPvfnhFAqOP5bNw7KtFLQARLQccHHJggmJud0iM
6E5LQehjyK7pU7hI4+TPwjE78ChL68cWWJg4EICIvYKJkUQlwKpgsHQztC1gf9QtpvLMrQFgw+x2
Thfkz9aRB25YWzmgQ1OVDRPHBAtEhjDKaMwEd4NCb58F6Hp1TcJbOKt3YHrIgaO8gmmEIJVmnN6D
ctADrNm9VD8JhY6j44/6GMgOQe7WR6win9u1XXtkwyn3v6GZ3S4kuWQmFp4Z1B8OVmn7ZQbDYnRL
FzayPFT36jiR0nQI8YKQzZZbhMoQpGLGXGZC8wuC29DziqFHrR3BjUO7T5Bntyiqh9u5en3dnkVl
LhJKBQ25scC27Nz5N6Bb+mF6mJ0woFTUTgTUCUTYKDB21T1Kn1zLIW545kgaJUkUMnqra1wzAMZ5
PxAneeweToY1j9M3C7w/uEk7avBt3vBwVqvnoQQJd0tBLQuqQpeXKJI3QiWkmPHYgKrkhPtk/26M
H7dneG2LAKr/nyBsYhgWiUA8EYmBkOTZjAZADSaRxyheDQJVUcB+oD+gsvtwmDqNjCamcYQXVtnB
okpu3dvjkFZn6ywG/Q1nL0O0QYwlG+k7ICi2Y4w1Qm2Ou41ysD7Nh8nLQBnhlZ5WT3m8doAvQkkI
kC3mLmE08qAMCc5BihCPnTooWifrgNbQgpMDz4O8KZzlw2ztfzNatNtxfwFI/Qr1X0KqD5JmmFFw
yHbw+v0OjWcokvh0Q1iBBh6sU5Rcp+HV7wiQOMop+IpX4Fs0gKwyFOilRgPuvYWnqRFyRrZ6oz8L
wZQopyrqilZCiKGq7MQAtHH+FGsMSEPpRs23nHnkjYj9gDHI9AVBOKGGmR/9huSTvFrA2Yu+tDNq
h4+BW0uk528W5u6kCOYi5ipCShGeKCOOfDA0lXpvTZGTq08DFw6yujPOHmPMzshSEgLEjICQXwna
J2nT7aUnKK51KDTAgtuZv4f3PbesyItK//xsPw6Q5ibqgP1In2bLnV7bA4xMfWhIAv8SmnaBEofF
d91dOxPPZ5dZP5GeYf3AJxYHxkAb/Mu+eIOXiQeXDb55G2+MzOpJR72HjBpmNtKGyo5Gq38gdR8+
GTLMdTgvCvrDr67cf9+CWVZBuOQmlIhw2MuQnfUgTkucMouhldtkeeQPljh/u703eAGZ160AVqc0
q5jJZa7vs47sI2ksHWvQP9Us4iW0tX14dsdHO/pitZR1XYWpjHM+VNLdXEybOOZsdXpa3po/Ztst
xVDEpohvlW7/xknwd7fMGwmz2xao1kKlFHEGQIUUF2Tod8qRUqEJeWeJTrSNXuQBqKHYC53lQaps
CIYDTWjzCXGrb5rzSWW2YCQ3vZjSMrSwqbYEbnQkEI/yMzIbzsJ2w4W80Sm8NcXM3huiqK4yEGJB
JUiPyR4QMCd+m2BCCWHgf2CduLL7NB2KjjiPqBQDW33Wy3Rq+xkLFMqLdll8VfFjCLWj27tg7Qqo
6SB+AAtK1fHYIs8k4kFah8AJZltoenV3/Zf2Q981R2mvu1ogzJ5wkBy0b2WUXeYNFxW+ks9wa0JZ
E6QCUBtF5htqpVBkpUS3vRD1Ni5X34UsaZ12KQso/gqfTdtuxcr4VoT9e6ekW0lPOH3JtZo7ONwo
b4Fvd+p8Xe5NJc6WYcYU2dAQcsyl/DDUfF8UkiNUil00M6Q7ZceMBBeydpuYbzK0UmbDmwNPR8qs
oNN9GT+Pc/yyCJZQy8O8036MSHnbaG/saWlZe9Iexw8tAFcm/xgO4ib0/sxe6FRg1oDiAjQWWkJQ
RGSSfCk24zh0iWFrYxXusMDNIFOTZpNEy+LoozH5t1fcyv3gIh7z5GlNKCp2UAa2K9gt2oIZ3xUk
PC4VksS0vOpwfLSjqPm6HXQlO4JvCPIf3MEoKogdpAJmUUt0A7rNn5M4oVcUbxLS2TJJgjYbfFkr
HjpJDG5HXcmVF1GZL1sqSjMu6CLjsofDuduaY8LZvqsRINNHax/m9QWdiHK8UC6ZTeRtkb3DVo8T
YOWURP4xUF7B2Xxt3wpuiqrNtQwF5zGDxDsAD0m+hbQ0PGQa9/Zs0W/ApNeLUEwqMMppHsQSeg1N
DMqroDlZRWzR/F5J0FHPXm4HW0muEERCdgX9FIZxbKehaK2q7rTKhAh/6UDLHhsczROJV9tbnT6L
kqaAwQEknBlTmCoRIPgIA8B95Jaq4dSaqxpAcnVCxZm/lY0FVS4JanxQpICjAbPGu6boJy0hpr30
lm9ZGJLQQA2ydFWFOCmuNF3NrV+s5C6qjgLvIvCzUXBmxodLMETejBRblqiOIcAyldS7EnrkSSG+
xtAJVofIgXw9aD7in+cRC47C1FIPdfurxljWVMMEzhtW5qJ7HV7mdpaJQaEvtjaI8EwE8wlWGANn
S68VNmltHWcmkOA6IAuX2RrCjGmBvxbpqxcguJ8+W3HzGNa/xGraygbg8GV4UNTqa6klv8l+qAav
1nm9cg0c1YBC0iUFfB5z0RvjOJvkBQ3ItFUcmNXCfrSutnqZcJrfjNsSPRhgSwAkMaiMSCHw0bwc
aZWHCiROTk+N8pu6Gyd3vpdfx0MeJI7ow/mjfWmP0wHOD37o/enuRGisYxOoT9SPWTpjRLpWylpk
GzMpYYJwT5SjJbS8T3mdPEHGgrwACOiAdl4JWM4EgnYjfYv3u+VHs6XgxrJwijeQcbxxK0JGzxY4
i3alpwbaBGS8RKhaG4AVMBuGtFEypBTaiMKG6eDfieUM28KN/QFE5qp2hm/o2Mz+/CD6GtCOxuj8
edXYgLQAVfMGNPC6alzVRdWN9F4popTUL3YZj5xDY23pUPUCUKYR6JqTTsZSavLmtHT+Yr9AIaPc
z/AHQMM8CnCnmuMn9OcVcEfH/VJw3pIrH/Y8PPuWXERhahZIwdpGgYZNC/H1gqcixgvBvB7R3VOJ
XmKEhDSBmn0QXfp/DkK+3H4KPHLEpUaBYSgrx6h+Zk3O+0xrg5BQtkSpSz/VYC9DyLpgCDDm+Ktv
IXuw/bCBmdgoQfX1F4pAOv7xvtYkdA2haoF77pW6Y7KEKYxyMCZ9traGWToZzIWzPOGkj+tT17gI
w0ydWie9KoCIbmfW/Aj32d9hP7rQQd6HosibRJoFL28tiAUYKLpcEKVV2Otz3Bp6Zmb0EZrEe01L
HUWyglG5i1uYTMaxe3sCr++xl9GYy/OsD/AVoG+VbCzhyQMeq2I5VaZ7WTzgffKUVLWdij0n6tp8
wjuNqs5AmO/qqBXyKE5FgCrsXgXwCVYyOuwyo6M28CRJ1tKjRpmzGvhz0FFliclN2yTQ54OLzrwT
Wi8+hlVk95M7QEZsE+0oxMwQtw2wFtKDYDpA0/2FN/vzaxs4bWc/g26cs+KenkplYw7I/20Gf5yq
ckRrcaBAZ7cw4rn9RdfmFjaaaNXjVaJcMXbMMtaXspJQLq0WwTF7Sd9mKEA9ZpEs79K5rZ9ux1tZ
r1T1UIGMELY86uuXQ5vToSBgQ8JgJn3LJs02TPDOi6c+qxyl4F1JVwZ3SixwAhAh0nuq4JzNYxqm
gjIueOvNhnhUO2kPbbsX9Kf3eRZtbo/r+vYL0UgqA4r2K8hXrE6QXMVGk0UmdoasuN0MZGJyXCbV
rUBpzY3frfh6O97a0PBYRt8KUmxQg2JuRxCyj2pQlvC207RNUuZeL/YbsQZeCdIPt0Ot3DmBM6aP
FLDJcPNkwRbtMjdNGGaGPf2AJpFXPDRA/5g/FCcHG4J3PaA3kMuERkk4uB5DlRqsGrYigz56GdcW
yhEVPOZb804c3/RR5qz6tSC4HqgQCQR752r2hESphblRgGs3YMMCArJcfcgCT+bg+huBGHAWhcmW
abpY7dipVPfaeIDQEOU5p24h2oanP2MLgC5qq9+zQ/7G+WC84TGbzIQTQ1xB6MWWHmjXpd4l3rIf
9vMIlirVkitR3H7mocVoUmI/3NloT7n1bLMZ+dLXfY2gRb8T+l8T4WE5OaNioZxGm1vygiut3SWu
ADBuWj4pCmfqeDHYo1sXoxQa05ptZkDbRHC2VB+HhGc2dJ0ELxbGCXR5NlXyInfKQBcG/Mhgpx0o
auIY4yaaj2b4cnstnGbl1mdhzpJZzsWsQxWIyiVpmUOxbOpr9mAeq7desIt9saE3/fK59NX9/FZD
VingpeHr3Hg5XDrpZ8MVgVglFcwGbZ08l+G3Odka8x3gfY48+kTj1FNXEKuX0eiuPIsmKR2cSSdE
o/IJ2NrdS74Rvbx2rPfxPoEaaBIMuwVKdeUx+Yk3HnVN/wfiiteV5cufwSToQqllKA3Reb8DhQyE
zmFvOVS1Vd1z+dOcRMOKbOdSVYVNj1itp+6a7WfuRcQmB/U4OFZQ+tVr7MlvvKin4sqtlcVkGVAm
LGuYMdGUIQ4VFzvxQpeKSJrH5CCgmL/r3dEVfqfevNFc8hUe5EP7lqE1cnuJryYeWr1HhZCWWJm3
kAHZlyzD5dFekgLwBxHmlbzn1srFEF8TRCgAUYGDBlX0clEtERQCTTrD6d3yPnvTdj5ksIwHOAU1
eskzAC6DKr0vgPKMXtNk4zk27nnXwhXiw+WvYJZ21wAkAdY1/c6DG8HTM2hfqSR2581u/zzc/ysO
32VIZhnDkyqDJw1CUqVZxU1dybAT3IMlrwm0I+/kWl9TZ/PMHJkSPPsKWFZS04bpDorfD+Uu++gP
yz551VDNcynoC4LLr8NT6oWehpZ3kAVdbc/8TbWatc5+CrO89XKQI23GT6Gt7oUu7Fd4EUJbSz5W
HloT0O2wjhHwph/Jw7+4BBkoYEBwEhcUFRqml8stDRP4TubYWoZy1wubYu5tAY3M2/tm5ay7CMKc
DISoIUwpZcy18rPTPWL9GvTn2yFWEDzWRQxm38CFshj0CAPJ7irZtt6nLXmMXeMe6hlwp4mfQhtO
MfvyO0/qZeWEvYjL7BR5VpqkohMId0pbwT83YXFX66BB8dIgbxaZDQLLn0YfKsxi2yVOXn9RMaSp
+WOe2uU0MtuijUIYstETlMhQbocmXzb/eRK9mDBmtaczTFabBBG6DDWE5KXUf91eCmsp9DyCSWv5
Z+cyUldrhXBht9XH9Lj4+mvnSrhjURUu4Kqq2Um/0vvua9xSBevInTkPz5Uz8iI8c0rIjTA0NV2J
SYuUDWMz/VGRP+qec+lfXQ6Ab4EYgQcnSDOXo1Tidib6Imp2oz414aMIC8ai8m9PJSfGifN0NpOq
1bdTgfm0G416Zj205Uu1PN6OsXKoomH533GcutZnMUa5VaOqwTjQNz7IcRQkqcKpMK68KzFFqBCp
1MAK2Y7JcmIxRpM1zRoAFEAUNtvcoyshrHFrkN3E5yXVFcAGHntIpjBhRr/yiu1ZixnsymvEozhp
qv0UprZ5pNJ6VMorTB0eMnstC50HZLYtkcRKBmFIs2s9cg0l9CL9qLaaa2WRVyoGDytNHyfMhQxl
K4MiQCHiCbrb5dpLYJ0XCwThRvIGP2tPkEmAxixqni9Cgt5Q17/i7/PhKw2kQ7UFMI8L56Ah2J9A
1VJgCQYG/pV0AqQAej2csTSn6qXaUg50uDErQDjKI4D37u01urqAzqKx6Nqu7XJzahCN6vgCLZG6
sSs/U5EiuN/9A6GGtQk+j8dMsAB/ZthaIJ7Y+BTlBMc/p/qNg4xi7P8BwogXj/752Sasi7qLjY5u
9AYeVrmHJ3xvK0+tK/soTPIB2WubHuIn0EgEbwIfjznLBCsXwizHpoedry0CAtO3nAvBSupCY00B
IhqsYZDX6J+fjUiyhgiqAiglFcno4jH/zVisGuV4lZdbVtI9SprgtICBhCYQe2EfjN4UChOBcMr4
wLoKsl0TsCIGm7oP9Q9pZGuvxe4fZJmrTQ/zDPoawShBWLgiQEFMU6zQl8Kz6JnKd4Knm+dAMOJ1
RLUYT19uhlb85E5f/0CTgubMiw3IRGdSTk7qWOrQLAeeCk0vG6r0gC4Dbys58wvx+z2vHXydVJmA
zIGXGxqs1qHRdkqqyp18epBMTnun+iZUU5yM92XpCP7vEcLi+HIJDX1OphyklNOz03pf7tTJzi0v
9U23dWd3WezqCValn8Yv/se9/W1h/XIZu9SFuYjwBgXeQA+s4deC26Uwzm45zjbMoew/zW90bqlV
LTAGaPGwInehKoctEA7/W8rwCgp39CjDjSL+es4NcPVLgnmCJy5cyZC8md1P4DQvwOwJRLDIpdjK
aAcHK/mFwK0Wr50qyJzwizPAtdV6HpJZrWB/CHMWI2TjtprfbaVNDhVI2bLT+wKUE3iSeZyIa1/w
PCKzXEmo15qZIKKUOfERCOYOVjc/ol3xfXAmDy1vv8p3VHYn8nVe7Kt0js+Jlje+JIwbKLTgcvUU
iV6hMQk/R1TCgvij+aCExQRh28HhP92vUi2iocUCZCVCXYtGiSVA00qKAmOlNne4lN7HSYWzP+Jc
Rq8RnEwc5hlZmKkZTxIWqfpYws8u8po7iDHaeRC/WZ/yM6QRpWCWbclDbXEI/gU1nInPHCmVpY5y
MtP4SbuF+5tP9G6v1hanrri6Pc7nk544Z0dX2ut5NcSYz+IOVUXVKwMCf6n6ToYgHMUb8/hJ19Ue
ZmDMfjSNOGzrBQOTHha/bG1oB0MjWbXz2KVSk8SPXK701VpyPR8ksyErfcyykU4mPTaVuyZxlc2w
AXkD8lePdx8Q8wx+Z7/QP+B1D67OawwWpQ5AqjQwKQEKuJzdIgHhVVOBUKdXECcMCdyw+3l2pFZ+
ksSUk3iuLjqIBrwYEFQSurxXTBtZmWA80QDEBKWv3ZQC/TJ2H7czDS8Es1ykFCCtakSILsqeAaaC
NrIAPcbbQdZmDRUi4M+oX/3VC8qsVKiQCAgCc52dNMS/rSX7BlZBbmtFNfFO3pXcCbwbnmy41QCL
yb7XSB6Wxohvh+s2LWmXu6HcwiY8/zVA52jy5q1cublpz9R9HKy920OVVsZ6EZ3JM7GuxKhPIDpV
LZNQMUj9uN4NlKVIEVOKE77F3eeguRFXfWJt71Ohchj9QAJDvFqdKjqQjbigS24emi0V4KPC2pTg
k/xMQS3gvRulldwNEhi8V0RcAMwrRl8YtmWZo49+op6a8W7JHvUtFTKTvOW1h7XGZyr7c+jygG/X
Lyp8Pjzb6P0Vp+QV404mplE0rUw/cfkF4TsfQn+PBhhvYGn/sdI9YAeX0ZhsMxmx1TYLonWgTsXv
kNe/V90a9lPFIdtlDlemmB6wzNVRl/AJQScE6Bar+DLJtHOoCjlSkB1+Tomd/ZwPxXP5mhzkIwr4
u8KEnmIHknYXxI9jB5I/Z7euzi4SDpwZQKug7fTL+JIyzXVGhL8AT8PgUMgf1dHIf9Yf/MvqyoZB
eoNGMoSn0eNmqRV62pqkDaFII7Y/hHEXFy+jEPuA1W9u78y1xXoeh157zg7GfkwS0i+IU8aPRPhZ
KsdU4dQ/rzMPVWyDwiZl6gI3yHy4qpBnmNfXwJln1WQXsv6AtibG1QaGhSeOCIfV22O6XinYdKhh
wDEA0kFXNoW5DFuQMOkte1TyBxKGX5MqO2E1bcYm2U61YDfD9wa44ttRr78YogKPAOU9lE+uSOBI
5lFoKIiahdVBMxJ7Vq2nVja26jh8vx3q+qOpsM5CrYhaKUM0gHnJSMksWqlgWLZEPtvi+5TD2Srn
tc2uz0AEAbGFUvcBkmZBMd0sF1Pfa5Zd9p0tFYlNIl7N63plIISBCqIFVClQW8w4ppCEYt2ZCCHl
dpNo/qCFm2oqN3IDx8DoZ5OXbk1+AYhkR4plQ4jCzfD/ZfOpHdWgXn4VA+GgDFeyN34TDKphWgjl
6itPmxKQ7Fgb4SXTeiac4oetAV1ISh5WgvyoAb1sJy6PRnNNI5IvgzK5NGstFRAgBG1c44fsLZAQ
zbeRgxIH/zikT+zLPHoZi9mOY5ZLag+vCRzF+mwbEAsw74qvASphXJ4r/X5sKHxZVNUkA1qULM5p
1tW+JW1l2FDH8YZlcQlpt1WJL9mnjpynQQGgRl2btppHziJnnG95DZ/AtMIAjv6XAqdPN4Oz5BaG
UBHpgLI8XYiBwEPLNah/oZSUO8Y93m6OtpvvDNUm78MhcWEId0fe/nyn4kyC+iIKZsDNMYdGY+LS
pfSdAV8NT25g7mVBbJcTY+VyhYK4iAmGniTMU9mdGnYdjhADtILBrxdH8zO/29C64yb5NZzMUfDC
IXYp2twXx0qOOI/MGt6VeTvAvRdYx/ybGSx3hSt9p5atAlx2VF+grtl/ztim1f+/B8v6bIaWmAN4
g8GOzuIbPuRSWsjDdBCmxSX9QGBzZW15dbL1YYIfg8sVwrPruA+LaRHCybDFIrZlKXIUGNv98ULB
sP4OwWSAvAIVS4sQIsPjqYxbQAFlZ+IBOFcOjosozN7H660zlGwGCkBJA7FRcRp/IL17t8eycuOm
3+i/g2HRZGmf18ANYTCtp70v73+5vUiP+o94Q4mg3FYCZ1jsOdJMCWyrR8RTntPI04NkQ5sJNbyl
XsINNc2Sbf4NbW1RoMcPLCyAjth2zFzmWhLPtbFg1y2GS3Av7cnH7Xm87rpiseFhCAAsKC2UZHl5
OZOUQlUJQQgILz1Cneipd2Bb4Zpf/SGHSZ4jBUPuiu+yn7vVweJz+NfOpYsfQO88Zwl0zsRUH0ys
l9EZ3PY+31FFZsmp0Q/ibuyVw+IiFr0snMUyx1SblAaxYEIC96P2FZKndnyvwFKq5mXM1W93NrHM
bgtTdRE7OrFUgIFqTfe/Qpc+CfV3xEMDW3m5/SnXrhUXo2NWizLLZqQpGF22VUp4BBRu+tzs23cq
Ao/0/Dgc/tXLF2gnFbwC/A9efWxRuBYtIcPFmx4Mkm/5cJQiTtHArV6GChLIbrfHuLYLKVsRBy2l
fLJPFquw4rCzBLDbdDzwieWU8n1jcfXV6DpgLhUqgsB1UIe9Ip5il+skVyLBzBZQFevZXnyykV8B
wIzf5drGTcaVHqOXWnXCJhAL2MbzStArC4dCjimgGhQU/PMyuAoNjdyaetRJ0vpunrutVn/dnsW1
0xwhwH6COe5p51+G6OMaYPV5NE9r0wCI9WcGhhf66opTN2h/FV70sByzO5PzTLvGXlJGly4BBE/1
a/BWuwwswJQXGtizeXrQS2BBbntqLe1ZkkPiU8lk8ER3RsXmM3fbLRxJnytYafOAcivL6K/1CgEp
2mdkHgX1YAjlDHcgWwzvVbH0O+ndMnmraDUIhRGACoW3DXuiN/2g6AWxMNa5c6Qot4Vc2owqT6KL
ThmzVkET/DsMk2fSpNNj8JnwLSuHNDCblj1qfJaGXg80L7QmYGvvctbP2hLFrgcAxERp8YpWm49J
oco9YgJneFd/O9WBPJQr7pUddV1PXG5xb+VFAWYRhVdSbimY0ZcLpyurMpkLTKaKk7c/6NvZl3Hk
Im9z8DlrF4uLSMx8wtldq4wckaL7EVjoehdu/1PIIz4fM7DypEez16IvVBHoeDZ/Sh2Uqss+x5O+
x+XdVWfALSGiqpFH1LghT1Iv4KJ4nO+3smYQDnULsEMMvJuYFJM3hiAYU2rZRW34uHRCg9ASA6ls
t8n4q5LJRq/3vShtq+TZiCCdHbWOKvMe/yvVLtU8echCIB6/hi0Xz0oZiU2E4cZbHV72ZdDtCviF
UMoUf57p4cdsE9RqsGZBvkGFjT05otZEHZG0mOeTWB/VrZa8LuC1KVY2vQlrFx1G9jj7r6hoQwwl
8AXNNtx+i43Qv7fRtM+hNnr7A67sP0oqR/qGhRM6IsxuAKYAitXSaMHeYdlmhuz0UsVbI2sLE8YV
eNPCEUFBTfRyx0FzV6nHaUKFyxl/V3cDEFeRXT+WQbVpSzvOdg2UOSOI57zxrmlrc4hPhHPeQgfm
qpgnzG1qlc1sASSNd3Od2FUsubnFk8q+DgN+FOZOQ++cVrmY69LYpAZE9ywLdJHRMwXBnfLRETKV
kyyv7xIIQ6nwqD6hVM82rka4CZc6XGRsPd1V5UErakeapa+pngOi5y+3F8bKnkI0KrcBHV8cbCz7
HjOWan2Nsp0lHzOIYA36L6kLH1sjfJWGBAKALeChmae0lgP+/Ksy5P7tX0DT4+U+o2qf6CdDEAim
WGwPO106XYgHbOqui+8WzXCFyhqdSNGPojQ/dmO6VfqBk7PXviTaESbIboC3X9WAlDHWAIIKkTer
L6tG6x7+1CKczW+PbO1D4izXTdhtQ4iHTVcKaeJYXLBeJkt/bMt8C7BXUInhYRxqNyXcJC2vzCTt
A9BNjg/J1nWiJdRbuNCjkoVuGu0pxW70KgUUiti+8cRM1z6bBbEquttP1PvL3Z6XYZ7NQOfZ0ADx
zDx8jZRjrpp20t+30VcUlt7tybzOYGhvnMWjgz97ibWtrvfga+GTWeW+yCBmNIScjbdyy72MwVw2
MbN136M5isvmTDZD71AtdMGTX+bMMR+S0G5faKU1feXicq5vK5eR6ejPRid1dRZ3MRZkkqTfCwFc
G0W70+rGlqfMTvIPgUi+2Fd2TjhmLNdJ+zIw3SnngZW+WQBrQ+ARLQhsvHLewfjAHkLNuf0BV3eD
hr0mQ7AZhxFzBI1lIQjDjNVZGthpcxe7+ix481w4wpL4Y//7drjVLX4WjrmVJShehSiFoB3RxV6C
DplZQa6x40RZufzR+ft7VMyZENVCLarZac8tHbTzIe15vwRYKmNpWzv5H6jErWwEHHGAVFB2NRoC
zFMkG2UlqkVEMAfNiazoYEwd77lH/w4mJyM34q/HcUdxt8yqgFZ4vMQzYtC7T/NA3dmoNVy4T7lc
q1On7VYsukLPViAkEaFY1CHW4JMnBe65xFnuk1eYzOR35acF2OgRrrOoSGTAAzQQ34EZC9R9P4Vn
bVsclufI51VWV0pc+KJnw2eWqhbBACus8ZMaP58hmZLhiSSWMNo2nvJXcysf6WRUlpNtYi/7FTo8
UZWVtXsRn1m7cRbWi0Lj92Q7h5Ybyw9ixtMUudY0AQwQrQi8IhRqxsE+N8ksRaekg/uaDFFaU4VS
JUz5TFd8GH2qOQgz6h0ORqmmOY+TDU4MQvazg1kHI0O4TVHFo8vPXnV6mI+EhLb62XvNdjwoWqBJ
qHl1BLwoYnpUGRfUYl+H6RpMLA/GRxMADqJ9NZCsFzYRdSfZ3M4ZKwAp9BX//lFs6yANhUSaMvwo
yvRccIImQPLjd4xuvNE3RRDeK1tOyJW0iGYmBJBEygXEa+NyHka5htp6HWEegmYbNvB01/z5kPpA
nP0sIZPYAYfSIPAY2Vw15LVtDqk1kCUAz8bFllnnZl5bTdjGAO/v8nvqd2w9UeMXCNe9Kby211ra
Oo/FrOmhEpQWkoiY2l250QMlAeDNzKAsD7wNEH0A2TsmACnltvQFVztmgbwhz9pX4nMrAzQSs/Ko
+apBIel4rbAzrrZWX5RJST/ygN8Q6OBtQPArhLa9/KPyxCPFNqMAo9rZK88e/UQguApOla5opRCS
W8zn7hItDNWmwlUCYiBdgkwGRXKP7L5bie1nbu7oPwHqLuz8QFMuJWEmH19QWIX0V1CjRJo/cBf9
yrURyHzkO5HC57EWLlegYuYTZgs/idbTsyNky3fqkTYo2ucI/cfb631luV8EY65xE5lUMZURrBbe
Mg2GdlPsxDGUo4cGtFeenNtKJkfrUaf8FfjCQ9uCWeGxOc6xZCGcYveO9pDHSHWCTbxQsHu4DRFn
2Gkeas/pHtLR+nfe3F4vevj+wM/AgjYbxDDZt82cirERy9C6nKIvMfpt1H9+/aByJPhupxvV1Zt7
mCTLgKlACD/TsPEbmApQX4oY2EoDyHUIHHI5T+hWM/sHDV2UKmg5GFhgE02gy/WiQimkw6PtHUCr
Xn+J66GG6ndUp6nY3JlFHhm/IhFvZWi5F0tbNZ9qN8JswJvEcjYO+RjpcurVeW5KsQPj3Hyot2Gl
KJ18r+CJW8j+mKntoARlbPSlFzWhIpHndAIXqXJ7ISlGHAZhCu9aZzKVDMJ40dSa+vcojGFn7pvl
XLSdPyLjEmMjZ0ucOKUlpOpXKIbRaAMfDuhLkMdpong4W3vIzRnaXNapC/mOUHtdognHki2Q1NgR
HRqumdeFs9y4AqGix+4EA7mIOLhNGuJByCa9961x6rXGMQ0yFc9dVuEOb6eky6fGLiFykmzyNiXV
bwUIvNLt+6qPLVhTQrUT8r551eYOmCV61TuAtoUijhojrIrfudiY1YfQJTCBmsC1sr7PNX7mQ2sk
nbLvJCL2AC/pZlRvYZs4o9RCutEUa1uTC1P5yrNJKXu37fUB/OpGMadltgkcKGCjp9UlSeGgPTUJ
rIjIZEH1q8U0v2SLIGuTW4VJY+mOtZjJUMI2cZT6l0SIlAnMYUxrZxMg0vsXbKt50TZSY2rCZ2cN
inYsRqUkP0iy5Pp+qIUqSvG3qIO8japE6WofhjBtfBd3qpIrzgB0iQmnlr5Iw0/NgMSCPynLNMH3
N1NH8ymuhbB4LSQrI69jqyZl6sypVAiBMIhLvjczpUCiNFH76fcQLps0D1VYJbzrKyAgv2mNPGBO
xxbRMtvszSx8zI1UR3FyNKTpvp4aFTfNkoSqS4xUpY4NZlvsCAyG+qCIUT1wsimR0r08Crr5qbYV
qXyjqeBd5qQtEcPSLRQg1aH0WtRYhiSO1HZrLKn+MDVN50aCGCpv+tKPaFtoUSFAvrGO5cbcgIqd
KQcyE2sp7SFqm24b13GWRU70P+x9R3Pcupr2X5maPW8xh8VsGJodpVawJGvDkmUfAmAmQRDAr5+H
PjP32i2V+05926+8UJUTSBDhDU9Y0Ot/qDSwazA5L4OanpxRtDNksegytjk0N3us+66wYI9WmAig
Tq3dEnDX0amFzzfaYKjZaGDnFoC8RStlwvyysBPLXoYlV5NXG7GUleNvi6BuRzthbt/zN6VthD4K
5psjFat0sVTLFBM36K1vEQp7utq1zChXve+akhFyd4OleposnVmiKaSNTlC/efGsfuI7Y2wXacJc
ISDuSB79khEEogdngrI1GPY8cKu/4FpeBjYMgoSUL8M4sOGb8LVt3i3LACBcRYLG9RL4JSxo3U2s
Na0ToZZbgRzTDo27mxZ/CnPDcZ3ymYf1pPeD7xkGzg5zXpLGaA3YqVlg9SS9EAoCRrXBrYElYWFq
W8Vu5ZhYxwseesKsF3bbvaB4Ubs/usGhpoOCENSy8JZF0fRfpzni5n2/aFqYiYktZbzTcKLlxqlR
QxrBaVsM8cgYqpyDNpz2wa5Gx86IGgsg1DhIY/Xr4HSe36y1LYOfRsnq+imY5gniZrIOPQ6QuqvU
ls8zUfeqHf2qTttaYtzYEVNL6sMQVCGf4wgS9s1ZBFxURTKpwNBzzALZlicR6QEQYqta6BYWTIaf
lS2zjW9dpekCmXaLeFMMXoNt7bHMAnJeekHZsYFIfPUXrJSmmmd+U28L7CU77SY9Tbed0xPn4IQC
0BKHN8sYc9Muu69Ci8mZk3me62mOi5DpnkCddTD0/8A2/r+5/H8i/PwldPpgLn96+/5Wvk3vb+N/
/sePllOudt//6+9/9LfDvGf+A0YzuPlR74aiKBKp/3WYd51/oG6MVjCiTBTnoA79T4d5w7L+EXk/
HUDh/4kQ1Ea6/T8W8zjb/4FwBXBmIGJReQ68/4vF/Jq//SvQBWgngutIgKfAz5++z79HCWXnGU4T
lWGC+u3G2Vb5sjHyfweh8dOp8WKkAM0pvCqYUOB7XBQrJnswvYVXQVILCYapy8xee8liNdjdKTCx
NathJjt6c532bIkUbuXSbY2bpbDLMA9l6cF1nixuaSde7TivkPkM3uBaxn8YcmKAkFMuDej/irLN
K2QWfQLKXnCop4LPKUQsebGZZbTgaIJblZnU9qwhJ9JKAipfJVSxSBBFoe1rxS5XoYT8eqMGCqGR
fqoYhBeIdmF20UOeF7ROh1QLbJP6lplQE5JtXT2X1Uj5obQnDlsauDRLLuMa3rCmiINqZPhNSOB5
uPm5jz/Cu3oNZ3NMQmYhkAEaSCAeDFmLUlUsXFtFIiamOVV2XLikp/tByxr+8LD/6KrYaxZ3WmJS
VBFtYuqas4g2zVBK/4emQ8gh5UD6YWCxbpbAy2Q/qnrjcJ9DM26E3xQAD7yq+pOcjTHcRw3kAPfC
bh1zp5ldqMS2eyd6N7yZdwuuw46NeyLaLtiC2gIp875zKijOkbBACZZ1i0gLpQoRr5jqO9510a5b
fD/3wlk9RbOo0r7u+jpbZtsDF9caVZXCxYSLjNm2buKCyPLkVPWy1VWk9n3Ax30xTAZM4yO7v+lQ
HzzgBsOVYZOZPauFm4/liLoaLs0wjyZjTBYmzCJZpFV+qxpCNz0n9tFozZbFparx4YQ/tq/AjC6A
7Cx+lEwdo1/dToV27A5OWBxbm+vTwnrzxQla+JwuY4m8d2javVikzTctDSVq9pDle7VAJUzMWi/3
hlssJ+FUBSSZI4jMKvzFYiCOjdtmMsvYMLxS5Z3WBUnNUTeIWFFmeLMsAVeaAP2N3eC54pvld1bK
LGY9eb4nb2bRu0/KrhcYYLahgt6P51bPY7dumE6NlpmiuBjKeBpgRR+LOhq/1kMngpT6c/sFWpZo
3zlw0ATVYeTiphxnOx2sydh4Phv2RuPYd7Ws7CoGfQ863fa86BsdoqsU4dp8YMOozqoJUNae1VDt
O2E5qUAicFR9oKJYM4ioOiJqbOxQq0Wo4EPXg3j2KfThNR10S7nBdvP8xIXocAwABdik9lymlHdi
OytveC1gepZCsKAPgRCZxqxpW6kOaCSRIe2p72+bstdbzDWeQSpcYZ5feklU6/7EmTJew1aj91pT
I7opQkKLxFYsqhPKF/qlQZiBqAscyK8VNZe9b4QKRVhZntumLyqUtJVxKHD6RNs1+1jSkobsK7eQ
ZACrYi+vnk+mfQjJJTsN1SCK3Gj84Z4oR/K8EDMgwL69lCezc8kNlbK4LYOmNpNxigwfYFnuO0k3
efoHi0rfSWteiz6GqM/iAvjDTLh2hMbcnrkiqOIvc3BwVcBRvhxJWb2pCgq/saQ9LKa7gX5HI1eI
uO+CgibomHpbJ5iHQxPUPloduFaGxBx5QZCTWJWM+Ty6RjJJwh4jrxMPvQ8ZUa+hANO2nXvsK0Kf
bCm9sx/ybv26BT0hThy6jV3M/qblg83vfLeS7wHnC8adC7akTFbqaAUWtA7gmJEz39TnyNFRDnFr
N5HE6LaqDNi9NqTzvSrKMZfc79wEqNQ5cwvi7phX+zc+6Y1vGtCoOCjC4Ng5LftBFlpnkSmirPMs
cuPVldoHkK7feGGPcmYx6WxEO3fbIy+q4ZA3j5uujdqbWuj5hmujh5QQtWkVM8uyZSyCEZrOxgIg
WWJ2RpGXUWulnsP5TWsZddzQguSaOzo13W7JDToBn2RPlvweLSWgv63fIOspre+kDtwNlL8mFMDU
8teIAtUpMkd7V/gBPRQ4q7+gwN/fDD3+CMNqcRvBbTru7AH1oJ7rQ4n1cgh7691pQjxSqeU+KImN
pH+Z3U1QN0NKtNntxKLrW8JatWnIDPk2ou27YIBiNbR9g70v7fFFhNSI0cirNo7SbrpYcCDzaGRs
nY45DyZx/Xfq9paKa970KcSrOIPgXgG0vDGaO58wsTVHYzmLiTmQLpMGfbEFvI2ajkSpWwLtI2cs
ztm2iw0rO5yHll3duWATfglqZp69wiOPxRLAAtGPyi9CjebGpfiO7dSzRJstzxaXjRtsyZrFxdRY
z8jUSwN3T1smcqq6TTU7441NjHmP6F08wnqkyepqgL3LoowqQ/Q6ZTbGynVkj1aMLe2lc6GMv7pB
FUlAJBaSUUYJ9WY3FbXtffV9IuE/DIHSe8x8eBjKaJljf2zEXVN7S2a7cmgyTlX9gpuBZwyUTJpE
YeGlXJfzUdStm0YuiXYlOs9pITzUm6ye3krPF+D5hu2GRKP9gFig28xmQDe+7KyESWUkNiKAvMJV
cuTd6nEGayz2OPQUOLuhtbci8uos9AskaCGZXokKq2+UoYhqgDSSG+VkZFPngG/W4EDherJPS9TZ
aa/gbqEWH9yweWrvw84dt43seOL7dXkoC9XE6Bw7GxRoTdTiKn4LNFF3cJahSxbDZHkYLkPSqrDO
m6p4qwaXJZSZN3XPu5R5YbGxBMJ/0o/BmTBPvfhL6D5OZt9kVNjmplQLBGwRZuWmMSFmadkMvVAS
pn6n68Sue3MDmWR5VkjNMu5SlNt7Nt4DGMGel2Uxt1HNrFdpteE3p/WQ/LhAogd68bIR83ByuRyS
1ZnkHTw96xyMEkp2I1uegAX3087XZcpdWZ9tIEgOQFRNwPCx/VzO5BbIg+UO9wR2+DwZNB3ooHdG
YBeHoZP9fQfcxAYzSDeDnMZdNQRgMJouFN7hJ5OWCz6528kocbkvzqjt6B+gjk0bZphiIz2JmAZC
2pvecSHl4nDkoP7sfe/dJprQHRzontr+kg9m6xxbpw+tzI4UP6JqMaakktYZIYeGBOEcIRF1eS82
uOCw2H2zI9gc3bifue19qxZzvjOjwTrCsJWUUIkq+5071v67QtntwTZblWgqgUU11kY9LCYyI3LG
tGLLcDb1hMMFzK2xhEKLPyQUkqvp0Dnhe2hOGne7XHKm/Plgmpy+8alCW6SMprtQwJqdVi0cVBcU
bLRP6ZaA53qI+sDazN1kJ3wpNf5tZL2EbTWcOstyN4OvjeOinR562NXcvDJv8uBtX6vp3jIaBTP4
SpB5WwyDPZxdjykrB3BFFqjQOGbadxbpEigfsTJ3HctGS7AJiZmisuQMGXM7lJHGmp1cZRTbsnCc
b6TR+lVXvXvoLYlqRwWc7FMPhbUDVShQQgDbOyPkag819mUeuC3NYJozZkvbQ1al8MK7SM09Qbit
sMd127YZWcY+tQuithMpnbyexJIttFmeLYRAsYfFGLchsMZD2aNlz5c255NpQpB1ZNulEWauBuZ+
qVQ5YHmUReoPS3XHKyViavZeIqbGT0DyjtK6i5zYcYR3r2zl4324C21riiSG0OqMC2dO/KAYcpNG
0EbwUa6caFemcjLFgauZfh+wC33HmNKm6KFbyo06KZkzblw2Qz8KlbTEnSwrqydZ3PNGwcfA9KZc
DtzJfNSrTsQf0G2gZZCZnhgz0skgdYemzIxmATdz8AU5uFGpj1FtT5sZ1u5AIMu52eIMCrOWEmvX
NI21C2uvxVFQtmLX1X2QV6Mlt7AY5SKFf5AHA9NuxrFgD3VSoUy31Tjh8no0+9PUhvNrFI1wGXId
Pb2N2rLfDXMaNhOV89dy6uih9Wp5KHxVbr3B1Pd9HfCsqiWoew4RWev50IYFVOQvxgrnQUAkV8cm
88w+Rl10/NLIok9b7TU70Vn1jRmIPjfqZokhJMbyBoWatDCqaqO0hl2w7CbM/gQpE4uXt6wG1SgG
rdNK6nlCFBnZIl3quUk9v1hiQHHMfSDovGtbph8LVMNY4iEubhFUwYSKwbbirSora4fK9ZB7KL6m
geHy3A4AD1rlhhDF0eq5MZm712FXPjfLEmZh1OkGJHnb22NGcdcwWM7W91ZHIatSjBF5XnzitbEa
rLJLeqcFlkN1+rmqzDZ1tONsgcYyn1Hx+7pA2eeAqxQAoSFq4EM6TzPcgU1cDYMpdOx66jtQiew2
xOTlTOLGjUdvNL4Qs9V3A3bdqjfcrERP0ELRES8W9hpMk3sOeyKeBpRQY6kjvWlRbMg9FgavgS44
rMjKCb2sn1kqLAt9yBm19Wvh9g2PITcgRQYtpP6WE95kARxMd1bvwShsGVQi54j+wKXQP8M9NriZ
delXG0md4DniHKRrTSRSXnS7/ipoiA+D6wT44gG5GMGnyCpYT2z6Jaqfh4VDu9hDYbzPe+rSPkUb
YYxiT9fhRkIdfz94RG9JV/r5QHECB9QOGlCTeoWgpAcUp1aK7qNBzyTu6lDfFBBQT9G2L5sEVoys
SFy6uDsqA/peO8pKbZ9Wt4MKixY0qgr+CojWASBYw6Q20vS5xuG2R5WWIruFXnnCO9Z/JV7BtmER
OWeLUHSgB2lsZO2RxAhneugmZMCiHKe/GuaaaUX8OhVG2L37UtAjSKNQoCu5Bp/RGLEkLAeuUxL2
oge7Q9N39krvAFxqCFtYF+JuDry3j+CElGgU8CDsE+B6oxOElse7nsvgPIzcVnc+PAONDfX7KTGG
abm1eIB93nu8iycsnX0rkBOix45iwywLSMqWLKpuqo6rnNPJBT4GwF7jtodtGt+LniOR6+thOoi1
i2V4xE1lb/SZUcwyI77b7sauBu7Wj4pUT3oGYAgnfqHFGhu65VEUY/GiZxW4cYmbIh07bT4YkWls
cbgh7xxqVGfCECtnslRWMVcdUPEObwPE7luA5Voes5pCJrvUEHSueTDluADkBsdwB7R/WEln00QE
nVqAKDTZRzB5Owts9yeE6MuLEXXB4+gHzY4KL3yHYP+YlnYJAR5EiDkbIM2zzEgTXUWDh3Lx7O0Q
BfW5tFR0h4JtAFFfFkKBrZqrXAZlsMNSdpF6WqBMTn2Ulqg2x52kdWIhKyljikw4BSMQzuhBvZzV
UkFZpfMFs5PRdcc3V+syQz7H94Y/YWXDb+omAEkTahr+6EY4Rp2y2rgtVJZT2xPLnSfWzpHo0C6o
6uLR95p2y1B/uW89Q+W1NUBZDF6C+lSEC/leUNc68iIc4k6Ie6h7NnFUd2MyDWorlQb9JTDapNI4
lqYOVY6680/mbB6jrilTuK1Cq54bj6UHF1RXl/3GWnzexuMk2WaA81NcClYeESeXGYIZaHBYwGYS
aDEfK3Qu8gkilYnXRW4KiTDjTXkuzayhFG2OKijpU9Sa5l1jk3HvWbw3U1Q74DSjXMTuqd25sJrk
/tJ3YNqHMtOtDre49do2GSAVszN5H4b7wIjqbdVL+46VFdOJaXbCzRdcUECcoJ6GtNt169yZ3WIf
uKICVQuVRzDgmLa+1LNnvUWjYaBZH6ngqFAFOlrVBJFYu+crZr610eYOBZCLnijnMen02FZpxSMP
v1FHj0gZi7uiD+QXaixAfNjMh1Elr2zkOAHdlW7EwW0JAvWiGqrgNkMDVqU1Y4oklgjQoGPcOtuq
qF8MR+LLLmZNJuyCphu2dtNqfVv6gfoSdWUIwUrkP99GRudH1Zi6Sl174U+4Z11IZjl+fa9Afnuy
Z9XrOOo86I4qVyMipn1l6bPlDshQhPIqNKT8vt5zRthtNMnpkTtLgTXhD4BXMLcWrwTyFedmGpaD
Y/jju0MWIwsMm+1Cq2nzJSgRCbKx3IqG1ScrwEPHOGCMeef1xFWJoVBIUPNUZMNcB++I6KutMcrq
aHUle9YG9lpsMH/5PmvfekLPvdCIaSl9NGccybKpNU942LVtHHQEpQ+0uI4VCuCJwTvziGyschKf
oSGb2H6DijXXfjdkTm2rFwPrgZ8gnqKG/Sy8KYSH1uLBb4GqEN9jKGya92VHYEM9cD5tDBH5Qx2b
Du/gxRiGRLx0FaC6TwFfRXXCCG0elMUaUecmcnN2P7lWIx/k7Cv3uSlrBCCxiT4vjmA0T3EfKdqI
8FQRMgABRE13W8tByN3MS1Xtq7Fx0RLCuxrvQT+bdRlPqFGUX6lDBrR96xFpBipAEhKft6bb2OKu
cOTs3LnCDNEOnXGJPOhhMq1jAeNFIyXlKLuYkZCiZFUEfEhKw+PNmQFHw6HEI5EldzaW5t6oCttp
ksgKpgKM3ULW3Zd6EILchAZyjnPBx9DPOriYjPmkF4r/NmSTjVvCdopQPbKm0qgZoEHm47xByxpN
qbAgO11VOCWmolqs5x4+e2jRNk7xYrhkaB65gD4nyCW8KZ9rgQQgU3T0t9Ng4xjn0kcNHotzcp8o
TDKaxK7MYM7EPArUQIVHSL4G0U3a1EODFL+GbXlsoajCn5ENS7pvWTg6eFpZ4j8yqwa1vyQinVc9
lI5js9sZtBtyh3qJEezt0THbHdbOpDLlusMjNSujgCHi4I/5bFnWtG/9QtSnom25/ja0qBh9Fejn
4RuVnpxNcGS1sQy7gI1TkbRz4QH5gP+ZHEMUCfyTLZEp3jo9tC9TG7q56DMOIRoqWQEraY2KhYWo
Q8WFpy3zIeJF094PqOqUm85w+Msvnafz372U/2jRN+xoy6f/+s8LFt7azAHCFZ0hdHJ8AE7cC4iQ
XyNA8YgokuJkbYq9+aV2Ulcn7DxCOh0IplWwAcfrSuzvHov+NqhxpcEjPb7OxLN+B0d+fJYLBBE4
XTWpGJ5l5dpb9N5O/ITdVuAdl15mLGl3Zll/6rZ/noLfkTwfR73AbaED1zeIyWEBXbuxxP4U5rVJ
/h0a9XGI9RF+AcIuyGV7vWCIFROGxvWmT+sdKg65s4GmdU7SNalM/tb3IVsGMc5dk5K75tbdrpjY
P7/vBRTy49NcdNVcZndzQDHNUzY9Ib9bBUBWu6oen7iIy4RlxlXS3uef1o3MFVuEPuTaU/xlBmYK
oifhmAEXhgehsdUa+I7o8cqbrYDi3/uF62L+5ygfxK5hT0zD9VOuGr/Eib0tu6Vf+m3zsmwgvJl6
Q2xvixt+FXD7sSX6+8AXu6hpeTjMGgN7D+YelcSnOddb75t+pqdlE+XjPX8CwA+gW3Tbr+Ftr0zt
TxrQL1NLI9TjbFjdJwA+oJaHhmfkJYO4gvK8NsrFLgnAkZ2DAqOU1RgH4ns0vY/kmiT0tWm82CdB
KUIEEBgE1d7cH6IzoShwhkV/AGwicYYmQcVzwyOS/j8unIstMeP2juz15DHz4qT+GnfepspoFtwU
JOYZAosNT8yDe4UC7awH2sf1CkIP6IjoqgcXGEa4VhVO2OF9eTo9kXxJ+LHfyG21VVkAyChIPjmi
5HsNM4smt3cSDi3GfoRegJ8579Aq2nUg1l8Dsl6gx//3fPjXU12gANE/RgerwlOtUGkBYe6flhZ3
qwApsrLMPLrb5QgJiNy9//NnWD/vn6bj4pDoClW6fMKdieJ4ElZPPZj1fx7hgtTx4d3Cla3zy2ZB
TqctxTEE25VbFIdXJWA/Bij33N5JCI7+HyHJHwe8OBmIQ73GBZAARxKEOW+8Dbr5ZbYqS6N8noyQ
BFrtKxHpX1e4+Pw0/Od3DC+uU3dQuNgcfEe2cyugkseduK3TLglTQ8ao+t0E+y4tyqsH0tVJvjgr
KEJnR4WY5CmDkQd/nBKSrmKkAh3w1MaVdk356Scw9Q8rJ7w8OFDAQssDr1q8+nsz5yk5E2C/zSTM
xnS1NYM1bbxSeIpVhR1tlTsj8QDFh3rQEAeJyCA7m07nEULw3o9qJZMnV0VA1m3z4RnBsIbaAFDi
4AP8vvQK3qFkua4E9448WiJWKFfCyutAIdRabIoH9EpuGBxjCPjC8b8Bp/n0sPll/IttXSGL6wnB
+Ou29p9W4A6c+UB8a9Jqcw0e/ZNi8qe3vdjL/SztGXJcaLPnPpzszisSHtBsfpi/Dsf2xoNWU7TE
4+t1dvenp8i/3vOS6QEsESpvC95ToMpuVHsB7t2fTxH72hAXm1oKr13QI8NU7skZuRLC1J+HpPxe
Y4W5MUC3jwI0B4qzpUNas2+zKr1+uHx6J4O66ALqBH2SS3h/DdKpsNbz0uhRsj6p8c6jT1dedd2r
H74jaHBQdgDc/oNmng++vgNVFUQ2UMyLf3I79NbfmbdzXnyFUF8+HI18PchWoQdAU+dHf3vdIe3T
N/3lKS6OMoUmDuqueAoNqHCrnuxmTh3jx5V3/fTA/GWUi3NLMxIAb41RVv8qY8S55T2H+zalUMUP
DsOpyae0eoTl8P2YAPJrnaw39xt/Gu+vGyReEFb/vjcgheAjPQNo4IMuoIz0yDUM2hPgTDWNpYgh
SlJlq0A/OtM0Kb/qBs4nJCvTa/zfCxmmj2NfnBTMQx3QqjE2MORZtQWnIvUf6W41LTOvRa8Xonkf
B7s4KMzBBESjx2BiU0LOPSEJpjtjKerND+HZ3lU7dm+n5rN/vzyyLDpfe4AL3s6HB/AvQoLC5J4T
TniA1ZpOpzisbuFrm9J98LgkMm3PU0L3gN+OMbKyTZCNWfWIiAycsWFr7rusu/WvxIWfJsIQ5LFg
UgeFHPgc/X5VSIMYDuB06wcwkwJFpx9/X6DW3t4AXZ/XIEok1y7Rzw61ENojsKQ10Ua5FDqChb1L
NF/nYQpBwDg15rD58wb7NPP8dYh1A/4SfZWD9Nky/pxq+rZk/Xfrp+ME3SGyX8+QMr32Up9lFL+O
eHnp1hBGtoIWl+58D/Amio+odfb37UBQNzxEDcqLo7wSZH520f865sX2iQRAl42DMedWZ4X74Bu3
lvUlsE6MP/ne65/n9NpXu9g+Y0GVY6+r16H2O4AKaNhYV3RTPzt8EbFAwAQasOB/XByLkwh5TRne
pw2/jPZNoE/GdOWa+ezk/XWI9S1/WRhDyYduJBhCBYDFdyjXOulQcEhxtNfu7nU7X1xo8AdfwdUB
BK8+aHB0NqgO8LyNEhOcbtADH/jDKrdabMI+jrLmWJ4hfIVMHRfN8C34ek3R67OD3QOkGx4dMF2C
QPhF7BAoifYYjG2wt6sbyPaOt7zbGYl/lPuVi+p8aV9rmaBzd0319ZOVApmt0AFD0QcJ+pKfWNvC
UVWLaCH0D736rszvf16JF3ojPw/SVVYeoQh00mzQjn//iI2Koop1I/Ya6lrqtOpycjEjf9YQ15m2
QLJc+5afBCdQ8Ald2BBhLj+4kJgd2qRuibDfzEEKeff3qyao982E+ihSDo44rEZrJm2QJY9J8Q5j
krs6v1pPW4OPixUFLSEgF30PM/vBqqPsAYWKQJlKFtjY5G424MW7dwhLiMxGaH11BX2ygn8dL7i4
sLqgjbylQpjC2yZxqiYe5DcCRArcqT1cXU7nHC3V7f78dT85BDAoZIxsqKFDgOTiIPWNqdcC1rHo
H90p8iMCOQV0lCsf9JNjIHBNZ1XTBrnyg6dUq8xiHhpSoM9opqW4B48JXDIANqsrKjGXewEMCXyp
EGBdbz2pLwnyFsBvEY8mnZTTRqEFW0/GlVe5nK/LES4ugVByD5jBDrJrQGR3zpx6Fm438LX+/Fk+
HCfrOBAlhB4ohHZgIngRKiCnlKiPhSggw87XSZFksTRq4h4WNT5Mw3liczDsJxjdXhOe+rDf/x4a
fDWQ3Nctf3Ev+J5qfRVojeoVyFNt5mYSdWSRRSomDeQxrmlBfagrXA54cUssgHbPtDc1yuj8KHbe
AcJoKJ2vwnaN9W80JD77hjgt//mCF3MbVHMP+FlUratEANzRl3ecXDk1r41xERJ5raUokG46aes3
VDtjuzxIkG6vrJJ1d/56RF3O3MXudVspDL/GKGtLB2VbjvLDW9llVdbkAvbWDmJMvUEDa7697hT3
IezzoR4PTRNceUjL8etioch2BjVEjPVaD9pJmi4yWbVAvLwA0WxXpTrMlu21Y/njxEJN3l3FF4AP
h+XAxStr06klkB8yKVS7bQyW8KFIg1pnf57ajzPrY+NBkxebAA27S2WmqcKt0IgGMrUmR2MVaVoP
uJUaslk/lY115UN+yJYwlfChsW34xUHuDY273+/YCqRf0MJqkYSv9P5lPNI3mRpxnSIvzLr9asGB
crU6IJqu0uh6NfPygP45PFJSx0JWijjiYniKFLnyGQDzSxLdNvdzbtz4O13G8sBh6/LTEYPERRB3
z3+e5Qu2v4cKhw/501XUBMwz1/QvtklR0bbvBETZeBrmzqMNjUB69838q9jPeXcKMijDMT+m3+2j
fTDS6cp18cnJ40d+AEK8g5+o1l8spnFmrev3FPcF5pskZQcBqX2Ze3cWZhoYyaTPr0l4uB/vKBDx
4f8BLQkbceKlfJvBp0AKAfuktlIvhdE/ktnr4tL2kPohBvei23bpjgZIbyaT2eLdcfuLcKBnLID4
KZ2NCfqLAxfqXs2JhZ+DPeOQ+Wvsy602Hqb51jCOnfm9IMi2R7pxzWNPm2wxUfwYxbYvwch17aMG
bX2qwSubISDHEWtM5iG07xtBNhHqlI097yNqXZnvj8sMr47MF0L2CFU/eEEAvNusIk8sAV4S+Hk7
g+DnUZkPpJ2ubN9PJ/lfI30oFpaj6S8sMsGcH8Eq2Y3MT/+8dD/e0B5SzAjeICYuko9Bas+oy9AR
Fbi1mjcJxtENtBob1DnQUMmmtHSO8smF5M01f54PB+DFuBcRiORkpfZYiAN0kzkN/KANmcHnJv/z
+334VhgGmYy5KuEB9nK5TIF3425f4PXIDHU1AzwSSNxSHyUr7l6JqT7URXwPGmNrQwOmlCigX2ai
gdfO+CtaJPWxuYmmnXdkqYyjRO9ttekBwtmMOeSE+ivjXhYRLoddF9Ev2alRDrN0TCVQouK7Fm4H
q92Avf1v0s5jSXImB9JPRDNqcU2mLNlVrftCa0mtNZ9+v6gx2z+TSUtu985hDtM2hYwgAoEA4O5r
if2VL85WJz7omZnM8CfARZhpUvwxf6cw9nv7W12nbDMTszDqg2YttJgN7PbtLutcwbRqboOn9AN3
//pT5Wq6ZL5zs7iZtd3YyJP4YKe43qS79mNGQS3blgf9U/3b/EBb/iGiGVAdQN79yreavhHw2RUX
Xft+s5OQNtIQBwa/Qj94d9m+O8YndZ/crfG9Xl/Os92d1WJCINiDpg1ob7neCyq823bnHxGP0rai
zeifxq25908SJfP+gQt6/WWoztO8yx8wL2X2StsXPe+0t1Im2V7/Wj5Ku3avhgxJQ5C8Sv4svt9F
XjkzOMsH4oERKsT4hD+pf8Qw8k/vT01go5xHrbx8GL7rP5G6/3/oZs0fwTPPMsVWnB2WMct7OQ7t
3E1RO+yTalsUIE6DgBHZU2uE4JuHQ1nkW7OaVrxp5Zias2w2LT3QCMKnJ9Ug5OimD3hDXbk1FqIq
2uPKGwkPkXX+rKsA8pRNrpPnpdDktfaeAcoNWcgmTKQVUwv3BHSDChmsBjpBno/mIOHIHKDDeiCy
6eRQaHQMU7qWuC55CsgdWEVNVdRsZt9LqkzTlsQZ7PbGl9He0kly7hl1cOsv3a56arflNj8NR4s5
M+kwPIlXSPLgUz7p79XjWkBY+oTnP2b2CT0z7pOmJNImduOCgAEbt6IAuhgLzk2In3Dmn4rZN7Y6
YgLE7ibfaPYxfiJn3QVbfSu90Hh9EFxkoBW3oAP7zXGNjes6ZeVonv+A2W3SdIC7bBHqo1P8mu6e
vdNPwTpWn5rDes91JuxKjjqzNrtYSojnp7QVd9e2eAC3GD1qCGtAOebmbvUjdqVvwZO8zXYdX3Yt
0Vn7msL1zraaIe3IQl2DA5l8q8c7Z/y+cmuuGZjdH21ngrMaWJzoEIXHiicOxUXpEVw2vNfOdrxf
DaxLh/L8682ukkat8qYaWdOb2qFbH7oTWkBCoqTdej/Vh+rR+Foeb69zYZkUknhjCVIzKuQzj0mC
qIgmp4dmrHttqRhV0poMwkJUo+wOY5qoElMAn10XOgDMsmCq3y3L/kXKwg9+62zNQj70obKmcLR0
AHg4CWEChxeUOS9PJZ7Gw2ko6OHxTv6fEEK10w4DrIuw9ax2mpaS0wt7sxMvVWmiaBFknoJsT0fk
ZdQ3tQ75IBjf7fgAJLh2adytZY1Le8o4iQaxCzR/PMovvd/SmaFPQQ+5Wfk4yA+5QaI/IOTsryWP
S4YQH9Khakamj4fwpSHYIqAzKlCKTeN4O1qQkngeaUXxACvU9rYnLni/c2ZqXuH2E9ADEAegsu3A
72fdVU7ktuYKP7I4tbPcxYGf1BGXkrhn52FD7rlk0zZzW+9BkJZVFC0N64X6FRKq7zIp2v3tongm
QahNkUiUEea6lA6Jgw9KenDLSMoPpVoUhxZ1iRdrKtZIp6/378LUW8v7LCJqkGDKQxt3bm0MrgU3
ng53mA5K4vaKrj2C82XzHx2Er6rOT5jXisxaK7hO4BFphmnvQZMAetdljG/F1MLpurQ1O125n4+p
qjO5az4Cb3HHx/RbsGWS7XHYKW62q9ziMfh4e3nXdUuDbgdMiLiJQUFiHhB7K5c18umeia30SbCu
5wf9nb4pH0rEEivoitcGmBe+24VBseFn3631+zEFUNi4fjKeFJ5kGvyWgVX/9fGioKSIfhUC2hD0
i59xZiZXnAmoqU+kMt9LQJxgIAaJFv+9FY12EQ1jxIW0q6pvbBSlOsYUA1Sz2+Thb63/7refb3+i
BQ/EBuUVKr26Cuz/ciXAqYReSte43WBFh7KByIBOSf3cNEZ4SBJF+tvJDJNhHHASBCeFO1KZH+Iu
R5rFkXqyxk2/a5+yfeky3+VKj4zt3wXoEP91GfvNoKVT8YXk4IpbPTdCaB57bhW1dtTd4IWUi2Jo
8qYQicfbm3k1+Pu/xf1na5bn9Eree5kViJw1g9oLXMB22nOTHdJD+GJvIfPYVvXG/xI/r+U74u64
jMViW/+zPLtbAsMYy6oHzJVATTVZ3QnCzB16tlP+x6PeaZjJQ1+aKzHl+gLAKO8zWePRAzxyfgGA
3FMKh61VPOqaZrmZgs8dg20O8h9atPX1aeVRsBRQaG8qFLNZLWRts4MHZrIK8qRp2GA6ZjtlE20B
2xafFdkVOnfaTqI98m7lq4qX1WxvL4zOgorpeZPDddq40K3shVqnt1V/xUxzVdQDphVrIgzfMjbb
U9+jygzsqnF15xP8oJAfrqlFaGsmZl46jQk6gQVoMcumCyGPCNq30gHM59Mol+9tHa5LvYOawD9A
ILBVrOAp9zU31h+DkQKFkCXV4Jx3dFdrANy27WkMzXdKF/PMdrZekYTM7dzrPUeZ0btsOsBL9+rE
J8929iEMNUpkuTUQeog3Vvxx6Y7DGal3GzSUiC6zlWmZ5CN+SG+h3nmHdKfcF82G+WTeyFvFzX/J
TCX7WzXY33aQhRh6YXV29pjRnXpF93kotlq/mRSmDaN6+tp2FlQegPlWKgELeblQCVO4GHg1Et1m
j28oCixjAurhDj8hpW7Q1UqojtGFhE6QzDzcr034LS3w3KBwqLPrLkmCtkMQoYXxq4QUNz20Zr1P
JW8n6WsTKQsXuOCDpnNBl4ohhtkBhwk0HRKdZ1vrv9jZa5J8jtWPtz/XtQn6/Y6hWiSRQldntn3N
FDGmZzAwN2Q4RPJajN9aay3duj5jJo9A5OCtt+GaeaFdDYYcbt4AtHBevlojgOFMfbm9DhEJLiOF
aaNxhj4V5S2F4tPlV6Hvo8EmBAOb4UeQhmSwj24AngaPUeI5j3XlKfe64q3dcde7Z2kkdAjW8SJ0
kIi/tFrEKQ+cwsrpBkNplOevqQ+cEb3dv5yZg3L/3M4ciRZbXdyqEeVJD9wijANweXhuDrXB7U1c
XA70bjKpgcIYyyzcBtAKyfHAcjQVlY0RTN30kbLTSmC69gYWQ2WQYTVEEq/lJBrImR25b5Fz2QvG
lib++wfLpYVZ5ItRCvFCmXWEEYRZKCPU9SMwkpW24sL9e2lm9vWBXetVk2KGpqlZbTy4r7bcAa+g
vGAlP0l38KMgS7DykRa2D+4oevbMhinwnouPeBZ/5BHaGyWIc3dqP2fmXbOKR1gyQEyFAx99YHLS
mRdoHlTkeUhZBarmn7GdfAq097f9bCFok5ydmZh9IB+OdmT7Iop5W4XEMN0FwUZyIUg/ZDv5c3u/
lvZezaBzgFA3hPwVuhuKUvNhQikeyj7JeZ3Ld+ERqmNQS2LAoH4XvbTH24tb2D4R65Cpp0vLHN9s
+zJYcThZdDDbfPxq+LAImrH+4baNt5Hty3D3FlD/r5HZBpplEFeSrYrqUKUiviMzewNN1Vc4UakT
pY/mB1h79tOO4e7f1e/0a4pWhrUd3tnpKj5LmLr6KbwkEH1lyE6bV+E0faChK9UZ+Pu2u3PgwYYW
rgv3Sq1Mm7rSDNRJre9t79QrQfHtL19ZNsTsCh1cmV7z5UmoIJlPywyqDwHw7pNNkVKdhixzUx/g
SxmOpF5b6U+vbhATEXjd4rH/vHYaF/rxSGwipmuhVkoTef6qz6suLTufOkxlJU74XJtJrH8zk8GA
ATWThhRNKTtrg61iJFZyr3vqxlbLwxQZ32PnVwKdpvmliZTfqQnJ+5PCv6srhamFoI6oHNVfHflI
k9Gpy13CtuTpNe+Sog7fBQGvhDzYyEH347ZLLpuxLJJNUeaYgwyMUjOVPlZ5yiIcUFrllongolib
g1x4VFoMBohqgzgAV/nK2FnhMIZDQ1Ibvk57ALaH5vnEe/Kkv3devjffRQ3df7Zfb6/u+lCDnhEh
lzfzArTW9CUTim0vhcUFFFgd3EGStxI3rjdQAHTYPHSDqZbPh6GKYqq9VsYENMNu01JhC1M3Vdfu
xrdc4fLUXNpRL/3B6cLMUytYL5SuCR9CGE/3aQTFvl0r7YtuDHR4paA+GsloHJmU/iW1jne6vZtr
S50la13ZtXFSsdQqevWJlBpd+lT5+A9G3jwf9AkYyZkRC1r1ulXU1B2bZkv71vT77RSszeMsLUVD
OwXlYI7/VcnIiLpQaiLhGDABpQxRMy7SVvJKyrRmZfbNNC+HjyplLUPx2Grwfn2OjLU7+TqDpq5m
G0iy0lHV5Pl+Ga1XlcWIDQnlVcj//kA56WoROkPKa3fUDvYX87k9MVJh9e7aROni+s5si+N3ltOU
XYgoe8YulnD7UYP7prU0HKRypd62Zkb8+5kZOSjwlJ5yQlCdFGt8NZXfqEJ/vO13Ip7OzxfpmZDa
YdxMmd+Hjp7YgyEnKYBR0O2SvYmm3o163W3U4KmGvTqBfDNQupXbcClCnZuduciAelHseDF1jCqJ
d/QMglOQT3896U4eZQEWI8ijqkygutzBuBxCJ0xoBQTBxzz3oVtPtre3byE+YQLiaMZ78cMrFoNQ
Uk0vUVB7NNF8kQxYnWTlvd+lu3GKj2Gkf4nb7keRJS+xFq74x1JGf2F7llbB4DmOrU3qO/1sHpoP
zueWJ9e2OkqPNtf2BsrOsdmsNZyvvfJywbMLuoskOwD1Qd8jbCDbk6Z3WlZ+DjzbWIkib6nnpWte
WJrTFeijlpRZgyXYYvfpU/0U3teIuYnpaeonu/55+l4+r7fzr0+EeBvLKB7wnGCyb+Y0QZ45Olye
9I+gc6uc970ig8FQNppcbMM42nvj89Cv1AOWNvXc5iyiSHkxOOPk9+6Y/5bkn6kEtd5ay2/pGUPp
nkOOKBrYr/nzHy5iXZJSukjynZZvpI11H7wXKoCT6/xpvq03hRcXxcCiozC7TJtR/PtZ/LL0PPHg
kqO4q77K0mnsDt4qaGbRSc7zxdn7pTdK1YPrnOcfNLCvOrwHwXYCxvkU/WlbvEQkWMFvezf8pMRy
++xfl9ZI7s5S1dnx6yYENTsIHV0IQ/dOexeHKIFEuptJ6kqV8tolwa5RqWfqk5bc1eB7IAX+0I41
c7O0mrZprI5umsVHz/MYrvEGt0Z9Gao4O90h220fbi9zIYm9tD6L1TEqLpMPTflbZZZ2k/Yj7U/N
fbmtH/J0Pz0i500xPYZL9APj/6tkCtdudGl+dh6loSiR2MC8jZTiS/29piczoVf8OzZcIKyC5x6A
W8ioeLQS3BcuqYttn51KA7mAOgwptqfZT3u4t/qvt3d2bWXzAxIZZRgr4u97hcujdGtp0iG2kr9P
1VkGCvKocQL3mrft4NrUSjVnAyvtIVa+qOZraTzfXslCNoYJTgPlRSgZ5kWYoGRiR1JZiSHF+p2k
K/5doUjWvp8+98nXJh+177cNLn+a/wzOzh4iMMOgFhSCqZo+xfG08Z1oZdsW1yTkSyn+yApC7pfh
K8nLOjD0FhMjYgWnDlmRVP/d2o+QgN9ejPixlxcdHv7WWuWF6DCwc2mpGmB0kAWeMbHah2T81KK4
JQX9wQ4e3vftWthaPs8CHkRgFtPrs5BJLxU9u5CFjQf9RXqmDLyr0VvbDfeOW+2sAxIYbgzQ/7k/
rnUjFj3+zPTss7WaWaSGnKfuZP+AoAdaYpSQ/6GVxH7i7zQZuVSvZrl0T2lCSi2ivtJ+kjbBl/Fj
uEN+FELzTfFafJPvfcpLt7/htbcwTQNdBQMFFsq/88JKYVjIKzEG5WaT8j7MoRZl8mT0R9cpsqMN
eeJtc6oIupc+c2lPXE5nlysDBl4Rlxzq/0n6KhtL3uTxVvG2qfFuaO6FMJUA/06QZRd7f2v8gn86
iA/5+jjy9Vm8/Ckzf+rqwR9UpNl4GLfv+1yBobJFp/P2gq8959LIzHNiMwXO01l0TNqu20qqXTyM
DfTAieNrK2F5cT0iUzJ1eISvCChgQbFh3qT/A+e5PGysKKhfEEqSTrdXtIBHYElndmafUJMUniYG
Ty/Pa5o7g8eZi4bTYD4kUtUJdndBbFB6zAQHcvfSIwD6wNi0+RiVrfVxTMpipUO/sMVitA2YM258
XYLQCzuT7YDDmSefw0a/k2vTLdVqJdgtW2GqiLE9lbGmWVhFr1BNUMbCSYJHlcf7kBz17vfK1oqc
YHY6AOXAKU38tgBeznKGWoKvL2rfToeyf0sKn2OUh+stnPAMVeurMfU6FySYnhkUPnV2HFMltaki
cvz/N/+obJJnittoPYIaS9DZVkHhT9GmzE5rzYLry0OEccGXQlkHgsnZ5RG3vpmWCq1EeVKeE3l0
I4pVWyULw02dOF98qG93Xd17K8nv0mfkXQ1dCoWQ6/E3G/x46PeoKsnBKc7gxUAZtEtXDv1CuRoZ
QIXxfCqNAB/nztJnuQY7NlbqXb+DjHjHiHNXu/Gh2UmH+n2FkNELbBEQ86zNAy9tK+eADoF4hF4B
A/rYqXOrFduKRmWr34Xao2qheIcIRaxv21ZZiQZLDsRxUMjxBVR4/liStT7yGzSX3AFi5E3fd3vH
Dx8QYabx0+krJ33N2Czy0M9EGwUqbLeFidQbTj0aCq3cvteq4q/rPHzAs2XN7gZkEOQwi9XEnRTF
dSB9j+E5WTnsy6th0g4KAJpYV4fdTPNKtt6cxKFe9UHd1QfAIo4F4/PG2gmogY0Qh44mqVuudFUX
7grW95/t2bm3JS0I/QbbfvCY59+VYeUuWqgvsYFMhzGCKcMtMk/e1cmRDJuxHxcZGMJ/fmwMWAsl
a7pP4+weKh9/08AV3ejTq19Q4rq9t0unnM6g/QZzpBU5Cy41NPFJXDmja5XaOzOvX6zQ/N3Yf80D
QCrK14NjA8JpnrczL6kbO6YLAEY+kB6d0Nh4TLaigXx7LQv1j0sr8xTCszXfQULIHfYwZEtf5EdG
P0v/Dl2rg/adWNIXd6uvV7FD85tIJ9dGvICJD6qQlxdDnyFgnA6FiGAQMZJgf9Xu08cRkNwRMMOG
WbHjYGyLj/Ixu/P3a5XqhRIhaxbwJjrJtD/m5V1TMkoGQzFvvij7DNVBRrieJXc6yPv4K5lwc+9s
05UzsRQ6z22K1PXsLkxyn/EpB/aP9E+ivPMTH9WIZ73I9woI5jXa1KUs6mKFsw2OYDymRQCbCVXC
L8p+OE1H/4D2hGAYjffOr9tOtHAgIPcRDC2C+4+X7uXaYhK2LuhSxASBxW4YTEFy3btLveGvC4LO
uZ0raHYNqb0VsYcy9P2d3m2M/quHgPPt1SzdrxdmZskYwq7MhiUsR5C9ybtkO/3wIt4OzR26KS70
pY/V78a/W4uaVxyS9HUv7M5cpC2GMnIqFMerrbXpv5eTq7uigYPo57vgWfnMzC3dcKYR4Y7cqw+C
ITalNfG4ljwthG9+B8KPYiDv+imcJ7md5x7rNwPzsWvM11SRvqzs8ZqNWdhpENYY1TiBEWk/ksPU
B//FAm/sDmD90j2vX+vr2rKWvfS/Zc28VGhuGq0fY1LLEEF8RSVzM3rWysW7srA32oqzc25EDYIt
LQtrE6QkFaZUlHZ/e/MWF0LoFOeNNH4evsIQxbjUlGAocwhdZdhGm7wejhqZ7fa2paU4osK7JLqv
NM6vQKdlXaAmEXkwszDcjuYt2L0Ubo38lDGYvMpvcX0rkFkyIgm7pZCkngUtS2/M2sgg1/HUO7pv
DGNVK0d76eOcWxD/fvZxJjAdFsP6sZt2ziFMxjujNP/c3rJFE9xoMCbCy0KWfGmChjVshjXsSzUs
Venw5Ayn2wbEH5jdnfTtuLhQ7ma6a54W+FOOKmjdxEDX/aN2bI7GQd/H+zXo+kL+iBkyR94zAPPm
V3RZGohn93x55BUR/4P03HgEoLRB+WR3e0GLO3ZmafZRYDUZmLnGUjt+lL1jEP+6/fcXnfh8KeI8
nX31oU06hJgEKxWFko19V4F81R4RHh52aCrs1ooyi+sxTdUWvGU0kWcekIVxoZWBYKeXI/RaTtY6
68WyCWaWZFlmasqYpYaqYkqdnXBSKkgbfOhYKwi1n0X0HHZQJ8Sb5HFYGeNfSpqoxv5ncxaxk4oK
nyTh2M5768vwXiD6vaP+bG/Cd/D7bp3T2uNvKcydG5ztI4XzpEFXcAKuhjh5NiAKq+51eyWYrmzl
nCChsKVEoS5ChOuDk5zKf2rRt77tgYtH9r+tm48FZW00SHGFh482ZHxxsTec8iTnFLQ1s/zcpqge
h6BovCQ+3Da8uIUWPX7mJlE7nQ90QbNlW5GBK+aDrBwNBKUeDMlQUInttZV9vOZjInvRzmyJgHJ2
ykx9THxEE2LX/AalGKB2botoq6ON+DF/9A9NIbBCT8xECaCc91pJq3X0hQlR8RNIoxge59U0H4SH
2a/0k2b8X2iUaoQp3jnw6YiMoqu/rVEGLIAzHCp1grvdBLtDVfRyxXlZyG1hAIcQeWL1IT6KAldz
FBTq8TttZ/+gwLy9/UGXvJVKCPA2rgBeoLODnwd1I42yzgdNGZErkfAF5nvbxFLgPzcxO+cBepJT
3E7QB0LoaDpfdIRKpwz+8nL4h9tYp4hlUGDFOef3fRsjWmuGClQAITLAw5O1hs1b9MlzC2I7z3xS
C5u4aMyY0Yi9YO0uD+0rhGhPb0RLbrPRRgic831xUNONv60e1zxk6fgZAB1VPtUCjwZHra+0BgfR
6vg+Rz8WfWVv+nuECakguBmLsQzaLHP0TDQNY8P0FRmnlR2zYkICMX4YK2flAbu4mRRUwbEwdnc9
JVtScau7pBLu3u+MfbYd7oU0Sf34inYFY985jFXO12R3LFaFK5bc/tz0LLZMra91k1rzHXMH/eEX
pW53t71+qQ7CNDswTpUb1bHnt7ZkagHIP1YnGJ0kxTXgx/xY7GCWBN6YF9v+x1qesGxSAIk1EPRY
Fu5z5p0IvNWNbHItVFtKquFROUpuCX45/iBKIOuoJ1Uc3Xnq+LY4agOmwwvv0iBN9TqpFPxx4NE1
wmAPCdAH/xgQo79F2+a+OaW7jh9Rb0eIOYoDagw1SdL0KS82WQqFHD9qbXJKRKwbv8kRrD5nm6Aq
ZVOhbsYmAF6y62CjN/suVnh7fk9XqZ4Xt9wijVEZfKNCOQ/ZtRYY1diyA4K3Q6q22vat0oVi6E7w
I4aoBq5E7KUYcG5x9qgfg9yOFB+L3eRA5fm7SXW6dcVK0F44ILybmAxXuPh0kKuXuygHal/IlcrZ
zJz3iBC+6xJj5YQsLMSQqbhCKgH/6VXXQbMhWEJWlIcNs+eFToVCrRAT/XX7HF4thJECYCXEF5lJ
XELa5UIGU9IyJu+xIq4chEunIFzZq7cX0oXLYUPUbsV0Ab3++b0D3bxStH5JmgAtImfPOQXZPn/x
7xo0eLpPKf8FrL8+CS0FZyutJEpX9yvWaZ/C+0fJjMmG2afKelOf5IGEs4zkB6O7S3AIr8o3BSq9
t/fy6mjxBgUhzpUAOwfUKrNkIWsdIw25DNxo5PSqqWzvlHDYTp31eerlhzpJ12YvxW+f7eyFxVnu
gCijQjVe4gU/qq5Xy1srTx4SU9sgT/qQtNW+73pyCh5fsEoZ+idJaIk7a5SoV57KunmAk5VRsVCu
6vPZqHtNmWXkFYl0VLpsP1q/GBFb2d2F7wjHOEP+0J5CdDjvAvhpOSSqRJ5Ul6QvkAAEm9i0vwCd
lTetuYq/XDJH7UqRUXehHDNv+kWlbYdNgJ5brOV7a8xfuo72jTy+y9R+ZWVL+0fxjxYjTUzbmXto
qI8WqQQnPSyhVZaQFqWU4RvF7rZ7Lhx1FdQqTQBdSADOx6Mcr/dyz8JMAF0satKbZpXL8zpFF8IV
vH6oX3CzX1H7TyiEwhGCDcE6v9X2HQouYXywZLI/8+e0UwauNBldhpUtXPpagNUonJH90RCeHfIE
xVTF8bjakWj+qZnZl6i0YGvzm/ekAafb+7hoi3oDmZ8AMcwdMe+Zt5xSigHMXh6VkUvbNE9dm9IP
c/5lWfDdAt/hAXJF+W7LjeKVOU5YREg1Nb76EiCdYY7V96mU1nBCy+v6z9gsmNiV0UqlSqAMvSyw
N8yT+y2e7xneXZnXoe0GqZHKh9ubueiUzEfJdIV4l8yPmeqEfc3wLlWOuDiOE9IzsrqyiYvH68yE
ennFlbWf1amMicLR7nL0ohNL3g4IUd5eyaIZPpEhELq02mYuCApJ1ZIAF5Rq+Miqfmu0r9qajul1
bU1wZYgOLG1mMVY2s1I4nu9pIxFfvmse/vfkt54QuLwrn/3tGoPdgkdosDMJYCbkcld6NBkk/VIP
DZMby56yD6XgvZ2k00at9XyjI9W8/esdBJgIct+AnpB8cfa+Z7YkV2PfT9zSbHeKFD0NifahyrSV
87twTQsBVAHGYM6ROs2lP/jmOA61E6EZpg/PulXv0Nw6leQfUxyd1GmN3PF6SM4ktYJzjQEgRbtG
iBtWocPSyYSVfojg0kKJBl6+fle+OvtsX3V7y9WfUXb+YjOQuOvoeJmf1/EE182u2a+YnW6tt6Om
l8C61Dv7MG2zrcaDC67Xb35ONyj6VezDHu0A9Hd3+TaVtiblnJ99dpLexe9X+9ELecvFlsw+gRYw
V2aHbEm17aG4EW0OiclP0QPPduH7v250XK59juEIoigMTPEFlLDdDJRrO//9bdddCGPnC7piQZr6
YZAcdteRA7fqx03rHG9bePP+Wa53YWIWxpiyz6PQxkTvlp+cY7vT9umx/uh/IxtiKOMwfWqhtM23
4ETu0s/R3RpqdyEY8Io1BMkBfGNX2jKBgnjTqGiMRzjVL8WSko2hId9JUnOyu3KthLtkjURBUHjw
KrlKJFre6rVUMv4oFXW5KTLn0yQpL20JsiFPIJe9vblLIUFlbgfdE8BTV9rIupf4vBG9xC3UT50c
7Zpu2JbDZys290q0UtdZchUavVTaCarGFVar17XY8iJsmWn3vQ9piDZ61bj/siA+E9+ATzYf5Bq6
pu6rTBjJ3wEd3aRgsMb4J9nZfRWuaQYv3Hy0rv8zJr7lWUkhKmur6EZKKpF98lAG7sbH8B/eqToP
SOq/KsnQ1e3aduFgZAOTt6Py4jv3PHxWXGBxEWcGxGc7W4Tnx0bD/CTd6hQm5To2dp0Dw6KZQ8Zz
+9usWRL/fmapd7TRV0C+u2Y2ITqub4LkmP91m4WQd75fs29SOFJlaSnfRB0Ltwk+1NU/RLxzA7PH
bul1qjyOrCISHJQT1OLhuJIPLMaAs08yu7IG5iGbRkxbS+1BjdKd2uYbORld7vWV47JmaXYfZaWd
JxpcA4Tuz0P9khTgeNQXK10rhSzFGc2AN4i2N/xj89SjCqU0KnuD4S9er2UTb4Yg32Yg7pLhFAKh
+ntHoxTxv744cJj5J+pge7YrxgKNlMdDkm8n4QurtbAlfz43M/tMmlFpctViJhEoZ/OdJzUbVV4Z
4VwzMvtCyFLZIOAx4tkyGhoo9Crv4mgFQLQUms9WMs8Twrju+kzFiOQND3Lj3SOBsb/9TcTvnN/i
5yZmOS4Am0JRJTwACrJ442nSl9CKvjqZ/9NL6gc/zby9o0CAo6yJHy+5+LnhWfrgmImSBcL1HOq+
nffStPlRtZlmjtcgS8uWREFRpLxXiMsqT/x+KtjFWuoOfjjsqlR7gIdrStY4stYsiX8/i6R+lpd5
X7OmZtQfGqtDHPd9kmhoe6zVF5bd7781zY6SOpl2VYjPZuk7TQ9dKX/Xyvk/nVd0qZkxF+8t7XI5
KXKjSpYThXwnyF3ZTEPgsL2mBi5UmLX9D9GVKhwdLLqbjJ/NPFHXCguuBz5TkMjpBsfbeclPGJTH
TayWK7auycm5js6NzbxPlcK+zTth7EF/0X5CYOSmaIEjB6pGTEeLLtMffW8ek5f+s4aAye72qVs8
2Gdrne2saUghUDN21tL+jM1jGPxLdDr7+8L+mSM6fuoMUsbfR3EOfEVX/Cnz1HfbUF15BawtRPjp
mSG1jmiLiynzqY+2pZ9t7ex0e6sWrygYaSBxYFj4CsnhF5Xd+wkWMrQUmyj7zR1ib1ov2StN9tOv
6m+37S2erP/szWdM0xQCtVbHHtOYmxKJPHCicOGsWFnet/+7KmPm7E4RMI8k9k3LAMSpmqt7xcrG
XY+xvvn4fzZmPu4Myhhw6xONIOiaHqZT8d5Q3GDP/OhGcZWdd890IoNda13vtbXNnBvUdUo1HLsE
ZIpO9WbM1pxi0YR498HxS9d73jktZS22y0AEWrl654WMJhb6/rYfLJvgucLfp9w0n3+TJk81vFiY
kEJXKX91/hqH3uJtAd04gDqK31fDOepg1JlR8yYahs99eBdHyaarnqL8++2FiHRnfsNz85Hkwet8
zeGv9UFQowCMQ/fGuI9SiYELJ5ik734hjc+1qpcfoyIMKqBSnhesXCGLgRaMHvcH3J7w3M7yJCno
4tTIgbr0rv/UPZSfzLvoq/1JOXpfHcbVQsHqZXYb+YN+v15kum73cgSo/IsuG+xiVyCYXgsyx4tY
u2DX9Q7hMb9j9I8xf81F7GyV8H8pdiB6S81VE+wO8ysM4CmXcDkyiWF20bQZyzJqXCmtHRqlWalY
Kw+3hdAIapjqLrxgTLnIwoXPgq+VSfpktj5PRKU9lFX2vnd6f9NN8Lal+sOI6s+KwaVqL0ItQDZg
FKRCPqcJ7yKuEVtrBW5j2MbHdFf+ppniOocSpUh3LZAsbueZtVk6ZQVeY5kF1lTu6OZPFT0W8Y/b
h2PZQ85szBIppkrkOjew0e29g5gQ8rbaa4jkjCBDLn/8NYBOOOSZudnbpEvBr+VDx2GU4lMLMKuW
+pNVPkVmuTW1j768BhZc28PZ+TObjPlzHYMVaZtt33cmyIlyJd1YvGqY4AVVI1qTtAEuPTE3ot4w
gje/SD7ok5s3+0TZxC8UUZGwpsEN1KxLduX7dY36ZZ+ECwlYO2IblLEubctpl0fWUPPce2g/ISAE
Xn/c5x+0XeGuW1vaThjsRVedeUpnXsfqy6mX0FviAPT1U+FF+7TtP/hlsL3tlktXw7mZmefXcVxZ
qcrVoDnVBzX2jlmkfjOq4qmFtu62qaUVwXxGQ5kWopggudw+fwJQnbWEyBCcXJ/o22FCMDL98v9n
Zb6gVOnsvsJK1Rhbv//ROvqubdeIpBdbG7aDGqdg871GrpRTFI5KAJjNLCY4I5O8K/tDlZiCWFIa
vS+yAXGxLVcMe8iC2lo3+qba5KaSaYxQt+Z3w9MK/m9p/EVOgyrdlrlf9Ad9Iv5uaEd2+bFsFbhu
q9zxT7VNiWY/pVKxA7ngrGkMLnwZmmvUqxVa19eIey1I8j6UQJJM2qdYpow+/pgaa3f7wyxkB4Lq
W2byTcyTzgeiEidXAmvAiJEVRzmgJ5GOrbRReYUDkkY+TTrJYXi4bXQht2Kaj4eekP5Vrvi+28bI
JNmjaWiVL2360xrWIFzXs4oC+312Nc7y67iKp0RVxNW4r05pt9WYqPM2PmrGB8GDV37ot/0+fGi3
gLRN/vdtmm1QFbi9zKUPeP4jZgk4OP4cr2eZTqTvIuWjIacudAIrVq6nnmdrnQVfUPZDatesVW5i
nDmvn3NIeUor/xxX+o5T37q5DSeg2YTvrFL/iQDjP7gqI4xgcikW0DWf1xHVzOi1qgZQiSDuS+gP
H+Oqf5aVbH97Q68xCFyfZ3bmHNp+H2udV2HHejbvdDfdRftgy3P9QYgphfDjrlGzLHa5zi3OHEkZ
pqZU+jek6mi7Tb6pSkYERfqTv1rH9M5/Ke7Nh/6LE8BKgfKv0IBZ+xGL1+v5j5g5ktW2lp0G/Aih
whE9dFsVmc4MhefwYL63Dv1DCQBorb+2tNk8Hpk4YoRF8MbMUqOh4c1S5xFnyKFBnNab2i1h0vtp
tpCjWX8EkPQfMj7GGBVmjnioMAQ4u4w6a0BkOGY0ArDJ3WjAxWZHd1rkrfiRuG1mTyJD0DtDGwa6
+gpoVoxhkaadeBJVmt/uxiGAdUdTGvmHadV0p8YYBe+VY7oU82AwkDWDh4F2NS4mJ1XahRpvr7iq
Idgtkm9FXqzUi0WqM1sXWCBLgOegF+AdcnmXq4EWN303MglkKoE76fRzTC3OjsbYHIa0Ptl9vDHG
/EmPqjW2poUtpX8gDicFfgo1s3MCHs0wfJ7lLvA3NBR/TYDJ66xGQusfunsXlmaHQYniNhrFqKvX
hi6i1nWILt1gb26HGrFV862ExUNjcozR/StIs1NJepJlrGcK2i9VMR0kjxdCab6fzPwYGumH2+YW
rgqgM/BOUfuE1XaO6ygq6l+TxLBOXHtbEzr4PtA347TWVFxwwgszs+dHnk1VVgfcSJljfe+S8V2u
MHF9eynX5AwmxLNcBEQM5qiuKnZjLpdxLPBvYTr9CNT0OEzFrwiSBj+QDlpb7INOv08l89c4KCsH
e2kbGRumtaQzkHQ1W/t/SLuy7bpxJPkrfeqdPdyXOdP9QPKu2iVLlv3Co7Jl7uAGLuDXT8BV3b4X
5FyUet6qjiwlsSUSmZER6E3U28jBqpXJBJWsNzfvIdrzLBng2iyi7svZG5EYXxAPDnFnggMWVsDJ
YPlc/7lxN8rbdNS3NEBHNqY03sq64VYOGBov4Dy4a+RV5/OzXUKtbqJQpgiY0Y5+PCZ5oGvDFzVN
XrWqk960K/sfWqEG0JOgEQYxsnCeaW0PABfjlCn7GXS+VxTAmCTwfgfJv1X69d56gJ80Xqqn4kZ2
3a1OrwEuTg6sXYowWeiYgOAHgLXUGvfYJ77d2A+Xl3B1nwDcqnLtSXAWCJNJsgEgZRM4Rua1W5Rt
/I5+aUtl93EruMQg7gRgJsAcgjtGYkGJx9ZCCy3eBihEMpf5GWLQ/58V4UzblWIP8QwrTlX5qK77
BcLpOfn2cSvIoOH6Au8KPKIQZNpZQ6OpAZBWjZNAZZ9iSNIlEMi6bGVtk6NOhwsMT2z8h7DrksoB
oIbvOgPCS13c+QVklaq+hoP/uMNF9xzH5gIcvMRvZPkQT92E49TlZcoZbacsTDozejWc2ZQgbFYi
KQ08LqCZ5JQjJkKP87PL1IzpypTyzik10K6Brul21Y7nPyFp8KW/06k0Cb/c4Rz2yXmoACpE05Yw
k7lHo752E9CNJMjUecoBAOTAYH14ecGWbgLvN/SCAAlmgCJN7CgamqppoEGNiAPcQrH3GUUHqEq6
QaMAWdhLwpulY0AGF8JAPIRCOls8T4wYZTQk6A3paRpSAuWFD28KGNABR4cam8u9z/k6NQTFhtzG
Os3eHNLqteu6MAGr6uU5W3mwwQxw2lwiEykrsSs3N6LYJCA5DRrvto2b2PfGFAjMKd5lcb0xtHoL
BW4FqPv8QS2yYKxkof3qRJ58AD+GJ4njGvKsHlHQADMXY4hLAPUAWSS/0mRzPkjB+XVgMs+TdADK
+ZWxTXswQhCZbM1DCtKye/IZDZ9hslf3kxnqj5L51fH557EbTHPUHG5JZCPFlFaL61nrCpimrzVE
XNHUBjWp2NenrbPTQ3WPFOhli0u3BYO8ZQmhG9ZUdI5I3vSZ5vCmpfJ98PCU6N4rs/UHKbc5dxTi
yFBGQYMUKBj5vXK+cLE6dbnd4LiZO1XZtGhmSEI71I6KtQU7aSivoKyNDJ3U6FBEGQVeX1hFRlxm
gswCoY7H/BR611O5r9kts/+Do22CWpz3sAKGKLZ9zfOAciv0aQO13LNYhxaXrMFzzSEiKESKGgEi
d/3nU0f1kWg2HpeASuCVHluhnV9bvSk726srxPHpXLVv+YJF8DtZBa0QYad+CuZt9MDfGY/ZixaA
HfpZzh2rr64QAl4I96AVCYju83EpbebpCcW4aDiEwyd1NwPFsMmP0K/I7gawPk3H9L6Ejp651zbt
DklP5qu+ddTD/El26Nf8Cq8387cneKBE/1kOxqDUCb7FsZEp0MCpPsnAiisFRWREwYgGoCritgU0
1inmJKEEh7vZeE/wLDOCniCNfS7FC9KB0LqZA5IfUHL7a8mYtX10Yl9MQTlKObWei7M+Fei+NyEb
Z+Lmc2QZzHUzmEIUE3EwxO2allkymmmGVy4lfufdKdO+KN8uu61VH81VR0FWiZzEAuATp6rLlAju
hAXGN7v1m0dyZyp+/dl+Yq/eDQt1H93q+V3yTGWv+JWcFuRAoE8OckfslwXcp89S1J/RDcH3bepz
FigtzI/ls7Mh+xmyXvmriUZyWTfuSrWIm8WzDT1MyFeIVGXJNNSNZUcogr22Bxs4f+dxhs4bp/Ui
gVQuem0VuaggcuvgC1xw9aCQGhldhQk2HGSfFfepmqtNAoHXvn4cHPApUQauXm+ftEPYlAMCgQJy
HFnYzlngtbKcxurXIG5CmMbBTyJqwkFsP7uobQS5fighcEeyG3v4JtlTaw4QveU/CcRwKYpNM6i/
mGoFQaJAY1cRGY6MWYGVgXmhra6N+D02sadiiNIkDnBJj3O/76JaEm/rsm/gAcJJfBMZRgloNgY6
BvZOYeB+QNIhpPvuFefpS76Lr53NcNWCLVW7gRDCcw/YFwj095enYnW6T2ZC8Mw1sIA5UTATOnKn
ifOumGiokdbkZVa4Tz4Z61zDF5Zck7VA51/TufBFKWjN8s3/bzD8M07M9HHX2mnEq6xl/jSiJ7vv
7YDa2cNlM2tPJYBEfm0fITQd8oKhIIlJUx/SN9wexRfts3c7Pww/2pf6cdqxfflZYpJH9WJQBXIe
4BmQ7luSKYHAJUdgFWUANXjfTMSKFOShfnWoIDw7fLlsbHVrIi2GYjXXHFiAftS6juykwXLRbd/6
ZROMP8CP7Gz7GyWId+nBvIuu2828sa+MIAP5xC0N6r9QUliW/TTEWr8+Q5hmd1JGt07wBIHS0dap
Kz8mhW+ABqVR7aAzmT96Msjq6s19alOIwNCwXSUOwdCza7cOpj4wfwwHSB5uQTxRB+3VFOT3Wusr
u/Rbduz3sja7FagHxgwkEu/5h1yIKF3glbVrtB6ccbMpXyy0nR2LLQKkA9F2ys7ek12yu7zYa6EZ
cnZ4iXBRW1PMZkBqrkI2gA/YhFof+zI23rYC37WhyfImq09KEF3jGgdhI0BxwvEcyyHK4p6zaCBv
1pIm6Nz7Pt1pNYgU6wmiR5ji50J/hziSJOJd8z+nloWdpM8zm5iGgDfqwBVrDQEYaAJQFAWX53LF
DLJ1CBSA9EBSUoyHilEZqEOQGaot47Vr7NupH7/ObifbpSshLCISQAh43zEQXMImHdzBRgGc976z
8XrSxiemypj1VprSOX03mlUsBEDoMBUWq3BnZTZqZB+Nu9z2zYdxwzZdANpdaMM9Gq2fPULsUxqc
/x9m0SeuoegFSjDhPipmvYgbArMIfa6z7zpouZTADo0deYPC7t6+Ku8+3ujIR/rLpHA5ZaPaxYkN
InIzGY+VaRytant5X6ycMR34CAe0kWDEXKha9AQN4YaL/pjGZaFSPBCv2M3J05zq4WVDy9oa3jXg
e0DMhlAO7/3zC3BsdTtFERaH+RCj7kv34zbZ63vZE2ptnyPxBGgrT9stODusrjPdIoJj1hrtE2Cp
T0lWdD4yb58uD0dmR8gaZ1GadmPZgEG76Q7e1L3GINdz60kW56+dJ7T8AVmClz2CQiGlVhiNSqF1
DODPBModBYx3rSpZmTXnp5sINaGP6jocgXC+NFnapLHCo+zsMFz3u3L3jV8lmV9LQ7q18OTMlODt
Bn3smqrALuD8QbxRmPFO4TTIP6GLMdnwfoL/IIzkAgZQuuB+Cdql56ObIXuhAOWJR/VcvhCnvKo0
7VtmFxIMH3dsQhTE70bkPsEjhDZ0YRJT8L6VNi+J9Mk4P5Z1kR1Ja6RfISVSIVGp2j6dkfP/+C6E
4g5y8GARAIRPOFRJlBVWYWBsqftaJe+UvTFZD9XauT01wTfoSeBqgMOEQMExCxw0UvpOQxu/LxxQ
juf158SpbhoCAQOFTM84jJIztuabkDzjFCRwugvJlAp0MNpMcZZbaj72U/kEOPkmqthrpI0fRvFp
6OFFlQm62ODnEBODmllR6rmIYVkZ+Wr8o8VlrLOXj6+Wg/ZnSIpzMLeItLRGzc3xeM4Cyyq2o6dv
izrdo8K2vWxmzWU43k+tYxQfETudrxig7ABt15wgyQKcuVXKbdSjn/OykTX/d2JEbPMw48E1SDFk
AVQyn0uDPVVAuZUtkZyqFTMGavoAv4Mjg3dZn4/FqOwkGTjVVFuBVK1BswWAJbprS0azlk0xUBhD
qshC0LKIbVv0+8SegaXRd96d/qP95PyhCHmsjCC6swJ9X7z3VzIi/eUG5/QiCG5RCsa2EMuobtxa
kVJgRJBWBlZhwJtiDrp+AEm0PXkHx6mTWPKoXjUJqW5U3xFQL0o0g1p748CVj1VFBTy2iYo9o/kt
IgPlKxoyx1kyszJ7+vkCNpY5mPOMIbIavBSoTPvTkM5bJP4gXl1YMoT9qjl4Gqwg9AkWsJNKn81e
A6dokNfe9DLS2PT1voi2EBZHD0+VyB4O6/ZAkITeX/C3iOEuXmSeWzcGqHyNxP4xqRa9aaxAm1gI
IgCvl7j7VWsge4KT4uUS8TSoUer0hQ4oIijIvJcUlEgAUjskBg97EZU3VWvLKFxWLXKtbL5RYVYI
PxQ6MAT0wF0WpPbN0ttHipEDI+mq4agPMorM5WlHrwnXI0GKEY97sRrKRttJZisjwVWfGS8gOX+R
hDrLZ/uZAZEsUVFadCVB4iSoI8C4esgLhj0wZW9OMdEwMxh4HQGo+AHRjayRrN3K8xlFXojHgUgL
Zw84lPOTEOVeD8ppTOUYJEDzh+qLdZWhoFdArMovZl/dy5K1y9ECYgN0HhwnAtzFo7ZhYzNBMK4M
eqjxmOCqUZLvSv5sOtVxyLqDVcpAbCvZYQwNjQwOANeosomFvEojLtWgXR1o870WPXjOXZdNvkvS
jaq+E8hpzNHeGR8L+IJWl9XSl7sHxpGaQA0R/m1BsFgQy4vMBsNtpq969eRGJrp7ZQx9y8v13Ijg
z7Icb6m0ghHnqb2OfuT78abapTfDUQESG8IS7Q0SFJev2rWdczYw4RJkjUuyXh8ALf9h/jCD9ql8
nm+noB9QohmelVDWZLMMZc/HyOfgJOQrvZ4iBQ17KXBngxF4ihnMZb0lhEBt5U0yumX68NwaX9YT
a7o1FVU+wpoNzFlXksAzQOMKTpDefOpUMNvByTnWhCataFva75etry+nh+of9isQRkK6ohnBQNg6
kBg1qXL0Si0o0ON32cT6oUCC9F82xKdiame9acGGezNunG2zi3fGbgx5eY0EsjMvtSa4mcpMjCmb
YQ0ylW+cZl4JKLACDjo4jnJo9Uo+lq/evwcnUixAobF2CwZz1l3/Mm1BnreLtxmMJ/dwcNviJ8ga
AhtmmB6QnByv2aF46D8c1OAjQKoK/+oAIiS+vcoanYN6i4/oqtT32OsQq77jbUBXLLk/VrfLiSF+
XZ7s1Txya6N2oQDIptJ3i/vUlr3oVs4e8jGoWAKhAHy1iG3pbKRjqIZbIp6zLzOwEGmqB7XWbQbb
O4CmVqJKsHJF8OIhMp/AcuNOEvZ/29lxYk4T4qXUeujKIyohm3him9Eqww5p7aFiu8vHYcVLo1cG
qBIw0Tkocgv7UymVLjVJjQ1TuL4egUF5eiyGw2UjK+xoCJN+UhSALBZRveAyS7sdbVZDrFXZT1t3
p4OHFtRkTogexW280b9oO+tIOl/3IVUeTscJLG1/pfNgZb8AG+fg0Yd8obaQIGu1MQe9OAoUsca2
k9KHs/bxra9DoBGziTrwMgPgWQMx4hhXD22L4wyR945sLCMKpkGqiLc6GKB1cdqBY1yg/kE5kUG0
DaagAfJQveV7gPACYHaAEA7QoBum8sYNvhnOkyp4k52Y5J90ct5wn8+1WcOkt9ePw3VxT66jHeBd
d8Pv1qN6yA/DW3NfH6s7uZjOypPw3LZwL5lwo9HQwnZ2TQ6oQEJ14qp6Vzb9Vn8dr+3t8JULSHmS
B+/aZQ90ErTAECmie0QsevSk0+rZgwa1+QCmKn5deBsLIgy8oza6kvOHr60qAKlcpoZD28WwFPS0
eKFWOI+xgiQMStu5rm2BvrIbyT24fEogvwhIGdfRAFBJzDKihaqf0xSPznrMx8dGT8x906n6VdVk
tt+P9scZsxCqg36A9yCYgGcILgAIaC9KJzBm5Wx29iPV5y20MEdJWL/iQPnrD4VPYG69BTnOOFg1
K/CmCKrauhoMrFKs7uus8415N3eDP8u0G5f+EzhRPDeR3AbEF5Wc8yNh52MMRQS8OONIARd0AbL7
af6CjLesJ225MQC0hU+BvAR4IhbMpF4xdU5vQ3dZ7TR1COZGjV+VyI0fL7vqtfEgxYM3O+ocGJLw
wozKbBznEm9arasBic9HB4QGlWu+0ymmEmDD+pB+2RKC90E34sLMMKTOiuwqhN539R15NE+VOOVV
O7wfGG9YPJxFNF4ZxWPFKMOtCi1mGpZ5BmViXKvN5vLcLY8UlshA9ylEyVc2X22yYaTzzFsT5w1h
ygTBLOJdsWgcD3OcJBJzq8M6MSdEPyCOTVuXYFio9Gj3PVGUxzSyKln/wuqOODEj7HAyIeBsVZgZ
eltBu9eYHEnG8m1DGlm1aHVEiEWQelM52FvYfBpDR7Lj4DVXEVo74TAo6uyDOK6RhFnrdhyQ1qN5
DUk3YUhxPtReWWKh2NjNrzR228QvMzWbwssbgv+d8/sSGwKJoX/Z4d7q5L4sJnUY4w5TV5VHPQZF
fF7vyhlj6siISrbhSh5vq+OCd9VNhN0osQg+trGy1kprzN+IFbtBr8m0zQ0pdfvqqMCyh74oxB4L
SBTy6WkxmriJxwFUdBC3UP0aNfyN1hk724mhhG032YcLAphJ8NKDNsmFZLvoZls6tYPGH21zy5KN
USJYNQsl9mNUdyQX48p+541eiKhcNFQsMMJVb41zxblmbZvtvYze5GNzNSZolL28OVbsIAx10RGP
rb7MpUMYs8wqOoJdJR6dnaY4vZ9QMHRPUf/jsqWV2IlHvL9M8X1zsg/bTIOEgMJZM0LvLi5Abpvu
mx2CVB8wGTDVg2+6vNf9eidD5q9aRmzhgosBiN4FhBZnuc1MB0J1tCI7p5kSvzDKz8bkbuasqP3K
65+aZLob4oeWNbsOhE6KS55zc/hOpuqWs7OETSS5dlb2r4uEGLYkgvQlFtUB8ssrC2C/BnJX1EWY
pt/w5PINcwj6XAIEX6mwWi7v3UPfCtgoFkAPyFsVFbR4QKx447Z+fV8eodgE2VOt+anR8ldIPbRl
EASbGBqoI1D9XARBScFSy25T0EbM2c614tBTOzz5VXpH3Xbvli2ICrrQU9RwiIif6XdJqm07E6r2
07iJLex2xzk0dg3VaaWTxBcrAG8XX2ZykAPI/RdxDAODrY22LjR/m6Y/MxAaFKrv6dNNPFlXDTW2
iovgfpxu2qbdeDR9iNPuiFfQJ8/7phJv78bf6y4DKKJLEaYmW6dpPkUmWOc9lIbyMezLKsQbW/GH
pJY4oZXdzLsUELAgDuPxpXBvEABBLXsAJKlIfeO7FW+QOUbHbhBvlEAxr5RnYLVvgUS/syQXltSy
cJMoqd66XgrL0dfqJQa1X4kq7waiD357q27phoXFMX2SZa8EF4WBAoHCQQgAOoDm+Ofj6MRvGFqq
tEYLOlhmzLc5cvmQaM2mQ5thK192UcLNxS2BdhgRNHYGmvPFHhdQIpYjdOn0oDC9MBmbzWS2klyx
cCpgAq84j59EnHm8mYXLcWL23LblxIJOr66gcfK5j8uNWU5vlU5eohkJltaSkdMLEeFPm4AMoc8K
WXhEGkJ2RS/A1RmTmgW5Nt4W3TT7tYpnJIrMkLY07Uoyi8v14nZ4KYpjohdKJ3QwU8NtzCnIhsZ3
K8xikgQDSHA+tljAeeEEWRBKAE4JWHshTIvGpCTobGuDxBhiH7T+15oxSFZLHIpoQz+/ssAj5w5T
AxsgALjS0WWd9eknbfBkt7C48X7awRJx9hYDqSHhSKeVofQm09qgLZ2rGPrlEHOXrIq48bgJ+GIg
GXX8/UUxewANDeSh5zZo0uKmdbSD5Sg7pWLdpiR0p7UIMyCAIzG6Nq5To8L8zW7C0JcKo6Bbekyt
bG8U0+PlbSAClaAjcT4w4URpEG8smxk23Fw7NIy+OEb8oA5qmBNQGaBzvOi2hndVsflBT/Ony9Zl
A+Q/P/FNQ9RVle7xWc33psuCNpXxxa5a8KAQy/WQgJXjW/TEQpq1CVBYrAX8MyVZkFRRtdOitpN1
PAtZtZ/TyJOiICYB2gUyNOd2QG7aFMVUt0FfFX6V3EQNPdbUPFAbvQUmC/u2C7VR1uS3dsDgZ3lh
Hk0riEzOrZrgU80h2doGQwqKdPKK+3RTurIS5NocnloR7q3I0npGR1ihqnosQGblD+Az+A/2+qkR
wcsy02JES2Ak6/p9XQzfnLyUxHErZ5hzIHo2enURzop1gCbN9LZUrQaEFtW96caHqaftLhkrdVvp
xoM+oXXRQE3+8h4XMeZ8a5jIW6Dgj7w5jz3OF8kBNZvRWwV4R9ANZxdHm/l15Ou27yHqmPbfwLL3
rdTuk9nPv/RPyfGDYD1uH42SQGDjRYkkgugdk9IoaKa5bWDOLprWh7BKbuOy3V8epnhLcisoU4M8
C5ckpCOFrcjGolTaCm1E9WDdpoQeeye+HV0DLOROfXPZ1sphA6SIS6mBTwORhnB31ZVaGTpYQwKo
lphBE7U+LeMtJPo2xuDc5HZ5q9jKc0sHWYSzct5wVxpIfyKxAYZ6wXBOCSBvTQqIpR73PnBnL8PU
pn5VFl8uj3BtNnk/LRD6uKMXAMt2ZjEbUg+O0SyPaVy91JR9QkFu1xLz9eOmPKwbAAZAYy2aUIGb
Q3Yj0tsAibxwwqR2qbJ31SdHOVw2xHfASSIF+5CnhDS+TTi/rJgVN81Jc4q664OY9UHRJXuiv1Hb
OMRKvNFyWQ/AcgZdtOwCY4N8Nd5RIg4ssZCA75yiD+bKxpsw05pjM1YUKoBGElqKUewuj265Nc7s
iT2YIE+amUnzPiDlNctuZ32XpN8vmxAfEHwGT8f08y4/ucwgcKZobQIboXWXPrb3Rlig8uZAxDrx
ggzlojj8YO/BHyYB/UBdEbtjseO12SOtDe3lANxUV0U27mM33kiGxR2gsDEAI8b7GjlruEoxwI7T
MXbiKu1BS4sEVKHt0L6xJf20Nydy1etTmMbQycNzAK4ku1Gd+qHNlZes6iTzu7znML2cGwXOEqGv
SHikZIaiqErWBxlYS7w58dHeHF4e6+ouOTEhXKVtHM0RaD36QLOHL3rp/q7QZu/oREZ4tPSQ50Ph
Pz/ZKZM5j8h8YUrR4pMxE8hEyGYNd509hnn+BWCeIZcx/67NHvIVnOAAsh3InZ+bzEZcf0RTaKDl
X6HVsHe8TnLEJBYMQZbX7isn1WiMvdg6SVhazt0wu0NweYWWQQI6HX4NwxBcfDsVfeN0MGJMdONG
SZiAa9/Ri5te/TqyQ5lmku2/tlTgRTFwa0ITb0Fp17dpH7HSo8HUaXjvzX5DPtP0Mx3dAJVusF5C
CZLakvSZmNL6ea5PrQobsTMUqyuKiCIo0bYQa/Ag9orOsyFwdmj1+V71vlzreW3zI/eLliloLrkL
mEITTS1RbIzU6srKZxnaE4ZiPhLoRkhirjXnf2LJEXZKlORTPiguDfLZ+Dzl1r6IvSPu2quqHw+X
94tkUCIpVRUlFkoRGFRKdL9pn3Pb9q1JhsFdX69fc+fo56dLq/PZhcAGBZgauYf4CtQCwAlYN821
6xsbQKlvZJ7//zDJOWeQasHDWojoElIZbFAwsljbmSA1CCHE/Rk0Zq9uD+m2nQ7KBjn4afWOgwgg
J0G0Vlg3mG1PFoOoUWB+9e6mcPrUPGThtHevoWf7lt/HwfSc3n1Q8PuP03BilO+nE3fJLGZRhy8i
9bwXTU+DxOlvo0aPoP4dHwu93X5808BTcq5ZABIWbG1Z5CYO7Xoa9GP1DNT/hrgDaDyd8vtlO2vn
wNOgowZCMfQoikGQlU9lMiqUglPMUnxq5WE5dsSn2fg6dK7kebXmnrkCKzhGQPmxaBOb1KY30YwB
R9Y/0eRGyST5U9nfF1xWD+L1ngFfHJTRrdvf5fHL5claO8lg5QfSlfeFLRBvvQ1pI+wBGszaN3sE
3g7p2ayQKciuj+KXFWGrjR7oDkgHK0nNNqUFn4FtcHkgK4E2CKl+mRAOrq6M1Mxm/Nmho6Tc9n2S
qXBNCoQNamIkD4lGky+uxQwZsbtsbMIKJepkejrD2LyufU519yFr6Shx7SKY5+dZxfsSyAaLN4uL
UZrrJhklY42zw3xtOx3yr6BYqX2HBaD3gif0Mn/+fnlCRcbdhU1hYJoGLQpNh00amkcVjbEMQMhd
9VAFXpAG0VN8H/njd/pOd9EdZ3OSoYfFatAfHwAXDIox8PgsRA5Ke6ZNUmPvD9vytvhGzSDfRAf6
E4pK9pyzzXprhgA5dy+UxayrTgTtVZxCB21W4j1QobCUoisTtkcoZ6YPrWdsqrb2FUMWe61eOagp
/duUMM+6OlCbIF0RxG9TCDwOuwFBVxjfmL7yQGc//qaEHy2P8DfVqUkhbIXmV1MjeQFNDIsGqK61
6leCsOvyBlpfv18DM4WAZLaHSIkg7hXYN0PYvURuUNa7rN+ojV/eUHAXe24wQ9PF2CluMO30vf14
+Qskiyim++NhRJ9Gjg/QzPL3vs2bQGsz6pe2R4DPJtb2sjmRcJVvWHRt8uYM10Kvi5hrS8diHusO
N2qnVZYPKDp6hkYCj1R/L4c2Dbq5iUODzfW2jhI78c2sllX6Vvy5jnwf8jUcwIwswPmlDg1jpyQx
0MRZ8zDTySfIyuq/Xx7niseDDZC6QuTcQEQruFr0ZWhjiw4l8GLgRUKeI1OWF10bBcoOyNwhb7ms
0zBTAcsvWmkCh/Kqg23fUeKB9XrotfDjY/EgjYW6Mwa0YLGaWDbEORkocjNuvNOLmhybvJaB+9Zm
DLgWABbhymzkQ89Xpa2nWUmA4AIng+ZPmuIrkcRbr2x1/dSCfm5BJYVLCbfgpdmnOEK1Sdf0exQ6
qJ8YMm321eU5GY6Q3E10FremgbuWtE6oMhNgjNjHSd9cXhuxBeHneUIOBjwQKLjDYfHvOIlQofCR
07LE1TpskT92tjN0qJsQBHigPP8LaZ+VspDLcz7/tscn+cRePrPONgfYGwtw+BXAzFdQRgIl+VQP
/qSCNHb+GgEJUhetD8FGSQSzuklOrAvHqtFS4AotWO/tL7Pxyc0/XZ7O1VUD3wrmkeebRNfg1tpc
NzE4Tyf0eW319AXHF2V/p2gl67ZiCCLtiIgt4MfArilsj4pUykw1gph1LBmo2YznUWtuSq19uzyg
lQkDoAEaSMh0Gss+rbKaisku4RcANT6WTX3nzLJi7kqeAmBjdNWiDs4rxsIOzGuVKdUMEx79TIYX
u31RKArH5FsbDyEy/34elZLZWxkVTHI5DoR6ALIKvmJ0WZ4qGUwie3JjMmdnx7KQY2WBTAOoCKiQ
oYa2QBG6Oc3T0oyRF64gSth4gZr0kJuRVXLXzaDFFLwjHEso7APLcAt16BTUe9S+vB5QD9+lTe3e
gZQsDT+8FRAiarzWA+DHAtlH0HFlZaisgsTt91r/NNWSq311KCd/X3CvBcsL2+b7AISwiJraPIFi
WqWC4rl4vTySFUeOLhN0nuNqRZ1bbGvp2tEhY4WqXO3q0QFdQoe6KOiW2PmPovE+HiCZ6MXlSgjY
b0hinjs8k3nxbBNeAhx2JbkmKBM6jhpGmuSkrk3fiR0xiRm7UW0R8DwHMbh09/1oPtnRBBYGLd9f
nr3lQwktJcgwQK4HoBU+tvMRqaAfcedobAD8iUJWOHgXVSoLSNzNvl7qb1VB+g1w7w5e0+q1F2cP
ZlLvR5AdhW7US6Agi6OMD0HBDJE9EgSoAwkePWpahiR/BzkSp+lvjLr/nSatubs85MWGgatAOM+Z
G8HVvoDOaMOYEaBy68BOoeWeTO6egSMk6UExqkrrugt/+NMYcOJo0gGhlrhhSstoKaTu6qAvvF2r
T1e6M4BTL2M/psa692pkEKbUxJMxLnT/8jgXewgc4SY4PMDliqZc1OzOVzYzBrW3jYIEqVL7Ewgp
FOOTI2XR4n/lrCzj8J5/B2Qh6LNC2wz/ipMQYLZnyxs7dI6nJfRk+vkWGNHfIV+4SfK6BuIwYx+9
9blBE85RRwYJHXuCk6zsyFTLJkJ3xACeSQC9gGvVKsmxWJk7GAEIAO8TwEFEEvJMrdBV0sHIPLq5
r5HphlDrtRvaz5fXaLnhkQFDowMSFaAxWMg+kAiwDXdy0Oqk6TuaZb8bmfH0cRMo86DqrqJ4Bv7g
8wUqXavukhgI+LorUWavvSdSK4XkOlmeKa7z5QC4DegeWHgEI11ZzEab4C2ulLO26cv+qA/tc+EV
j0WvSbCZK2sDll7E7qiCAJ4hHinXTsqY1ik2QNldNQr6B/Ms8XVKPmyHLwz62jn3no5E0vnEuQrc
X6VAyq4vzKeEqJvZ+WK66HP96PoYQFxy/4CMImZPuFLG0nFpbBngk9CIr07eBsIjkst4ucuQDQJ/
/89uRY67PB9J1XcF0wmY7pJafXYmsB44g+yJswSwADzKH/FgUUY1YPGWz9Ew2CkuiFzaSf0yjuXB
Srp304Ln08oXNmRXOfhUs1n7bLK53RQkvne0bMuceOtZk28ZzfVcNncZKdIHPSNvAGJJ9uhiFiBi
gE5lvp7gz1lgT3SN5UPJaBaUyAISes1imfjhwhfCAqq9HESD1CNm4nye+9mxqJqAY4sYabkzFDQ6
9TRUM+04aUYKIsXpw4Epbkk+16i88PYM8SwoWWbbY91kKEnE+7SLwE47BlJxGpGAD1AowNVwGnhz
tLXsAylrp8/nOM0C97m+bq8ZBFWKcLiqr0AakB6SfXlXPDvfL5+LxTHn50EDrxcgPKgEioCkIa+7
WfeyNJi8yE8H07f7JlRxTn6a+a9v03/H79X9H1dV98//wf9/q2rWpnFChf/95036DSxG1Q/6P/zX
/v3Pzn/pn3f1O3mi7fs7vXmrxX959ov4+3/aD9/o29n/bAhNKXvo31v2+N71Bf1pBF/K/+Vf/eHf
3n/+lU+sfv/Hb9+qnlD+16C/Sn7780eH7//4DRWdkxnnf//PH96+lfi9mzcGaq33xW+8v3X0H7+Z
1t+RmMNao7uSk01zwcrx/c+fAKGGQrTN5Sq5t//tb6RqafKP3xRN/zvvZwVBNQcmgxMAX9BV/R8/
M/7Oe210wCxRuUOvlPPbv8Z+tkq/Vu1vpC/vK6DAun/8ZpxvD1zLOsiwcWPiYY7kHSK687OmOUrV
VInt+l6lb63ms0VyAK0b5+BW+Z4O+eDXHnscxuIlM6cGckcBzZvZL8oR1dEvY5mWvq/r/qjYx74B
eBXkpjHbMYNudTy7UCk74prRfK0BwoM8g/oECPy8/JGw7AEP0Wuzy65St36onIfU7r+dLMSfgz0b
HM9g/wqq+ODQF4w5RPHvJwEr//lJUEWjAlza0Qi1eI3tB/UebNwhop7rJM0eImJs41kP5hD8iiGJ
IbPRfmXx/JQozacyr49mmz0ro7Of+igsk2KHTudrdFDQ6F6b9NB1R2Avsl1rPXn6laNoAS22aUK2
RqKHhlrcGXV33/XVkVEvBMbBd6ofaWX/cerODt3pCM/D4j8HiP5MkA5BeUK1sLtOB4gyUxxDqsT1
tandZHp6nzDnYDv9DTO8I0nNXV1U99MkRbwI8pp/GAbOEd4Z5OZ4+QguOhpMre6m2vM1SEDF7U6j
5Krtoqtxgp7I8DLzcNnsgqoC9/bcoVyvXqlljAa7ZJe4lq+P7VEvtMDtb0dzCPPm6fLK2zzFL648
UA8gJoM+F3gh+CV2svKT5yBWy6nnV06/sbrptSFsV6rHEbVSi7HryTGuJnu6VacSLDHJFtWEG6fL
d2r7XR+0HRviTTXRY9a/gp1wn7Ji11f2YTT615w2r1acPmBUc6S0fqJG+xq5mcw4qJnpO7XxqWHe
LfqBwdjV+1pNv+g9yUPWT8cmUT5ruMK7LNvp/8vcdTVFjqzZX6S7cpkpvcqWLwoK+6IAGuSllEuZ
X79HzN25IAhqZ582YkzMdDcpKd1njmkkJ8pBMGv0jVDZdlChrbKb2ODJh5Jr10g0gW0OIw+ZybMa
5/d1nh8TYgBQzbw2zyxd6g9oqBzl+PH3j6ezr1f8X7MLGU0Fp9bc9FtewLKRS1OR9iZwWdUBzfoT
i7DvI7aR0m6vKjAD0186WT9JIr5VzeI1iYInc9Qfwl4cldDWSn7O5eiWyB4h03qSmTNFyq5N1Zc2
hGZqG9t1QHAJhV5N9ae0Ufy48YxMXwWQj8uizkpk7oYG8VpImqO1sNWH2M1a4bY0OsuKk0Ngp2sQ
gdShw83pHFHxnKTRrVDyrU6cZmCQ0u2blSqZTpiYaIlk05mWybqATFUmS49GZ3hh+WL2uVMrbF9G
Yt9XpSvDRqVJ+GHIs01D45sUSxU0QJ/s5JCtqMx3pl7Akida5+GjFMbA1qiHNOBXAca4Vkr6h9QU
TimTM3CoaCfEQyzgtIFykPtuXZVibUI0HYz+TiZHQy59GKtsaCLWtDU2CVVeQG7Ef8M/cRxWrJBt
sLJ83uz7vjvGDYVLQOxVD6wW2yYqvTKJ9kJp/L5t9s0k21pCbXBQnZYgwAjKXRmP20Iy/TbUXX0q
PS8xYydUODj31SZSGlSWK2dg0OqLzRV83bdGPB4TFXJXwAmFHdqtrbJ+Q2dpryX1IdYTv49UC7DL
0WpRVpBi41mtgmfT0opi37L4JEXqblDz+04ztgk6sw2wK1FZImqjttQru7IyttkguVqQ+qLo3Tys
N2B6u1nWrKSgPAKaeFvVqWNmu0F0G2jtOnlSrfowdENd897yrrxKZAJ7E7YG5fQuoeF70bFVkF3r
nHiW0htnVZRXAalvkkH3g4nfMAqBcU33mZgySxD5FEBXEpB0S5KSP0zQdYTzh5mpiz7AuaX6fa3c
hlw/5UT2w8nw0yH6Qzvij6PigfKNsnW+m6BnZQHie64qckjqAWnAsONT+kdi1cM0BO4Etd5xPnVZ
A9FWthbNfafTgx50e6IUT43Kr8ox30Gy8aDKdlqG6+SBu4qCNSKhd6dZkglpNbNPrKTVB6vDjmcV
JlSB5U9V3tDeiurJH3N6SEBH1Kd8p0i3MPuyldY463X80gbFTTVB2L0mflqMd1mjNhY+r6d32ioo
c1eSBqeZcgvmVnftqK/KKn+RmGyhL4aNWN2kWuaGXfSi6tUpj6QVgHHnwYxfkkC24MIFmmHyIif0
UKkF/EGC5zAwzpyi1kQkl4zKqa54ZZmkOYQRMBG0XgkD53CKQinPIj83ypva0A59GGwmmt6K577D
epyLSUXF3MFMnS6LLGmsDjI6PJP5TqvqDWnkTVX0d4UER64egr/IQBrLGBLs2zOX0ut+S1PpZYgx
ubV+Qn6267J+30TsQOrqpsn1u/oN4B34m9SqYvXb0DjoqK8bsXlKk9aJoxY1kNwS0Mm2sqJ6KOPo
T1QiuimC9DYhdeexXKwCxrc9Mc6hFqP4pKVOCZGjMGArWS+vsqZ361jZijh7KqNsR0tyyGOrScm6
LsobrUOKHaryXToG59xUfTnjfsn4WtI7w2H6iB7PHEroiLOSSYUtiiq/GzCz9qKmeAlgJeggbImn
qnACOqp2lBlbIM1nWVtDcquiCKHj6EBYsrAEg0VU0lWWPE2wuFBc2chu6qZeJeaYW42qn1SZHUo1
eQeA3JM5PQ+NarWcvEiNWPdwCJFaZqtToVlJKm3kTNqoA04YwzBLO3aUJrlDLcvvjH5VFrIVlj0K
Y9cT+mUJgzwmdITLQNhazW8y/b5hyW6Y6v3ApW1fZg548psAmvgibu90JV+RUKxVJb5HA+coOjO0
dDWyUh0VvsG4H4vgXY8rp2UV4BDKvglCN9kPSnnNw8pV5Xq08mcaZwhXpaMylmfwGFyJ1ltgJhJr
VIjTG/Gh1lJ3mkw3F6ong90V9xWOMXQGovgkx/C1yh5R4FkNLfaYKm/MHpY4cgIimFhNGlgjJDvN
epEKzH6E0tlVo+xIHu15bKxEkK5j1Q9QmqQmVMs+zGKHs5rRq6CDUjjugd9v6A+5hWV4g8RhVugw
0EwxFoFtzhMUXzPYMmeJDN39O6M3nEAcC21EJW9y1IED8SlbHQ0tGfp3Ruv27UmXX3rprDeRzUPk
M//1d8L1Ja/4O61bZn/nMsdfy4TuSyL4v0sQ/bdyTq2a5Y/6f5gbovj9aea+5YY3b+Nr9JZlb83n
9PDjD/2VHhL6L7gNwosHlmRouqC8/Hd6iF8B1RspILhT6CrMZbP/SQ+1f82NBgT9MHnGP0Aq/ZQe
yv9CFxVVSsRuKJ6gUvmP0sOvkSDIIyiJmHNBGkUEEGOWcX4bJ7Gu5Tm3FfkeG/VYBPkEJnV0VnLz
icogAEF95laecmoNSUWdqDOfZMTe1lhUOzbAwLMv1XUn9Vsj004ILPVD0QT7GheBwq/ZyAyrlHJw
0bX8KTbGdVCV3jDIN5MuPSlDd4+S5Ioz+BKo+JmJmt7VI7+QQy277+hJz37jKIICRwml7mXpfUxq
dIckqMcbXeq2cnLVDe0KnCO/QlgehtkagbLVEP0RWaZTqZcwJ9qcYv9nM889cR1OkBDAAakCgg9L
nadkqinP+zi00YOvrSEobwqSrkupPKRmuEZDY9P2iScIsuXYtEsNhug6d42e+rwkj1Wmbs0OHzxU
7ChvzmHIt2q2jorOh1PPc1JET7N8g8W7Zh+w8b1pMnccgew1qwfoInoAih/CKsotQHtcGo0QUTat
Onr/tO7/fT58TlQ/XuLrS6KkjQIbGlqoHn4rz8ZtCa2fAa5tao2IrifPQ6WEVkN54FQ9Cx+iCN64
DTypwmFypjzyp6F0O3EuqexMPXEyGEjpkg11lZUKYjpUwTlWjSGsfOJuE+mwyyLAXRbcThPI47Ly
EGvjQ89qv+LMC4wTrx6y+I/a/kPyB2YPlRNsjdmzAcihJVYkrZUkVmY7uqxP9nw0b6kZ+0gcnFJD
hSSTHSiB7rRMXKiqfy1tzIsGwCHsS5RuZpnaZcWSQp4f6pBtatNkI8idGkbYgBN8qG87s3Zy8xKD
/UMPfTGBnwdctlLLIgxlWmPAuiOOStvXQu18zXgBVPJtzHF9p0hbII1tKSFZ6d1e5PCbrYrwpAxS
5bYBd0SuOIT0TkBiK5dNB9BZqApEq4yVf9Io51aDYlLbtV7Vtw4DLBC4YSusWkcxuJuP6a1shpCD
17qraXxISr4xzN7jVX9VScwmeehOg+zBZze2pEz3iSDPWdK9RMI8cqX05RgCOBDxIBl1Amm4cIh8
38NfpmNJZGEw0EDxF18HQacKslGXremo+233j7Wlvs67tqj4FGEQpDoEz9G1eUFpzzEneCPTSxX4
5bE/ry74b2OvgmH93UadZUbZJjrchAKUMOZEpjRPvx8Iy4b5xwJGV26W8UGZ/xsqfwzLsoefCuQX
XcXjYmNyEA+m6wHOfwhXSuN/ofW6RLz+e0xUykAEmPfsor1WB3I2QafoLxvmoPA//DtSV6wkOBc5
tHVjYCzQbb2wOBb9jI9hcfahAI/CP1BQi2En1H+bMcLXjMVkxbn2GBqoCsg1yjhoZqcXmv9L9BqG
w2WGHiX+BhP/G8cJwvFm3IOBD7bR4BAPyie+CpFu0y89aV1d4jZ9LUF+ILq+jLYIRada8FCUGE0Z
7g3EnTXjbi9OlB7iOthTdishPan0P3WmI5vpvISwfa6TLTPHVZV3MEmFaONUS9siKla/r7Gvte3v
j7ZoCZpGJI1ah0eT+B6hDTpo3DXL698H+b7zP39tNIe/VhpD0UpVP8xfu8HlDXCtgoyVqE+FekkV
48LEgt27GCoNG4QSGIqMiELaJkDKVbBbjU7u0P9hA8rXWxZUDly/LdLXN22ceb+/7MVHWBw/eiAD
h6HOb5ulWxQPbvW5JD5hWUtrKd1qJsjT0UmmKHtDSZlf+NY/hGpz24OhbQA0hv7NTChtOhJpE4bP
1vFqVp8PnNYaPc0Vb5eI/IsS979Xz6exFq8aGmXWMDbGUL1WXtNDfq26QQWX2cjR9hqzcNSDCqyi
qmmxNx1G1mT9+7f+fmp8fVft62xXMRSAU4LxEyNMMNswBYSIa2Gotwz+GnGmWL+Pt+xO/nVuQMUS
6oQzXmPZQRdBq1dswoCNq8OnC9JbMx+gWGm+DKerbk1XsXeJEPD9SMaOgWAS5BoAREAeNO/hT4V6
XsD+QdVjcCL71C/y4YW2+hW8GqAxqER2ryW3YylZQ2zedMaE1HvENQ6qF/ydpH6f8Ys8vG9nBoI5
5FYQrpABhUOb9uvz9JGiDgGDqFxQZtcJ3CpQDQU7os+8CTKOEF1YUaPyZIWDcc63RZH7TSmvcl64
cUpQ0L8EBP2AR3yJu8DxhXkWbP1wIUP0abEMmrynMZqukc3k1tU7lNWAR3ToYMBRlNsi0FbNpLuB
xiHLkEOZrfBq+VpScdhmZCUkyR4N02Y5HJ9l9OZEvRFZ7YPauw6G/ph18U2spFYqm/7vq+nb6p2p
yXAxw9RCwwcYv6/fcYTAzRgSiClNhW7p4hESuYHkqOGtVvzjQwHGX0iGIX8PWALURBdDVRKhVcNC
WAkM3WGKM78dJbsW1RUxH806uhpY40ZJ6ZNGv5Lzi6Dj7ysGeBDYV6HapUN2ZIlviasoU5Wqlyy5
Jts2zj2mIT/J8vgUzxxHSUc7h3hxIzvMKAXw26WHOBr2bioox7qLHN5uA+m20gzU9p6z7LEZNPi3
NnZv6laaQeQwkVGqKpil1KuGhFfGBO/yTto3RefoqJHl2UMiPwXsVmE5RN3u1eQ1Vga7hMmuUeGe
qH1BDAvql57QXNbeSii8hamfoKVRDce+1M/RsJeYsJpxcLIRvxfgwgsiIj/scwiiAAcEZiRald8w
HeDiy3Epd5IVBKOjF5NjkAeIVAHNojrAUzvGcNWpMFxN6i0bgLmn1E0LsuuKSwSr74EnlsvnJ1mc
62lYqwBW4UmA8ECv0orszk8cmCJCXpDB5Mz/5zfJYsTFFjYHoYZNgxHngKyInQaejwMUQG16Bylw
L1gXK/0onYa7ZNvVm7CwU++STuwSVoQVOgvS4F8UOSpkkRfn2hSqWQEGumQZDJ7isYoKLsRAUyDY
TIIbTb4KkqMS3KLmfEhy/WzKvZ81uatV+k0uv0Us8KA/bTVG7lPJcH4/K76FkBCyA3gL6QYod1A4
XMwIPJwKIQsTnNlQWk9Td0gYVFITNBApc2XeHwnvbLUd3N+H/Ra5YVjwNlFckwFk/YaMiYwERC10
DNCa16BFlFg5zLihemCZ4YVk/YcjAu2jWeEYANbvNlmNyIpC5BgpGm/ivgcGobdS7ZIF3E8rG8Z9
sz0hZDrh5rSY47EsQ+iemyE8CeUGEmPBczCdmEAfA72FEW3FoGmf4f/iKjUgR/101NrsASJNF6jD
370LTNybeAr0w+Yra5nvRMQYcy7NUdpgnoFLcRttU5iRX1I4dKJtO3awKtC5V6fM0aH+Iabrir+N
zW0Xx0CJdNEmj1Nk8mglRxSSl5OGnlh+zjqAMIYJCzC8/X0l/PDlvj7xIolJR2VoBpxQsDaCMfxO
t2NmJ169SgHK6iUYA1yMe77VbxbfaJGbCFJPcdUqf42INdffKRY/ii3svl4l0P1jr/XRlsG/L3m2
XXrZD+zEp5ArJ50e1iOG1v14hTpsa3V+6aNFZ1frzKWBo11YEEtC5nzqIJaaFTBm21mkpl+DgYqx
CM1oBHlAaNoZ4iQBuf4R2o5VhDbaOlFf4rTw0EXdkqa7gnD7oY3FcxBXPiPmQ2HWB3iigs6oXwh5
te8nz/xgAIgg0gOgYknZHzmP2pgFkHwMBixNlHlHbTdQoDWGzilk4YzoP5NovEol4QVA9mQgPIc9
pJsAWKCjcSLakTLoi5l38K2xNbW19OY8ATHQljZlfp9AZpQxtwuD+4TBZBvWBAHpV3Ukr7MocKg2
HmsttPPkGsKTFi1Kp6mv4/799/X9/fyZFSXmLQkqCS7gRY7KJlniPAfldTS6tUQyh0aQ9wkukWF+
Wlnz5TKD0ubGxTKY1wBehe2CFtlJbAGo4vDjtJrzJE7BnKvty4JJysdZ8jU8/lBbAF4UzqWz9trX
pSUVBdWCCUPCxMAa1HoFCXHYOI5gOw47ompb3kCFRxrdADBVKjpLq2RrYJI3aAFC5BL8QR4CigLd
I+iIREXuoI0BHxIwGqRHeIS5ZXkQ5Diwu8FAVElPTE/2UM3zCdqVLTf2PMk2WZsdm56tC0LcAHS9
GNNeTqMloHBbw0c+n/w4SHJrRMe9bhWc/TE6xJKTCThwqLkP5wqrjJtHXW5e+9LwaPzedI+0pSvV
qJxJHZ1qEoALxH9KI7AKaQScIvaaybTiVtsmUV1YVSyfal15axNgAVFDrYPAQuLgg5Vr5ZF8KiWB
a+cVODm7VnSnxv2umuUqmc9WPQaGQDmjv37dpsTWE91h9bQKCG6S5shz9WoypIccBd6oM9wovAPJ
+xogdg/eU2uBpDhQ2GriV7SZnFRN9jHtbYqcNc2g7FQUiMVfM/wuSI04kAnbZehQ5pwfc/LHFMSd
ajQpgS9KWQHjM9WFIyFeOXQK5WVQ/ATWPgF5GETvBnX93JvqcZykFz1MD9xAAJzR0c7NvrMZ+DWV
Kh1aKl3REvU8QKZgd3SWp700pisTVD11blKHabsXDTQiKeDbeeNqdbUddZTMuQaAQvkcdIMj9HAf
UTQjaon4IZAkE2ABspJdOH5+OH1w8KBIhysbcGo6V2E/HcQqS6tU6Dh9MjhKK6vUnx2l64vx50/b
8ss4i7iAoZWk17UZIbHvATnu/BQoYAcp9BkK5nb/csnh46fzHvEUTE+BkZfR7VlkZNRgWRlJLIKC
Q+8CUmXzwopTNwWGzManVuGx1a80NP1smUHW5pLRzw93K4YH/09GroFy0SKe5Kre9Z1EMBbsOQdV
35UB5faIW1ZLqYMibGwlTX0hw/luJAYM7edRFycRI4JXHXCH9vCglFZ6GO86X2wlXK7tPdxHIJgB
cz0YpmnrAHhYe9x1N4V/6dXV73n316dYrKkYt9mUTHgK4BH8sLbUTbeqMO246VG7arfxRtzD9Lt3
xh3ckEen9Qs/8eFN8TLbR0kX6oXf+giLb7JYeSWco0pAYyKbGmjM1ZLDL97h38tWizHmMP/TLpK5
whpQdlAssvWNitUdQ1t8WvEVKg6wjAN9xr9UJfqoAi1uHZA05kIZyg1gnSyit4rW49BL2Lk5JXaP
3lbWNT7NVLtsTJuImyxMnBGI2PYmCnJnTNtVkr9EkCuQSmNthsZeNt0W0rEqu68K02/GF2OCNDq4
OLOxQNhbg4npIvDwhRlrp8q+lNemI6TAiRhkoapGctXmQdMi4NNutBxRR9Rcj9qrPsJusAc9VO69
BDG+eUdQKOLTk47+oJL8IWg68ET3NeWs5ute3vW1Udlyp9xEZWfPaloqNzelnq3UqLSyuNxDDcHq
+netG87GxK5/j0t+nrv/fMelnaneJUIxY2k+KLTXdg1s2iPwX6+gEeIcROEof+H+xdB7Pn1+mTxz
cToZIaSHav1jwch28od7wyreVWtxuhzmq/NRsxwLCa1sgC0DJLK6SCx6Mxh78EURYHrQ6b/vIOwl
3w4ryiEAl3hz0YHUOAxqmLa8xU5m63vzfOk4/umaQXkVVdbZtRUsvK8bpGl7URGCZxjzVVlHD0Yc
Wj3vXDYlm8g4V4bisF5bXZjanw7hWd4Cld05Kf0IvT9tS0kvDEXi+MoDALtw6XO0crpFOGPVhrqK
SPqHqGvAHizQ9C0NOqUDDTwlUKEPMDqG1GEX5KeelVBQzO8vPNpPp9KnR1vqw7T5yJuiBVyycQdn
Ejau3r05l/NLnBghmtYWbJYvNQGXWmtzEgQ2wt8fZMkeg6TcIDcZ1nq0o/60a07DihyMxBEWUlyb
2NMbnGaxTS+u9x/XIDqPEPIH1w8FiK/zX0WKMUByeX7dwJdDO3zS1zragd0ZQt1QGPjHBnDzixow
C8GiokCoLa5fLMNAHbq5eo9kGi1WVJ6tuU/TOZodvgLveKkF+UN6gwFnIgIBVdfUFzdvw2gvhhYD
gnAt2/Id8g+HBdCKqt/nazd9LTahd4na+uPZ9XnUxU2bt4PMk6FEf2YNUpoUWCWgoDZkz3UrPE8u
e+5AE8Wq94YL6fRP9ZW5/2XAqATYJfrRufq0tfJCrzOWoUdBT8VV5QpncpB7bpm+Vl1cfu68ngIn
RswxuXHtNmfon6UWYLetdWEn/bS0QBGAMaQGwADYy1+XlkKGEuQsLC04dKKqLVYZIBxZcZzIJs8D
b0ThB0oFloLKDY0H35Dy9e9P8NPZ9vkBFpMgxZosKgrx/Lx5Qe3BSUnjAszmZ2ppxTUO9tK0utJ0
fh/1pwX3edRFWBOJwGzrScX1r2+C6NAwP64vLGry0yEFjYxZdXvmQi6le1qWgtsTDpFdolWDfMYI
4ZgSvIpmb4o3DmH9pFZXrdo69bz0RrZKNbAuuvd2IA408O00ClxwOxzo3a6F9tqoa60J11IHz9Dq
LLTYjsmO4edCaOQqkyqrme6N1kBk8DopAKBT6TwBvzsAsxOVJzN9IA0ErNQKadAhBPMBzQ7LjMR6
4qo1xpFbJMTtaGEpDAx5VtTbgAu3KStERO0GOuj/p5WHPgL6PVCd/uYyWemsyBPa/XWoNVa3L21h
KSfVKz1cNY+/z/ePc4FSJuq3bO5eLCIGNLgaBeaPaGZN72q1j9F9/32AH1M0FC8gXSOjxWd8MHI+
belKRGUCmAXajk+z2wm6ApED02GI4lrEFti87qVr4Yf7GU0rFFTQ6dQBJF6sYQBO+RBzrC8aXMFq
EuB7YtXNVuH5Gp3VIeQX9sz33j2QpEjIoG3wYY+zbGRKQwt2JBUIhfS3sQgdVbuagnFdwcS9IpUT
9OWRmwVcrWRPxN2Fc+KHGfwy+Pzrn74vFQONuYblQtObqMctj1bZhSn84SwEhfLD+xgZL1BTX4eQ
9TgBbxsZ7gxoAt9vW91K9qu2qTf126V2zg8HEPC9FP0cEHtnXunXsSA0GcQ9qSLbKBuL9o+werFL
UtsXXunHYWZs7Cx7ALuhxbpvjEyqw7zAVxMI3JIiQPF2jthQkoHFlDYWFs3rdU1A2RDthk2Vq8ip
21PwSgzVHZXq/PsDfX8e2KfgI2s60JbotC4imYbHchAQFDLk+i5sj910Y3aX0vi5Fvo1Yv86xiJi
HziwltSMcML58AI8zERGF162Tna4EltmC7f3Blf48ko65xddq75vynlw6NvBNxvB07KXXA5qqXYV
KhcKHSzBU19LWncyQ9cgg2Om/SmSi9vfv+kPcek8JhDoiNQgzrUUAinCKNDHMUe0hO4kFIAP1C5u
jMfZdz1H2w2evQ0gF5KlXNiSP00memJ4UwQQ360XiyY3S5HiXUcgeY3wXQQg24WXtNy+b3yIxaD5
ibgQ0Bb9g0nxaeOnYyu6keDtOMo/ofIGVO6ljT/nT8sV83mIxYrhZterkYFV2du9q0h73YauEUCr
SO8GG5Y+fBva8qqB8/Gl/TkfKd9GRsEd/HGcboDsfD0Gol4kba3OI2/AVFuR+7a11BuKhBJgiDdJ
sy4VPpZKk0hiZujkrE2BMhNFDPR1RB50AVdCZHUt7FWGtbLi29GjXnS6JBL9w0eFWDNuQuAm0Z9l
ixMuAmpbSzmSVhVSYWV+aGIUTzjoXuTChv9eMMMbgSeBUAuFHJgKfX0jOgHLPPUYKM5ax0SzjwWx
qyB9SBTqJJCOurDd5gdfzNmX8RarhZa4ipsay15qE6/gw0piij1I3Avjwi6a6ZbElW0C/pGPVxGv
QWTqPbDk7STV76e+sMiHZQK5TjVxD9VH9/fH+/mz/+drLD47bURachVP148SGg3nCnArVTqO7PT7
OAD5fv8O0DycHVGxlGbqxdfvPnRhHI3lvDFHdSUprdOFYGv36XMOcEhOofURVAh490pW/Gnbdt12
vZW1YDW2XqpL8GZ8R/SyBkHZ0tjkmGBk1mnmdsVkQd7fUoVhsZnxmXVX4RTaTVhC8n8XjIZfpfku
6TWbMZ+TvckDWzGrrVGo9pgAiBFBhMNIjrgVd0Ip7aYTG05yP1bIpiBHLBY/z9FGivP8KRqomxTg
j7MZQXzbAo5dV+D9RqlHiYDWqnRsBFoxaZnZiVntCDjRJi9OWXCuUFZjFfiVapFaasHXlWaeDPEa
d9mNnp9HXDuTyfw0mvwG/cEBXZzUzPwSoNkJJxjXQSZnPciCKBeiJZTEFF31fJWlpzRtLRhnOUW5
RtzqS3rcWXIF31fSWCPSjbVKi+sk5r6kjcCoc0uUvSclgxtMk4v6jAd1iifZzDZ8GJy699voagr5
ZiqHuymkjqGfRYt+UxYcU4YGZi8cQRIAQ4QFn1mLA6VRAF9khvJakzbECO8KhCgK/gQJDqVE1oVy
lQEbSlLmj8oVw5+v9RZsRmUnt53bJP2Go5PXxKVbFInFDYZ4Q1+FiQSGbrjq4soKAawvpHptyvl2
VANbmDeiDU6h8dwZphWpPg2al1iAbdheE/Wq7V8jw7irtV1fABOWQeMSNplm0Fkgf9pZjnAewAyJ
rgr0vLgZ7fG/KPBieEQKdXKQnU35kFIoCPMbBRQnaJDaJLtVqQvgmWVEup11wuqQUQ3mcZQNR8kq
S2qYlSATktMDiDjGswr5Xw1G0yImVhTcxDnZt2Hstz2OatrvuPYcCM2KOLd1ZWu2hh317ceHbLUr
g54EnILyHMzCZwkIYxm0dzkLvLTcgeIMduoLsPpoKhZWmdG1DFGLPH0I6wayobdmeatxSwnALBrj
EZqsbwRbw0j5lQ5XUxhiR06WqA8Q/6CtslGB8WEx1hWPrYCZTt1Kuy5EQQMHTyk99fQ5zlSvCMGd
lQI/gwaIMgbA/wJM1W2loVlX2L/wOSYp1lIaOXKFZWEYdkNBpMVmqkurq+9lvdiUvelNaXgygUTs
qpNZS74QoN1qT3lgeGqQzk63qxwaBD2J7XSM3kEaPoZJeh028nVI81tjENDniCxjugrJPZzAXE0L
roOgUyABJWAqQB141kLeDEoMVedxrfVLI9pMzXOLDjgbybFsJfCN75rsbCg1ltxtHuVuP3MB+rnG
jsxIcyBFhOuH3M4z//GAAwgR6FiWlFlo2zrEAIw/KPayXINvHoKBFO77sDyoI3UFi3yOTjLc0y0+
5FvBwrXR7hnO/EF+HwKg8ml/zat6naAXo7ZiXZuAniDWgoG33Rchuqf7TuTeWLRWPdUHUGQBnRjs
kExWFKaupAC1MPuMT8KLFLiaVpPdaMCwJdQ19JceNniqLOykr9dC1S3eP2Y+KffABA5ogndsQ8Lq
KYHFHEObued3UUutApWCaATQOL3NR3OtmYWbq8WmCKWt0fYrWMO7OcyIs6q3xvQcTju1eMxyvpuU
xA7l7DYkwb4wihMR11p7DCAN2BSoOQCVVFY13PlgQ6Khv2EgQ+p1t9biBpyf3om1wlPZewHAYlTK
TmOiSWiGiIFlK09vIIZqARi847q+SSsNjs8wV0OBKetgymzE+wKs3JGpm4g+Slg6eWpuQvzASN40
UM+LRPw2KSo+WbyuwjO87XFnHHGKgyuG9TUd00GHaEX8KFLjCi40u3iMnEkz/XFSwB1+VVpsy7Td
NnIELnpgVwbMz4PqWilQN2bZDlVXR8avB0icNZK7lTZYjUSvBAtQG1LdqPijGe1L31Ow357hF2Dl
1UmphTtz2FqAA0bMmdpgJ0Pay5R6Z5KaVauB6J086kJZTyT3RKv4RiuDANdg187ohGAjTFTbBol5
SfDeGqDNRei09j2UQVTXEAGUhBt/lDsXuRkkGa4MqdnjhSGPMa5Ngp4zyVwT3oxZqbi59FKqsFyu
ledclCpyPd3pJwhn6Hf5WGMFgK41Dm5ezaCuMwtMOwxHuM+lB9iMb8wRC5uirRBF516aF8a06rm8
12p4egDTYvB+l/LJYZoHGiJUKdHknp121OlC+PJDkQGxCwT00EwHAAEl769RxSSTrASSNrLr8FmT
b/6btPNajlw71vSrKPY9NPBm4kgXMFVFU/S2bxDcJBveezz9fODonE2CFSxpRheK7t3dTGBhmVyZ
v9HzBxmCQpOxE1vniLy4ghk7esHEO2aY8Z0vsKTGVKJMoNrgkM11Iqmr5ZR1CxKl2mRhfGvk2EHH
CZtaX6VuLmi3qiLsKqRvnUHFtoZNXB7zE7UX74VKvCrkCKG/C1VPHCubbbGE5C49/Zx1fadvfDwj
ymNAgTAp+Wjcf7oNRSAdFSAj1A3inb8tKTLBhQITs6VIqzjHoa+H7wu4hf13wFU+GUrADiKffNLc
RzfdVrjpNv2DuhOOWqcdALgy/DiJYZBNyx9hrNWXL3KhgiodOkENETG7UZo7wFmCfIp2DZzEkRxF
eyybOzTk7ax4lScYo511hgZQLUebAFx9ngTAY1P9SKr7wZH+lvF/erLVnQnb2iRWl6tMkz8C4neQ
kWnB82slorfaDUa3YBQkO68RC1IVt+wyuzT2o3Xfsza1Ud9E2msoP/WIUoCpxPFe5DjXaThcTcVN
jDWE1V0YRWhP1k3Df5cAWIC1c3rUI1phhgg0bS20kBsEJpQQkKsANmqYnbC+MXwd1dTR9duXJmY5
hrDSgOwU2q9I/NWEb2VwpgcGT7TVqXha8nVlSDZDbMtkSqlwFXeXU/ZLhth2ZJoeqMHwLbnU6lix
a986SJmVtEVT0tAJ4/68G/ttWFkPc5act9OfVlzdmP5wNy42ebX1fCT0gXrBl9CrDWRSqYeASQ+d
fLrNisIbUFwWuvEJEaRI/S2ogw392OljrJyN3DWrzA16HDGFo2Nw8EFo2iIzzj2bS9LX+YyIhhKb
AzXnthDPpFi4MofyRLeuQmWnRdYGZoc91QOSNkgNm73gauDq0xbqTnzMBOZAE5ul9elRVjtbZc6F
pKV8DglCX041qEnQShqKm8jQ7J42PRzyXac2SKQl4PCq61Zp9nD9oXfjgxpaW03exJPmDZ1s+2F7
bsVAr6b2XJ1vfv56B+/yaJlS7gH4802asptY54HP9tbmz6L1pOJVukgRNyQbYNHcn4N9lI6+retF
FwGkkUR9dHWTnxHpUdOeYWndtnZVfIE3k9fYimlXTrtrkg3bnuSUN4ULIuNYfeRAExDBW4o+uOeB
bvlGnDIncBOY2CHmEd5MKcszUK4agN5VCa9EBW03PUblbAsoCYT3FdA+0+R85hDu4cpjru7koujV
quhO4YU0JHfZjMfB3F5EzT4MjvmDHrjs87D6IlViqACBV6sqmaPQasWlvSGIIMDwodDwvFasYxvH
8nPWn4SfvhhKyTK4itVxQ5/JH8Ry4pN0j+OUb+Ycykw+nRbGgJZqbUdie5IEBcIv7aUitiU6M+gZ
gev9eWocWrtLbwovN7APtKe+rl0F6wYNw3eAfd1JIel2guHrzxEONIwWvePFgAClSFQPViPaNezh
tUo3ZUQa6ASM3bYZkA2zpd+TizU7d4TNMTDX0Zir1+rkMNLymJbRUvyTXKRLJZrsrQd+xe7vuZMe
66kcqkZB1iYvgxWyCNN/HceS9+/iagnYq14K1tYq6T8KTiUebcAdmKGy9amUujqk8Z3RAHpSSq0/
IIvh27CNb8vWrsgb3NGTXYbUQpTp2Hc8EBfsJ26UaJAAWVzP2Faa41QaaGAPToQx0c7cLuXjimoV
QlROnHu4GD0GrvV2ZP4sm9N6pQBHwikDBQnRWLd2AiPKJl/olm9p2AtIQ6ZA4CVedJ1UtnTBNfwE
fPRF7eiSZx5hqOsH9mkWlox7tbY8wrqKXAtmLXEBCJw0xVAxPpOz7i6O2cPQ3DKEsywDkSyW1bke
hNeCQUWozS+sQn+0/Pdmkk6Dkbs3Imhxet8r+omgz/ZUqE7XgC+ZTiOrdISQC9WCglbQxMixinf7
9F3BLS9T0G/PsLwSjY0uW6dxGJxl6rhv0tERE8VOAhM0R7PokKW/jUi4CaUMZje4LXHwqmyRj7qi
Gl22z2Ye3qfF9Cj0emf3XQGEZ+KvdYbdC6JrwReIuaZlxX5Aj7op/ZNsvM8AhsqNf5lPhdtymRvT
h58/60fVdPVZl9sHGyD//936wkzm3J90GUbBKAJDNTZTcmoIFUhY0TbS1NX01jY9vjkSHNO1Vppu
AwQI1AaFJcVeaPxaGNNxQt+urBABHFwRfbVOkTaJ+aJK3QY/vWsk0repaL76ANCLSnIGw3R/fo9D
TSmaGigYiB+onrVSgzHMXSZWdeAAsTnTrChF/Gc61+OrPphPhEyylTrdCGTRYqNd6OLwOMWK63Mn
j2WqpINwO0S5d+SZlm7namyRwyAfo4tk8VyrNEhPUDKVS7ZcFDvHArmeUjsfu8ShIOuGicQ1f/jF
2WSnanpSJsGxIVk2u6/hF7cMwi7gqu880yKq9CBqsUjU2/SusNDA07J7xSAbRgQOMtvlLN/V3QAi
1LoQYvOsUmBhsM6P7VjrPjcfBYzVwo/mDgk2ZbUpp2ltzXNJ0bkP7wEa24WpkvNcm4vqpegV9WJi
xPK8EYLf9FWONNvW2xbBQUiQSnz0vDj7vp4ISZDLtTkTXJDeVHl0qsxA6fNWm1/8Sb1ET+s/zCjX
8ZbB+HRhHuUS/ddmqbBbzQm+fAR8SSNu75RfWfRH3m45QD9/4nW01dCi7wgFtyeaEd/4IUTfY9Z4
3/aHdYTlCT69j1/mZttKRAgSXAZqLb4ZJutJhMJEneYq1K1bLes9UymfSkvcBOMVxt9eTaM7nu1Z
635Nknrhh49SB01OqDdIuW7zAFWE/kUbXwfxeqKd4euZ21SdaynpZqolJ507Ozfuyuw/NB5W1y+z
OrP1Wtcpr/AyinQemzfTcD0X79TMfl736yTkI8pCYEOgS+Y+ulr2FrSYPl6aLAp9Ay6rtm7ewzpx
S/mIpevBuf0p0Oo+EUBAGi06jxQiUjDjd1UZnGAEb5sRUqkVcGz/yGmxZMPfptungKts2WzVYeKl
fbuj09L4paNopdeHgWNRl4xl/MxRcpQwyf55QA+9J4krDFXwK+gDrD6b4Gf9mLY64Pz60hDEcxHG
ViU9WIg25blF28zc/RzwW1Vw+YTsGZQT8Dmhb73eNRCXzYpSBSeHfFilF9uqeFOlFNRiuCush0in
Il78RhjTCbr69UjwQ6P8OfhqC2mKIUesFLaZuo1VRz4dUrt5oWnkxpeYiXjbioL6ieLgaqc/lttj
uda3pP3j3VFZWhACwFXXqh7YiUxyrWGuXJeoWTbUuaaqflLbhxJz9XbssVzXTmuxVuwsnq+nMnyO
ovYs1osjHOhDw2Ay/vgjcyFC3P7rzqPPhe/LVezT4kHHogo2WPlBNZt2Q9I7BYLs9SB5VpJsfh7+
A6uXqNSDlyFYlNK+hk37NkZ1VrUoOMhe3I+uLl7p2BWKcnLkgDaXD/llOVE4Qkgf4RQyWybaaqPI
+7JtNPB2dq9n+z6L90Amn6RYeQ/iHvZFRxWgDsw3ZOwQkQcj2/m3xdgNkD8z1bHohTvtXO7l9GVW
qSwF8YUiNcrWj8Ole6wBwCmyXyOiDgUSzYVAlY89qS+1Xy1e6NmUuYIhX0jK0jGTMlTv5i1Kq/Yw
3RdJf5rN8X00xed4o9L9G8D7GXiZ0OMTvRRPG/onKK7hVR0qTiLP+0GNEnfQ8p2VoeGaik7lC+S1
g9dYxq7tqHjV9S9f7ryupDwWs3vMvpdbMvLSlmuUD0i77bO6ftND6yaRH7QossuAUrM176a6oJuC
wGHdV6etQZPFhJCeWGfAdHYZ1FtLGLcRkkb+FG4s4Oo/z4dvQhTLtRmzNllTP/63BgTVOhReqMDc
IEA5tfTE5+De1CmWFmJ5Ofjv2JIxNe/USgY8ALZF4uzH+MWeYE7+/Cjrq9/6SVb7vZ5bfgtkECZu
+Z4mqBhaCo24I3v8971v9b6rdQecA3VEkAB2jGSS8GfgWY5+qW/afXh6TOjicCxF4RBEDIW73Wqf
Dea+CaWczuhSIBguIP9u1Q95pvr+GALy+762vNenWKttVe2SWjKBXCCqMW9kR3ETL4NvFznGFiXg
+/AITOjgx/oUbrWPmCkw8zgjnJrmuzSjlfwmFsfktb6J/SxTgmsPgHoQ34ur2tfdKhHNckooFNhx
iI52NwSu6hd/ZlMQ7yZd85D0scW48TQ8fftlyera1ShQT/3NhD9DKmjRSZBoOikPaYgTMLG2s6Lv
umwxkmz2ASWwMDedzjqmf7i+0X88uLnIu6iUajhjvz64pphNDPmRB+9oZZivY0oNNJC30dDu1WNH
iXwoGlUDqKXgFRGOWn8MUR3MtudjzFFbe+rYbgeLrs5032fKZpyDU6RkaVAi+AgY3s/zsylkacl3
Q5Nux3rpG9xJAOHLBKIZ0qiVEHqZ9BCPA/XJX5GV2VKr7HK9O52l/j9lxywjBdAbOCIaU99r1GYc
AScAvm43XjI75dsiKKa7yUm3gZPJKb01vZ+3mW8nIAFhEIBb53yCobo6lsgihWlqZsMWuxcLgWiE
6+1OBV5KuvNzJPVYqNWOZoXDiJnNZMBGN86NVNzUlGTU6C2Nf4kwwNDxVRUuDXG2HwR4VjEfCjPQ
VBc2aCrgSn1lhMJVlSk2xVV6yb98VTkZ1NIJQA6IuLvN3YT3D14B2pmEFYDZnKWS4QXIwwZpfjZX
qrP8uspvwuLPahTcWFXtDuBgQfUFKkLZxa+QRR6RAX8RmxqQzvORAfiWAagA3MHtYuvDEv7Ysz7d
rrpp0NW2K1W76M+BdnALOmbofGgb+vwxVxtEjy/1aOC1bY/hSzZemwBxiqefX+IbsWmZoZ9imCu1
iLyx9CrTiIGUObhSJKrOlj4xbssvo8fJD0/4WBn08GstjYxFneibBPOcjWmOrKlhl9JVV9AITZHH
eDvyXt9u1x/v9VeQZfZ++joKsLOmUwiCouymsJzMCzdif4KErg3Ka/Ziyxt22MUcCbtM+q9p4TKc
f4Vdrb9JyEYlTVh/42v7Sr0keESJwItOqbcBZkNvoffUTXAFqOV+2h1b/N9QCR8fU9Vgx0Gu4AKw
OpIpZinKlH28tLltPApp2QtdKodVkdzPF1RQTqI7xSk2igMWZW+c/Pz2h8acGwjK5hQj1W+yU2C1
hrEKYPkP1bk1wWKa1CObzqGp8znC6qvmRtukosrwaoOFTp+8BRa4xZf3P72cM3kMdm7qb4tg1Jq9
6Ut9YCrysihUeZfUyl2EB8MQ+ugEYtMyD3eJcffz0H3cF75OHPIb6g2LdxXQ9XXhIe4K2U/DCQ3k
gPt4D7TEjkwxdZXWokRTv+RC9tDEyn1k0HtUNerJ9ZjTWbXE80R+k/Nx12QzMD/UAXtKNKOPA3eT
7gAGDo7RV5em8RCFoHzNW/x0CjAS2VbSrX1ixE96/RQN8dUkVGeS37hL47bMhHtTDre9oHqmbxxp
CXxTT0DCmqImNzXYJh9n1dfFqVaWleoJak/arb41ZFvZxRuAe7XToKCwQTgEwYJFrUI4UW9AHjiV
dwZU2/15yL81VT+ewiCvkGCRyt94NbhdlHNgcGqUgWpH6nUxIi4aQutX600Yp14I3DKer2Qwts0E
fjS5SekmBlHpDkm+VWvUsXNMM8R3va8vGbgRXo6ljo48Gu5Sjv35cQ/s1AzaX4+71vWZEaqvF0w7
O9oyCZ36Wbyfd4LXbfKX7ry86W7x4Dq2pD+UvlfzkryLfhxqbThsr+eloiZz07QMkgqwzw/jrTQ0
j61auEHuJrrGlhZsx+6q1PqtKlzKeWabUAA7DRPmexHRd0BiOiAcQ0QycXyQc1oR/dMwvcrIkpgY
E87pY0Zal1uJ3S8qMtP7z8N2IMtm10OHTSE/5hq4bi7EujkBzeQFjG7cK3h4ceUTy3coBkBu9xOS
OLF4E423tfGmZxiYmaht61B8o9RLQG6hDLMx8LSLCriRMS3XaUTh8iID6YmJlDsB8f35gQ9+588P
vMqrQK0j+h0pKjnjSOM18oJ7n90aRrXkgJN0prPmUT6yIg8E/ZrMLFv7p+OSJKmOTbNQ0UmUNkvQ
dmdeNRs0Jzfxqe8Uu+BoGvD9tPgactnrP4WslXbwGwQp7UQXnVYDBHUs0fgGSKP29CVFWx0XVjGH
M87bqh2eLAC4cefvAMrbidscIfAee5fVsR8JUaAIEYFkmtbTlLq13h3brj6ABOulyKX0o5qhc3Vc
ne7VNPemFIsgcGgXS+NTUf2WcM7RhPvcoJ9r/qoa6vFIiM4dygJa5P/qJuVZ4b5jBiPYGMv2s/cc
2HJhmvYAUC6JVKxt4FM04Tk/eIu4Fj522k5SrooFWAsObAirU0S1T+RW3CVSsemm6nrofXGj+JM3
5/k5KGJx54f1fZu2nlZy59Sr4QTY7q6tol0H7Lisu/s4KFzDGFwjvlOb+hy/Wm5Carvxh9zTA6hL
HOWJhUvcKJ0PY3QiNIu/wBtiV17vP9aLXHw9wC5nbqKDnSRXQVLAWMEKLdRre+h77nPhhZ/FjtTo
lHKGCwRIbXgNVnQuYjVfiV6XTM44ggKmnjU0+UYLfDDfg9317764ExWszRs4EMm5PrAG/EvDfxfT
u8C6asHRBfpZW5RuVb9KXQe2HnssqCh0XifKZHTqPMG3NoW4T4JfrUaFC0i6XLwX5Z9DBygvLBxh
fozjs7rcRSVKYdqtWe7z/GFI/X2la67SnchS4PYVi17THK0aQfDJTtCD122eQpm6nXY1h1tfzbgF
ey1AMYTllSbb1LRfAIVvJKzmMopuVim6WgFoMPQ3KkBAEb3fwITCSRs8y2/l/ncbv1TDbJd97ChA
8ecYqHZiN+rsGOKZEP3CdkURdMfXecGYQQGV8MGP0C4ETbal+lcP4yYz9hCKN8PscyY8LlK0GXgQ
FbLKMhXHuDit2/pMhVbkD2/FfCmC4dClq2p+DfxiD3KM6zhQe+MuVSGQ88teZff9lamSl0tUjCff
DUSsSZvUbRYocfEsTjcSsEUT1R99ERoDx5pVnujHDkZidtK/R8lz2z0p4e9RFU6UnuOIWT4nl9pw
ViiGbaC41zGH2jQGMACXCKyzKe1MEP4D98+seaRBbQv9Zc/gSMOxzPiDwvZ18apA1QyNtAdvlG+9
zN7sK9DaI2oN0tDtpTy+EKJ+k6OfSBahNVfanOp3kdyF4OpqxHrKU8k0L2qzzDx97G/FqL3yZfOq
j6V9a1VvQqg9CGN41oq6Z2mdaUdKNNqojiR2Vw6Vo7cJ/JNSB9sgorcSkFTfqOL8Ip0kaUT2r0DD
ypqX5aFsU63lDQ7hcO6C4gSSyMbQ0MMUsu1MMTgNfhk9rn73ZoJiSaR4cj2dgqoYIYz25RUkxDaP
rsq8hNA5Siyizouwzotyc0vr2PPjLufCHr0jD5rbgyKQfy4ea5jrIZin8TNz8z4nk0Vlbmzu5+Q+
TP6cKXxHSQByK6M/xlcPLjqs/QSMMJX2qVvAIyFTzkDOjluV6qvMbwsXol9FtI3yU6VWkCgotr54
PUQvkNzt2ejOR4E+VzJth67weq2heq2hiEKaDJ4P6Ig9aujzyKc15QdtTBYxXNtorZ1e1LvaEr0S
A+wuxn4nfqsgDYbF7w65iczELxHMV4EPgnlDJq03UHm0U0MJ3CY4V8wRJezLBv12Q+ncVil3rW+d
tRJiaCNY7F7Z173wJHXBKSKRI+LnYcv0K1nnSkGyUQisyvhE7XLbwu4yCE5jaWdUs5sbz2KqeaN4
ZyQgZEf2croOdX0pm8Y+XThWjHJXxLt4gg0T7hO1cJIMTUaLPa4EG2cqToludCCbjk/hMGvhnA2M
UFYG2yaVbzsFlQUFTfhy2iq49s00bNIqfssHfVv1yllriG4ch64JBSGoZ7sG+s7txhXhaOmN5cVq
cg3BadT0u7mZ2V9jNzCSJyslcTWizYy8e6K3diQ9iUjvqZTvFkPVjCGtAHNwVmAjodh9jTEMn9nI
HxSf64F8ERb8DpO9bE7uchTfCtF05MH0DD1yY/MWwirbVm2by0UmwDwJRcCpka99GVu64kbOcP8N
4cv5nSe3sROxFkCfuLibo+hyIaPf1SJIXeh7LFFcPdc9PTqftN8p/iv0Wprody3eFQnWee28MZHv
UqvJ9ZutlGKGu9WyfS3/DnRxK2fyid+fSOFNafK8oW+PZbjFW1nrIk/NK6dbFBrD2kmb3xSXs9a0
kxxSIyqpEueUWj9JiUQT70FKr9TxcfbfctGb2ktwkKxBgan/7Ac3i1xXZpyHYgPM6UJF9Hz2YZbS
ytXQ+aovGyqfENLi6k0pHjP9IZ9veBeLStoELrxtVRzlroXhXkGcbCZxUfKaPbK0ZR8GzZVUP9Zs
4EOH8Dx+jmU7Oz2tYzmSHZE7qS8YbhoiMCjG7sg/blM6V+VFr3ZOr6E+DPZKXYiAKch0+IJpgHBq
0mzG1NyMVbpJ8ZbMWtgjfCx9EBEqyzB0pF2l3na4sjTDc1RRjsqfczJ0g4JvXb8rPE6YXKJ/AvUw
2miyV3JNbpXsZhAhB95MQQYEdna4XpJNbGvr0TdMAN0YDeEBJGbXdd66mboNMNeKOW5F0xbM55KZ
Gw2XgyoBs+85Lf+sqbxb5kVVX+r+g1yd5PN7pZ6b4ZnSZW6GF3SmAHrIbibjsST7UiV0dUl28jFz
tQjunno7KXwM/U9xvNPrt0AqXMs4Nc1tV3auaaCKFSRu2T/ViUw+AC2uepWwsQrEC3hXev80M8wi
Z2+NQ01vRDspUVxZD87UDgX38h4uqNO0kOt0EwVrNEPy60zAX1iXtn0UPNcappIJRLEC4yRV37bi
swGq0pDCraL+zq1nLei8AnMlGHnoxSPUlPm7aU52UTTfqhMdzR4OBaJcGnXjoMp3WdNuWqVnXWE7
Oz0UMYVCxLM106Lh2b71wmhBMPA3nDsgwiv9z2lUbsQse5G7jtSuQ7ioBR890HarEzbjMU2uotZn
f8JeDifVm0DAMLKASvTzTWopj66OXIjenLYi/CDcoVcXDCnLlSiryJdjFDebbY+3xaI0d6w5dSj3
5yymAEwskCOr3J/uhDJXXU/qVulktsHJbBxrI3wve6l0Kf8KsboSjm1I/7gkhLrvkPVKvGKr3CT3
r6otOaKL7ixeC0cG7+Dd6XPMVfE5riRxUmpihiftSbMN3cxZBLKPj983AdHllvYpkr4qQYeCXMlK
RaTWnX7LXn6ZbMPf2Bq/LhpihdvvSyemmmmR/Py/vCT0AZ3+Pb36b8WBbDJLhKIbClFtuGkb8bT0
x2spqNxAzretEVMKgJce+ZuisI5cGQ9euT/HXn1UQZfquZKInc63ZQ/Hpg7dFgv1AkY0oDzHUOEx
z8G5HgLsz2t2zvFBoPOujqTMiuj9vFi+d3OogS2FMMokADfWyBFDrYYhzGpGgruSGp3UYQ/sriWL
To/UcA/OrAWwTxZMPQtFp68X/1iv58mYCJWfs7ftfNoN2lby6Gnufn6nA21jXupTpNUQS3JqBLNM
pMZ60kVvnGFJt+e1sTfCwQ5RKC6F31X7omFFLOtnJP9H4ssHdqDP8VdrSAyyOC3o/1HKUZ5I2pCM
y/bxb3GTezgpHytoHvyEf73tWulQ62Rug8snxFzLttT7eFCdvv8zDI59wQ8hy/XO+um91pUIM5pn
o6qIJF/Hd/mdsKnPqx1abE60yzwuu7hc26b7Om0gmUXbni599hRfgMjaDFBFncY4so4P7Y+fn2f5
Dp9KSWGZW61qMM56AiWnuatlzQFGfiTKN0LlslF9DrPqRMsVct2RyWur2+6l2wLlghExO9GzvMuP
kwWWn/ZtkFUMk/C6QTB63cqNzQjXiIhoxiVGIpTkgG/vBadFzFHx0l/mzc+T9UDzaKmC08y0wFqK
3/TcwRDQsQOnxdup5cV+BmfkBZ7ualslsytX3HR064DGOuYm9Kxn4cghpx46Rz/HXxXrGsOoIjXg
I2aphb/c+ww3X5fuyWTg1l+GwPbmtHRMpXY1GHvV9GAZL2ny2qS/rWQLDQkn599i57ud2NttRuGg
8p28u5m4NOZkKD1F5zwKH5uK1eGPXFm6Yl/29FGS0ZlwVleQv2iv9Uaxx8LwjFjYToKx66inpVDv
ZqpAKimKbxhH9sNj773aDoMCDZ5Mo3aI+0AcPI/qsYrywdXx6cOudkEuBOKEOiurQzlNumbX6H9q
7XQEMnN4r0UyaMFaoQ+5bof3EvQOMycKN1+DUuPv1K32gkcNeTxDNcI5Lmp3AIG0zNi/Qi4j+2nZ
66boB5VFBXnp8TaIsPVnM6KAqRddHnO1OPyR/gq1jPGnUHGUTOic83ZoKzulVpIYHIFMLp95vdzR
ywOMRs0H8d51hCSJmW8sv9y6jEDZtxlyuNws6OA5pdxvf17th3Ljz+CF1ZwY5lTT42qZdB+5cbtD
d2hzPLc7/FJ/YSRWB6CsBLHYLpOiKh5EijmzsK+5X1dlb2sUO35+p4NT8NNLfexwnz6SMFRxHuA9
zGV7X54obnAq3QREWhpXtvxEUWhLuevnoIcW1+eYq6L8MHWzWanELCV8wIKzAuluS9r8HOTgyfM5
ivx1+tXhCPEYULPdb3o32Bmb7Nq/U6599CIL7thXP4c7lEh8jrY653pdDqfI550U4TqYSldGySU2
UazQ/z/bTh8t2k9fTBzlKcuXSNZtfDefD9txZzR2sde86gSj8EVB3zjR3n5+vYMJ6Of3Wy21cBJ6
U56XxbxN0CkwT8ZTBGn2/4ZjydFQq0NNl9t/gYRS/5cmPjaldqrl1BkRhZYxjZHNF0nfNvJd65NH
YMXhU75AHsfp62dBDjZT0Z8WSOxY1ksU3Ur5vWG+RoJKqxm76Zq6o0grvxoAlbbIlV6ouYSamLkb
oe1jcuRa4eQmQBjFWNmk9G/H6NKYcxRzZupmxW2pPBZUdVr1VpELzwpuNf9ejO6iiZqR8JKMsU1H
1FvYP6nQepl4DUYRaIDiSfSXhOJKKs4N9VmZCntMNkWN/94vQYgey2RAEUWBlQYtZEa0pq2uJK26
AQx80pcpNYRhr5dvFKxPhnx2pqj1lp5LbEEvopOAHNCG7sc+7nS71ANPLdM3BJApF6EhZvsWlY1E
EgrXH5vtIFVXXRK8oyq46QrwjzCxAhMMZKE8J8rjjIaLxmhG831R3U60Xmr6I5MinyJtt8vL4iyb
qvcjs2tZi9838v/Z8+TVeV6KjeGPS9MRurzb3mHAsa095RQjvLN0e6zFeQDE8KXFudac742ukqyZ
FYSEP1gK1CDoBF5Yl7LT2POOIlwbOsnWekHvZeA6nZ20O13C/7hwaQt6P7/6oUNSkyQVKjzuZ6Ae
v+5SpdkqkdTzLMLUOl1Ck6k7kiQePLb+irDGQBgm5g+qRgR1W2MggGTmv1XSOZgLf3oTbbWrK8Ek
IyNInAXbHF8p7mKOWl1Hnu9qnrad3Nwr9+pmaSXnRyXOjwyjttrsZVpuCHgSPMEdKPELV4Mx/POX
OngufxrH1Q5f1kKrystJ2TXnYS3aeiDjVXgbdL8BU/4c6vCpvPAorYN8HNRzsibBlMZuX3vXPFV2
ZbSh+ShthW19qrZYwuSxeyTmwTX4KeZqCHVw0NJYEHOR59Vxd4tnl7TA0clxNDwAj0zLAyATVuGn
eKvxzHxLC/ATWtKp9A6x3OfgT32roa7nfOgCQ/nxIN2dt17lqiedi/34JrvM90c1Qo+99zK1Pp2n
XRYFdbnsPfq1v83dRVhadyUsfRUvuv1X4fN/vY7/O3gvrv7vntb887/4/WtRTnUUhO3qt//cR681
hrS/2/9a/tn//LWv/+ifl+V7ftvW7+/t/qVc/80v/5Cf/6/47kv78uU3gH2jdrru3uvp5h2h+fYj
CE+6/M1/9w//9v7xU+6m8v0ff7wWXd4uPy2IivyPf/3Ryds//oBA9GnCLT//X3948ZLx7/YvHaX3
lzx6+faP3l+a9h9/COrfTUVZtIOB95sSmgZsIMP7xx9Jxt9F8JFANIG+LsaNf/wtL+o2/McfsvF3
cIcIAgMBxNQR6tQff2uw7+KPJPXvBiwqE1wnCrfAyeU//vvtv3ynv77b3/IO7y/8Fpt//IFExpcz
Cus7MIbcMTCJ4JfL03ydJ7kuCINYhRc6AEfNFmrVqr1WmVKcBRrUHX8LcpizzakJztBiO5upXczU
vgEnygq6QTV0HbertCGUEfMNq/iuTzqj2SRGk5sPTTSYz23bpb2dq7Ee0h7CGmgrmpNhbfxK6tq3
oh7MRXiwKKoBRaKiM26sQZSyU0VCgQzBEMmipo1ebHQhVUrRkDNItPnrvIjaa5Hjv/Kqvhmq16ku
M/0qkITeSZWuc0dBK8gjkUYsr/s+HD1Fz83xNIOw3A6uhgO4/yLVphj82em6f5PPtK92ckHNYDtH
ky+FqOZbpl+dVi0mGuKtasahIrp5U3fBjYA5IfKXppKBCQcsgKpXIF/yX2VtUBav1TyVf5WdHNf9
uSbMQq5t1MgstKdgyCxlvppx8VTLp0k38R+7lsaQxvt5HsI7pi0lVlrSX4hBy+EJ3TwRastM7DrU
YoP2mUJrXu1hPRhza94peRVUYesMOCLMAO87lu9wJkhojyqqqyUY3tBrAWhAHU7ra4uKsVYEffhb
bGIrQDaoEvP2tUOWur1TOwBntPnmETWsV7EIJal4sFAv7WPRC9tMBfZiGB3K/9SMZAHZhmZMEIPL
82pf5HNZohmJ+qRMN+16CPMudttBK+lOKWO5k6e8eKsS9bkqLFA1efOs11X8JFQGySWktPRMmluy
RClTaT3i+YgIZNO5mNXVZ5rZB+dhjEhiUcUWAp2lvhMt+q1KI+GIVCbVaxUnyVkfhDryoFC3MAiT
W7vhPoZQg0ADXO1M/VEPOv0EHyRFwf0v7zX0gubEm4PUfwQ9lD23jLVoT20VXJdgMoBH+Wl3QV9u
8AR2pI3W5cVz4ZfFu9kk3b0vxcCmspofS3b7f9g7k+62kWxb/5c3Rz70zZQ9KYnqLInSBMuSbDSB
CDSB/te/j5l577VlL+vV/NagamVlOkGCQMSJc/b+dlxBNPQUNamZjUgg+Id7UuSUrdJdQttl3Mah
MV5yn2J7mQegKaUz+6csEE7B5ltbhHW1U83X9uJhOakJoFBqDpG6yUl93QWqhyZTh0KXeHaDrFk4
bm5uLKJ8gQdmmX1nxmOwSbs2Frsy7AUfNBYEC9uM80Tc9tCBdMZgU4U8xAw1jrppu31s9tmN08qg
Wgxi9I6V1+YkHcBivapk5R4MQl2Q8VQp5n6NRYlcdOHZiFqLchkQ8RUv3dZRyVIZZnshzMZErtGW
A0nHbt3uxOC6APGgJqyDJuxASZoRytioch87OTabuTvrKJVAFkXba7p0RkWBE4rAfRoZfRbMOona
ULKb+8Pku/GqH6vgm2im+CIWRnerHaP+0ghOBORs61ULje01LScXScfcm/tIZSLaa8bw/roljJSZ
pFugP4qwOK4Mux+SrTD8alzZdo0CwojNlFhmZlDfzMq2N3OrxGUTqXw/un4RYLIqJTMgiCXOZZF4
Yf0V7j9WFRFbJmN9V3szBihrhhPQAsJ1Djb0EOtqDtxRfSUec4gyyivgIcyG42I9NjWY66qMNmlZ
z3JN3DdKaOwwnhf15Ob1ZaIvmm6kS7TUw2j43+OsGgySuxslNpYT9/mlnZnOl2nAzbTGxgTR14dM
hVJFmo7xXHVDmTwZwFNRpQkdy/04Yhi6zGK6W08Dl24yMjFFB95D6BGWpCnLXW2I8XvQCIHk1LCF
vZ8brC0XdZTbJLsgDNSPPqC5U5rYslzOjQPE0mjmqt1k0Op75GoEPix1Pvf5rvS1z4LDQv5E/LRZ
I1mTTbjve8F4naMjsocJQN37oA0Auq3ZkbVIgWgn6ywzx1e+EnQJOfoy2AVWGb2wmg/2in9agwM2
uuE9yHjbl2NpTe464hU6zaUT3oXCCLGvp6HXoy9xWXFWgWNY9/6c2u99Pqv73kT4G9VlGi4t5KfF
srOd+PGc5kU8bqfoMNteUZH7mrldwdAcQwNcUkfwjIWEYfO3NRSUVVXk/uNInaF5o72YODE5zgRT
SqtlrISGZGZ0lvgj8IRmgvftDa0LM9Q32EBxuOUW+5DRORicyASGbx2hChBZOTpbNgHFQb42ra+h
KKWiuSPSZtVVuvWvIqWDEcFMT+C8laZeuiOuzlokvWPA7E0ci0z3oPS629Ka6UXNUdgkHX/bsKtL
oGhQdRd26Rv5obLzodhlWqTeJz3MD7U+7zGDQ3JsTPecgfari6ErSjUOvv2l34TbQd+dm3DlNuJB
fgq24cbcpdsf6q5/K5sfK5mfj0ohrHgnIkscVR3QqF+5aPbMWx9P+pRIZsdjvew/SxT4+I3+vgK+
DAyIlkXQ7UcRQZOkfW2o6WQeCFW8cr1VuvFXNC2ItWdpXEb7z070n17xQ8uoTCVLUjWdznGaPlea
185q3gUMmjy5qpKNvftMwfDzqfqfu+h4VG4oJTyC4z+cdgsA9exH88lxq20WNEHxLEtbgzueBWHp
kJTir1MPbvAiNyYdXUd6TLz9n3/IDyKAfz4Dc65zxhYxYtzqnytSdyq9uNXOiQJondZfIhLELWte
G4PVYsJ4De1uq3K6Ga1Y5JbYGV10ecZ8JtFqIqJeVFu7/zbY3fOfP9aH9sqvH+tDn7xuBOt+SO9Y
BBtRxK9B5B7tGmXk0FwPrTj65ZNbd4tgyI5FBnyamf4aScuul+PSmY8BGABYeCvohYC2EgdVtn0s
QSKXjJUMt9zr8bNpz+9eCc/EWeMhRyG64cOPObthmTaWexqNbpmxi9cAs/58Uz67wofDtWcPQTvM
7mlwprXVvnfUXH++wM/9539u+o9f4cNpupwbmLmOC9WcYPTUpPi4991552f9J22Q334T/F3IT3w0
Dx8bVvHcmoVW3mm2QAmv47Fo7uZGxfPqP/0+gQ/XFKM0SIozUOrnZzuJtQiC2Dq1AvJ3fXaTgOcI
F5By4XR5CKb/fLnzM/k/Dcjz7SNmweQje5EFCMP7cPsAaJkt9dppCroLVyRrO84WHXlBc9JfjNkD
Vo9PLvjrbeSCLPwYnBke/zL6Y8cb6SYZp8l2iLZ0Kf7DWXyytXzgkv77rX64yPlD/NDaCJnjWokf
n8BUk29LFQYl7G0ma/DNX2Q3ylgbVzBR1+I+XBaXaLw/XZg/+5Yfpgam3/tDF8SnnFc2tB6nsv7k
Nn6YZ/7zFUlfOiMtccb+4nSfzKHu49k8tRC4EU9GU7boJStwGMAHmusA9JE6+yXiZ7tJ6r3j6P4I
ReDxz4/PB2jGvx/Dts69CDZzzkU/32kJa9SbMuc0+Pk2IwpioYsaMwBve1+h3oiAv298/NxLJxre
GVc3hG8k+aZSIPWgpocHjpif4Sh/d/OjM9vFZq/n0f7wCplDEUDsC06TVbQck7wvyWjf//l7/7rq
sP8hQIhcm9A3eiM/f+0M9UcdKv+U9hb9s2i45di8G1rMkjx6nyEozw/Lh3f0p4t9eJrBFmKzLPxT
ZNDDCIvLqfe+ZJDK//yVfnPXfrrKh0eW7d6pfa6S5ohh5qQ58cN+conPvsiHagVJfljUmX8K0rOi
e1ArS7TPgxXu/vxNPqjl/n4oyeKjWQz81nF/GY87YV4VKg9Pf8cuWTfVJr4xH+J9sx7X40tANIe3
/rww+jB3/fWqH75d2DByQpXMVc+jHLXpdxAVF9WxOvz/DAt/80z8+BU/PONWnSjF7eRi1oZD47CN
9z1+cbA1n7Paz/+uj8/fj9f6UNcoWw6x4lp08hZG/jZOaArn54gkEM+4+/NP97uH8MdLnavPHxbu
FIRSL7hUYkG+CFH8xt//fIHfPYJAmNBvOmQg/SJdVCl9ilTnzzJpbyROjXBS+9luN3++yu++Bo8e
ndmIHfyX5cHJ+4D+gHGyTUj6ab8uWZ3/fIXfPuMUwBSDrHNUIx8eALPTNLBU9dwzq1snO6IC4qWx
xtnCfHgn9uZKrhTRLdPqz9f99f4REwxClPAt4tm4/M8/EOrHOc766HnKkPzXxVxct3kXJnR2I/Up
yvjXswYXoznOkJAQWc4bP1+MmGgR2EPyEnsmneXprpL1sdDlpsXAZo6S5mh6kxTBsrWefESuiQaI
JZ0bWWnaFfCqDEqozDLf6gDgs/HJk/SbrY9PF8EzgsrDfz6qYGc/8zEOZS81np4S6yPF3F0cBViv
zIJcnHST+QOx2qw5Pj9EhweY/Bz+wLL0i89WvJ+5+Oe1BwBo4Pn4PWn1BR85duzCU1Xa+csZ5aSg
x9HHInytufrs9Pebx+58ITzeIEdBmdgfXtCJZK6mKcWLu4XLEpUL8sCugLWw9JCv1Xz1lgw5l5+N
qn7z0NFXoVgkW4t65yMVuCReitZS+6KgFTTdBdqHhWd/JrH+5Z114Sr5oL8cwjooHD68UIOSWtW9
/BrcW5uuYGA8XiCtOJgbyOBnvkC0/+xr/XozueR5EaJXQD8NdfPPzzezA6+pzeqru41O/T16XySi
AWPqfs3wfVVdxet/S6P/HcP9Hzo7P6xkvxnDFV+H7KcR3PkP/DOCc7y/eLZoCvEun9mhJj/EPxM4
x/7LB1FyXmdp6px1//89gTOiv6CmOLSxANdT+lqm/d8jOIPBHe8GTBC6ExyqoP79JzO4j8ogjCLn
bYQMGUZFxBGeP8WP22IV9XMs1Jm9TJABSR9TUtprMTn1i0Gv97keh8DHRTkFl0h1wtewRpy7GQpH
/octLu/8Saj2yUM0SX2FU/Xhk2TZpH3ZAq72Bs+59OuuKEj5igcEO7J4L6RCJJV4BBRbeVndFl2p
72O7BdbkqJks7rLv72Va1/sffsvftPZw6HAH/qdGOffzuM0RjLHwjA8F/fXzHZJxnuezPY+LaGS2
tmS/lPOlS+bPbhpm+eRlg26A0bbjLsXCuhFzrA51ODS3Qx6xU4Y2hkn4W9fAmzrUQWI86KT111MH
oaJyC7C4pq5WhefCyZlKTJGTF5Xr0p6zfZdYMObiPltZVjF0yzQxZhb6sGwJfUu9G9As1tXgK5T8
tuttU3NO7p3CiDdpnY2ctt1EPbSxN94PwsgOkTOJy2nI6PnIMi82Fc7sVWEZ6Sq1GSXx0ywyxdec
SuOYO9pdemXK9lJZam9qnT6biY+HtpXjxezXSJLrwoFbTvtpmZuSAEnfSYNLmZ3/36aFw5vGGZow
MxJBvRrLqXsZsmk8d7tj846hRRgsxWABk6iMQS6GfJpPXdIXB1W6NAwiMV70tqW2wmFSxL4QEoeV
+ZcFGHKo6974YtbxAGkusG6Jcg4uq6mjVkhh1cTE1F/2M9lS8B5TfzNoKCierYInpXsk1A3TAdwu
ZnTwhkbdl5UP+r4YouLdnEm8ctkRbgg2tqobZ9R1S/ZdUmp1xdTXsOibDP0ZzTGKmOQ4+tz4leMq
1c513yAMP59PM+9thr5v1muQBRHefmWgpN1H8WimL2au/EEuGUILdWv62lXXAdbg+pk3r+kIMWxq
S+IspxgKt55QQ7HqWodhGuay2oO0Y9etc+X6UwCrc5bnOSLMAaaFZSvluoVLQNQOOn7vKTET0OqN
ymeHiMO+Hy4AKvOHFz6n9mg5+INOrltp6GbZ8khb1D5GkTMP0kGCMTTzSYmrkjiCreIZRzcdHGfp
JdaA8HhE1BfW2gFoq7LbNhza6jk1vWyFkck8+SorH8wywCYZoOHcyFE03700PlsufCZUC68qpnw3
dAmxonVvVMcEQOChy4gkIPFnJEAPWuYsmd0Ezne7CdxDMfg4BWVaRCtV2+LK1X77HkeJ8BZtr+IA
W6FXnRzaoxrWq1GQQs9ggLOmco+1OQLJN7UDJRBAURIwIk/CXQixExeliFYg64ut5cj+PeGlOwm7
1jgRx4DXjsS98ZAzQG3w9ufVdBg9U3zD6Ro9lGPU0hkf4Z6282jKblG3bQOdxR6GAnMx+DuSnWSv
smut4n6jgUYFcNrxTe36IfAYJRfT/J7FDhIdX+RrnY3JA/b7eONLQ3yH3ttjUqwacx2UOjqYfm48
koJbn5kM9RHPWL2aK+1h0qrBH5aBXhdMR3fFOWZt9NNOL1wZ0bUXUUiTN3HtPZj96FKXbnXr6j44
eqaDUTtIXOSQQXaLp9/Yty6/xKyr6CyIDOqrehbTjszk9qnwMpQUKb7xbUpK29p3BQo+aeXz0eri
fBOlebfPS2bmq7BF5xTZVYWbnLhDux8nc+X4cI1i6eY4yDDpLgJjHtHz+mV4UCywwPMd9ZaBWn8f
yTN8zRPTv6hGlfTrPJkJU6DNbGMyLWbSYZ36zK+o9DSRgVM6LHUA2uN1mPnVzZR46T5XtUxXLu3a
V5EbxVU+Sf2CtxcFsQyNCHliDMC2JxnwWTSIzgpREBaogF7tx3DmRK/tedXZighl1262dMScl4R/
JRGFkdOGTAijor6WpdT5IrXiipVYVm8oTcNTkBd6XiDbIAHWQMB3xzCf6jxAMjIzHFLOHkWfeUKk
6JPsnWOBYO0hQ3UMpHxtbB0wWQi8lABVVsQb7dbBsamLGlTERJjCJp2cBBaKKKpgoexIYU4vhL1x
Zqc6RN4cbuRs9jd20MXfgsRjGoyAYFpyXpg7TMtGna0U4tNtEgtUKnZUtMdYyHZXJbp/bgi6eJeO
op/hNiArXK+6QQXc7+epcHYIU6oBD8AEMhG9ub2Me+08jvi3t6HlNduS25cuePn7Xd9W4kuWNe2F
V9Xxt6KvFG86u3+4Zg/A3Y6AxvPYyOTwaDaeptS3KjTE2Vhz9Ir8ud0R1thtMje1HkXEZbJUyAOQ
J+NtSqZw6ak4Y41W2fcUIgvv3Bgf3LoZryOSlI9ZYljrbo7n6yn0CEAUmTM/tX6OkVqji/daL2DU
S/jZxVDI9jVh+g81ILNaA8GwD02evxbjdtSDf2MOPvEabhUCI0HfIwERTd40bmE5EoI11zmoi7Zq
CmehmNgT6BbJeDupGWxCM+VmcltmFu3oMoB2g/Kkmfe8yGBDWobxCY9/UWUrMcouWwgX4ychk91V
0or2NqzHcNxNNnSVfMpYUoQl5PciirrHWFPJwbIa53Vbl9pdmYmYITNVDgaDzGV/MlqP3EUtrMfZ
m6J1SsXw3WG3u5vOmiNBuQpyJOLdCqSq6lNT6O6+n6bwFeWye9dOqbtPpnJgO7MnHjT47N6t1xVy
H0m/lcsinJutjaMnZgQcjoTegqzKjVI8TYX0L7uM+4/FExYEQih/DWqDm5r1bX0Q/lhf+0iBxNIB
1vHupg4RvcNQb5vGsTiXlOa0tc8OwrVKhHh2hjjkNnfFvJ3nGMCIQ9bqRjQyek2yyVmbparWHMRd
xtWqeWA2z8IQcIFDnDT5OjOIykQD0e86KxTvyA7CdRf14xGldwvkrsjqFZKyfq/g+T1YRl4+a21k
ly1V80T8daWvxtjFPEQn8NIDRo1nq9fW1hkUt9pjwn1tRgRFl42OgFlYzt4YbQbyUyKAZdlsyeYC
FDIlCxoK/QxolxRVYh3KFz9r7NMYO6aGWRODZc+b4Oz6H8XOthn2Ag4tkwNFkgU+pmn6Wy/L5RE1
hfzaN2FeLKe2IWKsm8nDtQtTP9dVBBOsrmWzL6YpAQvR41rIQ/XiDaV8radifnEo9naWbch7nXW2
u3Iq/MZ9JofLYqrmQ6A95phJUDyUuRVtaTTF7Lcl35j0vrY7eJNVvSSA6L4Z1VTsu0mwtNhoWHZF
LYwvfef3NuwSP9/bdmc8Wlba5Ms5C/zn2SZbEPVbcHTaPD90Y5yvBO64ZSIqlFTT6G4LDza4UxR+
DtFMUqMaWZCghgvNCy/J01svqOKHrjXD94hk1nthFe4mTEVyHwUlHBMfTcQ1L2i7MszOZWhb45Lz
60ZuipJkuKHwCVki1s68znJlPBiGkSaHFpXRMZlaukyRmIpHt0EzsiwNHlzDCvtVl5n+DnGdt4+C
NiTx1WdKFsp0Hl9VPUVHr+jt9RhYww7XwBgv5WAFp0H3ziGuhvqbnMPuvuLsxbKnADwu09Ds70YV
1EdDtwHpFlM5f00C37hAtWW1sGgmcirjZLzI+irdlF4xbKJ+Muk91Wy3C16eYBfBhlupHmSVFdRk
6qZp513N5hSs9Wgb2WJiZboQdXZmDpcGIwM7leHT0AzpsRnTfM9BddqW42ivWEHqa043yVVkMm2M
PQNCrteQFRzLAHytW5GXnbfm2lSscoSd2G9eb7qs0Hl4TIImWzm9Yz5Mrk9zsKGYJdS3jf2b1jCb
lUwadU06jtjadQFLssxceUt9alw5JjLJqggRfCmZIUhmubxzvbNlGNRT+g0Bpb4htltuYrOprqsW
i1bC0euicLvgOS9nf+PNabmXXujsPQrSL0UyE/EWddWVUWl99N2p+lI6RFnkRGXfdH5qOAtMswWB
lVZTsp/W3X1YDuUmsad2B8ts9NZuZ9Q0Y4wmg7NdpntLhA2R73UpVo6dRbA14rC9OrflvsiCIm9h
9qOPFnT2x0d2s2rHtDPHvG2zRhii6L7M1exe0E8UTy5G5RsrhqqJzlMfG/R3YM3mCllF6NT22WuS
AhthATUWWSzMcTElRnhlx3B+KuJOzicpyAqsf+M3o9fdW1foFi1sr5wTFJ7mFCYMjZZxrsQ+DLS/
zjxXXs2djRmVRXTNo2A/di0UoaZw58sGHehTPPXdPsst/z0YVXblUnSBZ5p8wIpIZVFDecdUBeW1
QLQG5sgmsBl1E5mK6YTNtWWwOnt1emtQ20JDMcnpDcwJJIsuxK6FePdVgHUjc6+c1Sqesu6tn5uC
uPPQv/DhQZ2qNJ6fkilitDB6LSSkDJoNfuAj+krCuYJJ3gR1Ahrk7+P8/3ap6FLRuPi//yXH/rVL
VTbl21v5c5uKP/GvUtz6yzTpgkdMHen5E5jxk1Kc/RNhAs3ZkFfq3Jj5Vyp+7m7ZIEsRhdMeoUdC
5/Nfqbht/kXux7mr6lOX+xYdyP/6bP92Xf7R8P9eKv6bCVjEaOWsFw/gZPxCuR5IBDMTx3z9x0hh
7XIIyjfWlgJom9jrzxAGv2nAcznYugQ6I6VBwPJzz6fOB1p33vxqb+eNtxFAm/HEPbcLPEVbuYES
9ZlniV7ST20m+ux0bMkv4LLnzr/9cbQ8s/jCfEq+imKKpgvRxHZ6VcROiR1NlEaSPEYcFqqVl5tp
HDv7yodfPZ3coOfYFQqJla9g9TTeOpWE7ZccxBl/UlaRMKJ968mE0RqlfdAxVK51VD+xj/8t067/
UW3npWGOOlyxr4D7uhNO40Ivr/Muc6tFX3GylUwa1Fz3m0aotLnuGpWBOJBV/ViF45g9l5bO2/sy
KnSxxk7Zxy91VHvWwUXWNTEst3p7OwpfMMEoARgsWuE75b6MKsNb1lbNBLDyomHclI6lLzNfs8tN
PbLhc56YITcBUup9BE+OcwP346p202K8Mu1q4Nfwwy5FvHy+WY2p2ERFoyk5azOST6afIqAc0O2+
cEoEYRz6yddcDh0naZoNV65pSLgCTTE81wNpjcuhqh0cQUatVx6N+01RuA1CUlcpAIG5N1hou2cQ
WW1Pp69o63ktijQ7cylVfBB9lQebyJ2EsUuVWSn4SEV9FFMfZlvZtwir2y5KD2r2O8iCfTLNW9uf
VLJupjaGV+hnD5NlqTtHDuYOAwI+IQhICK9jqrUIymJi9enWbKIyuaa0slGjVcZ0ppaqtpQ2zVva
X/59MBUFUBfRj42bM6pqzfQpz4qmWdDKTNcqFWRxESyOCkgEysehp1JJnyRtDKT2jg4jtWzS3FGL
nM7xHUSEOXuM81j16ypJKQfsXku9L/1U3tapHRRQEkUtVqHb6fdZOfLehb33zefcI1ZUdRWuja5j
WDmyTb521ky9aEzpm6RP86ZamcQUUrgKVsiHrQyEF4/xAqWsEa+GwTIoGbkpBAQOnXXI4ry6aoIh
PJOjlFFE7j39VykrWKGZNuDbSRwNcVmmWbuYRsPyYOEVacimW9fxu43AWN50VgBVU2I4IIqbuC0D
4ftohLrfIYeN7a2RSiF39DQnF4aD1cSXbVAKtY8SehhrNGGWeoeGZD275PDV93Kg+ItXfqQNMGtV
KI1mWdUZpm9O1tJeWU4a+2vCrezyWo9O4l2PVhs5G8LLWvU9Thgqr5DKgzJtNMcCqBCIxoHQEZ1O
90630cLJmgSMVimSHPYoqpv60uE8qnmU6im4yWExpqdGz6m3dGdlhjetpJFEE03lHmP8OrOy+6ys
Q++JdHCOuvPUgangoDr4dzzmnr1vrBhOp8Q+ke9TXRvxtWuNrceunQok+y6I/uuRAt77YiJ6BuQZ
NrwzmTkj7HWz6SbyyPHZjqXPEDdoxVdbFsXJyJOk35msCOi4vTkB0ZaY41vX0X4CC1gRQd51cn4e
XCdUyI3sTD6ncw5hruypc3aRUXnmZVAFCbk55hhbe/4d7cYOxPzetGME+ZjjZe9BiRNDiRW5c7OV
dESPKzLUMb15WbcVdWLgr+dqKHgboqptW36kmdDvpxLmKkAPClMw0l03+vDgjKps8boYQwrskcp+
NTQy1hszcGoN5yz384Nq2TVQnYcDjgdYZN3GkFk0XNRG76RQ6SLtbQalDMwFWRN5Cw4zzRUFFjFQ
wsCuslSVEUoO7fAq6KvF89wZeqFLvMWFOmfYxUpOqP77qkNXrkSerdq46Ac6xKN7RnyTdGK8Y7FR
GG6nsSRzpG/P2esGVeA1J8D4iJvFlSsfCbfmOlGg+B9N8EVx4Yz+sKBBlfFfYbdTmUogiqQga89Z
engWDkZXHalsH+JYHbskuAd0hw8ltm4rR6p1wqHmqEc/AwBu3UUW8D+7JBvSNr6ofoy3VILh5ZCE
elUNVr4dbU41c3sZktx07wGAi7V8Zdb8fSZNmBS0snzEaMU+F8Hn9dVE76XyzXKj6ZlCn40uI17W
O6OpHzhq0cn1dqJi7D7JrSi8wzh614HXPVSGgq3q+owjLP9y4BVY1D125Oi8kYbVMXOcfjVLjkVz
1G5Kjtc8GfEylW5BCFa5ZXLBnw+cr+PUPmukqz3JH2mKLzRjU2iFGV1P2J/uXJ9anchnXrM4+RbG
6qaripUxlq+8RVdVxgM52rS05khW+yKLp73r6rtmII8rjSpxYFMolxVtY11Y06Fz0uLVQtt8zN10
vheDsFahPzx2Xn5j1OxRURs1G0Pw4wD75WzstN5auqa8GGbOK1Eu6nVS+o/Y1LdFF61LqztWOI3M
TILSjdi4uqnwsZcEDZ4D/PqNMHBiBvWwPk8SjFXIVOikB7M49IF6jmOd1FvcXtXBCJm5lGUTrpqu
Psio6UHo5sZlS0zVRWYJn6VNaHfPvDvbh1En1cIM2dn8rjIl3eOo+NIPeSwXaE7pQ9qtadwwFGAL
oIOfRIuQEc/+vMvxhpCka+m2WhIMKW2CiKYIiGwB2BI7z/SixpEZhQs6l8NptY69uFy2cYrVTCXz
5URM0oqEpAdEf/lC1RzeKyxweNbATXeUM4tU5vSwEuGujMYBghgiDc0bFZ48Z+wOqaruIi8lJLw2
4Hw2fZw85GXCc1R7hueiMVStsQftpPQ6dxj78CNoRXNBEmJm1tGdI8bX1iqa4qLPJn/wFogJmqMa
gnTldCI/2GkYHHD3pE+dE3EmxT0W8qeHmPabycEy8GF+elVSrG1f9nd0Ox7sISa7wzMgLIQcmvVa
jT7fO7hq4myXml9qf9jUwjn0hYZmgiWLKPb5rgsitjXSYYdKxPQB4BWTEpG8NAg35yZsFtiD9/4Q
qN3sFrRyKwsHcFnyVXxLHgdfbguD9z8daDv4oTevfJYouvlpuDbDfNeL/LkYWZUUyNGl8I34yg77
eN0j5mkWlkf8Uq+IKKiyKSLmE6QzWLvLTrcKZmhlLpUDSiEI+uZotOatP1v1hUtCW7QaWWXCpaTn
sW/sxpwWmcw4nKLek5yVvw+mQnw6FdFIdxmIdBEmE8f90qeknd3gYBFG3uXlXRFlpL+Vc72cS1iz
YQ/sjMboxAjSDU45T/GyrU2o0Ub4WE59Ds06w+yTG3qvB+PNpFJejJQG3wpfgefshoJ5Xj+AozHK
K1XFl75WmE6LK/qNoOKFvuvkwAm7v1SCUU3Wek9Z6I8LoLsO7sOMVnHlevs8z5KbwDLU2+iKYOH1
RbO1jAGutu7c3ayZmiApXU5lJNcyE6RjW2Zy4cUBkZGUo3s/rt77qSte+FA7trrXqQnOm2ArY8Yx
/I5h3UxLZq0XWepAvta8801vf/doZS8UZ/2FC438MEt+GtHX5++69IJ2U0hn69B8XwxnGgaEbvqh
5mwtIqAUS3e0ASeHueZrTctIt08snICw6goE2IRXMnArohwjQr0GrUfyCEyNYaJcDgwiF67gmBGH
1VvFkZ4fTWWX8ly1VJOt9lQlyapkDn+wWQdW7Wzu8DL6dF1MeZNBjH50rDqAdMAbsiCF+avypViV
uKpWnbZK2DlxlC9q0SY7JwZOkmZV9dSnVX/DyBday5gXhg3dUwcPsg77a1aL6qYWoK5LPINHnsfh
0qV01Ksytvyj5alom+dMQc1s6MjeKxG8YZrbEvNlbPEh2jM1a9FvDMNvNm5Ttstg9s+DWqtmaF70
ywzOyQYTo0WtqftVr6bHUA+8bQPcj6QxTqkV3uaT7hGmhtHSNQKxbgKbLks13kdlcaGa4UsaUja4
7P+7NLai4qRDqwCq0hnAiZOsWLqVTjR6gdyyl6Lone442nHzFS8fkU9pStsy8cZ6YZoYPEsX8xqH
PlCO32yGou1NkNXiNurtxF1hsoRANlfy3Ss9CFJ2VzbuKvdnJdB4NiClxxRtn5+VLdnsVZSBv2/z
9oDxrU4uq8rmSICtz4KaHUdcTIXo4ZkzV4bNlNRokyJ9MNIG3AdBL8CykyHXnDySNqMrbqnwyfRs
T156ceoND1qHYcaeX2E+JtOEX9reF6aR2fP/Y++8dmNHsnT9Kgd9zwK9OcDcJJlWKa/tdENoy9B7
z6efj6o6U0qmRuyacztodFcBu7dCQQYjVqz1r+/fRIlKlt1pIcAnh04aNf/Ii86iXRcPUXhs3EbU
LhCnD/LBQ5PdaI5Q0KBG1bP3KUphEl7R8SoUSgCeeKAx00c9xt1JxQrVt0in6aVKEnglFrUV7XxF
MLXdyGDqLqd7NrnITVPBriNUxRzpmVmEJB8Ccmh0WJeRCvebzJjRvrRSW/SQe1MvrHbUz7P0ThY0
4bFwdTdyGq8OjWfPwDgv3spxrqmuXZZi670SV4vCG7cErST/JyZjf0mskFQXiVYNtIkKudL9pr+l
v5ogEnTqBCpY2ySWARiTx8FXx+1hzmZ22Amuel8WHlcEsjuJvycyzvrLkijbuKeWILi/iXGCgFsy
ZmSruE8jwSmEQZAuC7HqtLVgtJEq2iF9lPJDNdRtsctS1Rdu8yRJwmM3hF6yJgququ8+eX1KGkYH
9IZTtVFhWo0JtS6EMxmIHZ0Ify+1kRG/9W0TkVdnQ7W63yKN/MXPwtC8l1aU0iWB+Xl6iOTJ1LWF
dIj/EcVZvqZpPMFAd/PEZrglRJ88NibhYP+9vVvmy5wKgqZMDVJBUcI4CIUmrnCzwWIymaHmq08T
s0wC/vLvMcvOG/CmYVATKfQ/sNbmeliV/mY5DIwn5Tq4ao+VTcyzMx6HzbiOIYgtJaA+G06dpJ5U
tpBfniliA6kRuaUHvydc0OhUdhQ5iBSh9ZBEvk0vjZcP2cdPdFWfvDJemEGjKSpjVdLnT9Ed4qBP
9ZKMHu1bTriJOTacdi2tRRoLF1lbk3jsbxHX+zs7GQ1B3UeZW19H8lCY5e/mgBRknW4ym3bQYiVc
uQ/lWrKp/a/Tx/gbx8F+YZ5zhSmOoQY9jSa8DAX531w+pgxll8eB9CpvpQ1uwJtU3WfdrbwfNtSo
uRJoDsVPGnPLBaH42QOeD4wm8eOURV9M1SaXXkPAyTgUkg/YQZw9qLuhwqdgtdgwOj3Cj4/4fTw6
VEVLEREYzcmBFK5JQ8jSa3Xw9+U+3cAzuwNp6dR2sFlK0H76UD+MNZsbKC+gwIr0qtLx0eQrMars
YrkRaq7bnc9optvVag7vypBepevBcJJxFYPywxDySm5W1q3x1t2nW2mRBf3p1LAoRwGNzP8s9axE
Zm34lvRqAEHH+HWFzEy3/Y33zfgmPEY3BSUnzCpAbH29Tj8ZlrGwp0IMyiYwbzDWrFruiwr4wHg5
Vg9p+dsYbr8e4b1/93SB4NJqoEjmVgOTZq65131/1PrEe6PWW6/hugIHwaDlJoJmZdjBg3Vo7/JV
Tl1rXzyoR3UnLpOYp6159iuwa3M+oDXRabKayaJl14v1UVfe1K6Y6HHXvujtIlIZIQV6yvxh/2Jl
3TaKpiX18+vpf/I9UrowLRT9Col+Du3T77HIIc/wRT5PJQzJKbYy6SMbN611ufVfI8n+erjztWuY
hoqBlyHTw0o94XS0sBu70OuHZ50Wgih89IelfW1pgNkn2CNREsV2eBa3bQlPCxSu7R0mx86mdLIb
ebX80Z+NyKHLcahbeEpKZBVmL08TQCsPufeWS9ZKzx9cDMW/fmbnr2g2wuyh4TBAEFEOr8KOC/lG
2umOfD9saHjZuHaxWxjs7ItDgzjpu2m1pJnsvJPHaszeM4uX3LHu0Qine2MTbgQ7DfaYE/hXik0C
83qxwf2zUZFjAVxiJdKnNHuIUVQMoZV6b9q1I8MSKLaC/ezeN45HW8C/gY9eGm56px+6rsyGLDNe
Lm9t+JjV3xvrEJvZwlub95BJPMePM5q9NI+UCGZHwislbNg7Xf7DLWQHBMTB1COSO9I/7QCejzdb
+FzHB9/PvDcClzfaVAJu/uxj0kWyxTOydGz9Z7fPnybKuLfRHJVWC3Ph2z7fSWdTnh1MfjMA0OCp
iocosJVNuqFP5vY33lnVVli3dra33ooNDzo/lN/Kg+AstpfMw6n5M5j+/MNrLbkzFV3kvU3xNhyQ
8mZ4pHZ1XX2LtqhS36ARFQqOCf4htq2Hr7+bpdc9Recfhq47P8tlz3sbcfzhshFbGM0Fe3F84+qx
sLLOYuLZNNWZJcSQcWucXjWd3A9/fisExBuE1zbSMuf/97XOefZ9WBQDKc03cgce3WhOdZdf69/b
ayTtnJDiRntihVf5Srjtv2MitV5u/pxfbeYTnmK8Dw9XFGGfj0x4ihnRW9IwZB3KrbF0dnz+DmnS
12CScYOafbLqaAbaQCRQrbOnsLXB72QH5SJCMLsu1/IGx1dqr+qFtV92Jv9v3unfY88+XyPGyEmK
p7HrI6pN9MmT0TSlWCSgT/rooJxb+lznpf0/n+rfQ84+V1zW6lTha2k34c2UjlZA2sOjWRt2ciz2
5qb+pnwXd82u2GA77jRLq/gs6HnfLf4efvaxtknNpd4Snzsbw1Z4rNU3Yy0dwl2+1RdAyp/v9n+P
NPs2B2Tw6B69t3q4z4NfAQFeHi4MMWtYQgByOpv3P/+wRFvyIFbG3jccyj1I/t247Y6IQJyl1vj/
ZpP9r8lIs3htgpPVKNHfwqPKUJpLJ/TUea3eeHvvxjrgQPfjSjqIzuRNXl1kS02DC9/Ie6zyYZ7o
7gaEm95b9F1zID1s8ci0Q0e+CW6tNSC0VfOg/8BrbGGtnilf5o93Fh9IZLDzKUh/39nX+Gpd9hdT
VEefzjG9XbZfnT63k4h8ep20/E50Shnly+zb6F36mQ0+RxUzNTzkWgrQCNJtJf399bHxydLE45nI
39QNSWUVne5sSV+VohCqbzKo50q7p8JrB9rT12N8MhdL446DNIgLDjY2p2MgWwVBmKhvubHr++8N
DgpNaDi3Xw9yPhHaAXlmGtkEkca92QuKjKYgSyq/Sardix3wbIqsvb8UnE4b/elrOR1lFreVctzI
g2q8TpcVsMPb8kd0nJIz0Sa2F5Mz5xvUNJjFTUUn82TMA3uLjg3L1+S3iXJsTTbcyLU3OLZ6q2gx
c3DWGYtObooX37Vuoknq6fQlpYnctW0rP7IdP+fH4E61K67XGDZSDEdUv1U30Wapt/mTvcSaUj8G
8jUcrOk4Ph0U5mDVi6ryWP70rpSNug7vS9exrsaLhBRbv66vDFQctmbDEiRYUy/NbP31qvnkanP6
G8wOATUp+rHlN5i4NRRbV6GDj8vm3QJomy2snvPvwBJN2kplWlhQE87vnsi4EiOJwqfUv+v8V1d+
EWL6gUZ3IRJ/34FPFynj0FhrkCZVzhOxkSsUKZWcp3iPK+E3f2NhuUf2QHYEsIgLG+PZZweeFq6D
Cd2Bwcjnnb5B0c3FIEqLpwzLRsCqKxooD0lqbL9+TecLZRrGwH+DbYR/sWZft1qGVDHrhkR2R1Y0
dnLxjkYC4/cUGPVQGqd82nbXrawXaH0KtgtLx86n8/zwC8w+/DCSKeyXzZOUXcZ7bRNv6h/KnfWU
/ZRQL7NCp9Nu8dA5CzuZtapq7PREhIZpzjZOIwvHPBgbutVxyOtX7YX6Yt211DIxkLLjN7p7oU6g
xQEqK2AZsBos5+vnfr4rTL8BX8gEXJjy0rMPtPOqSEdT/6Rexr6D0mg86nZ87TopHUy2fq3YNA/S
t7DwoUhnX8ps2NmqSsI8qUCBPgGBNHVHJYlylR0K28B39Y5e3eISPip3DcHR/icTxm+OXRc7VBEm
2Ol6JhUX+n2rstAsekmIfTfT3ZGOnyK2hctxnW3EHzragpv/wYOmxiArkmYa+llVw4vqPPVjg3Gn
YNS302uP/B/uUpP1GiyE+HKxsjEt2ZNtgl2Ic5IgY9IvE2mcTjUORjR8o/HUbkj24euXfWsvtLtu
I9nlKrsPMzv78fUkzwc0VYBH8nSmkamaq4fLyLDaTEqfmw5W86ESlhzAzr/RCQ4FAcDEPgRXydkt
LYjDOCnk6rkKyxWyWqcuoOdEyfrrWZwfGZDBPw4z24tkQc4ogVfP2vXAkUH0uVH3+jU9mLa4WzI2
en8Jpy/pdLDpmX4Id6F5pegYyufou39Ut+3R2kxeB/kP6U7ZFntq9zeR4zn9r386R0oy0wcgTzwv
WAvTB/phWC74at6pKUlZd1tfhxvXydftm04MYOzFpavL9MBO5mhIGLfBJaVRAqjEfF00UjbkNQ+0
/knzaX9stq4T2NHR0FbFPnNwkt3/49lJisqY5PUJreg5P52dhzhA1bPhNXmb7Hqk3ftNF3izXbOL
L52QZ6t+wgWpRHKqyT+keb3SosTvD2n8Fld72idXIu7qC9NZGmG2RkzYvOj75Fe0s45sD6+h065a
uzjmd1PctOxqMt+dZVHkRemc9hP7AYzt6eNrRDOJCzl8y1LhoCcvffNSNNIxE5bO3GmX/7gu3seR
FbYLyIwTDe10nEJJFCuXqtd31KqNw56wiuyKydG76jva1bAZYC4h6UA8oNkLD3UefL8PTklk4vBT
cBJnu6MYxxlS3/I1qo7mdkpBm0hELqbqJP43//S8mwYDbcepR5cDRhWzmfZSVeJAX7/WP4vv3fdk
F6zbHyI2y5tu493UV+kBrfgWRsPCHOe3mfmws4VTFFlLs0T1mh7bPfuYuUpsLMJ/TlZj1W/rZWG0
+TJ9H43PW6OTztR5sKevc6D5HlF3/ZqVm8q6yslSoFwUbHoMzG/KY7ZP1/7hnxKI38fUFa7QlEc4
cWZvsVHyMoiD5rWPqKYnGBcupXY+ndSHAWaRSl2wdAS5fqXj/beVIrVvZWPxxDkfhG0DmDKbI/+V
5smADsv0EZ+lN8Rpe+FaTtfWJrx2j8JlGu88G7bB5VLoef6JU52X4fKglWG8OXQK3kmjNzy32Hsy
xKOKEtsSd4G0cJTOD2zu64wy7SIILOilmv78wynjJ4UQBFX7apLkCMSHqJDX7RIj+CyEnQ8yO8ok
el2jsW/e6/1acmvqnKCZPfm80GKprfttrP/45wCt+aizhScotQylvn1FNbYxPOy/3XTnSePSLvXp
E6TwJ4qwjxBTzJ4gkBI/D4OeLdKt77z8yiVf7O7xx7yM40MUfXPf0+FLq+MsWfw+uw/Dzp7pYAlm
H/g9aRBE7fTrqvbko6Vss4ehcoaUIufikEsznT1QKRstqPvd6xStehqaA9epSYRsMd1bV3ulx+up
2eH++PWmtTTq7PMOaQlMlLZ9rft7Vb5ozfu6Wwq1pr399JTjI/jwLGfBSJxKQlzq3at+ady722aL
hNhWHvWVuJGd/B/rGWZvTpmVbnC+iJBid69JWa9K8+B5mHW5C1P67KFxaoN0k6hHo5s4/axTkcDS
NxgjBVHgPliIrsHF/PMXQwRCgEpZ4vxqbJp0qaSEcKFFM851013k3sPXI3y2BcI0xeB3Ukac3cj8
wcgM4BevrnGvabuheETOSbP33dejfPasPo4ybf0ftkBEjZ40KOIrbjiOZu1V+UqtlwotZzcWWdM0
Ek/cvnQ8iqS5xML3xSwJB+OFTi4nu1N2CZ8qplP2lLheKqucPbbZWFPM8WFCIopTru7GSy8faba0
uxqfw0Swuzxxvn5yi7OaBU265KqB2k+z6tbFXbqJtvVKI09Z3C/P6nzHm01r9p5EqW6CUDFewn10
JTnKRfBqqdf5Rb1Gzb4O3F/FUvB7FpvNBpwWzofnKHNDaStmN+kOW9i2007XONW+uF4uNpxVN+YL
ZLafV02p5g0LRFuJdsajvJuMrNPVrz99Nxf38rPY+n1uGjILnaNLm0cXheSOBqSuF/Eg24D3+c90
eAhbmWLf14tkei0nmyutwxKSKpqtiZtY+6dPse7NzEtNUgJJYHvyldIubHVLP3+22qXBGkW6lJ6j
trqI+mIz0gv79QymE+arGcxW+QgECWpd/QylJ8OUyDRv+nQDG9wWxNzxlZ9fj7Y0n9kyT9H11yCi
n0u6ncTe2ujRw9cDTMf0fDoK2R/y35qmIlo6fSGeX1ZdVYzPMfq9XhUPotXu4l47eg0kQdLLS5/R
ZxOC+CkqKrku6QxkaiU9LlqZCB6pXJVqeczazPYVjErDAXMad8WVnb5poETkVPFN2LgjGo20dCzM
1r6e+cy1ctItwg/48KvMPrLaCoquKKk3g/nIsOEWu4MXyrRs1I/h8DjS4RKiGclkfzVq91kUOwHN
pGnyUMWbWPD2ef9QNcpqnHq+rO9f/26fbG+nv9s8ulL7QBca8bnB/WjArmal/aASQuPwT1dyaEj8
ln4zl2Qkn7waXQXvMsnwFJDD8x1Oz62Q3v5ny720jNHu3HL99aw++XSgy06kfLLoQBhma81s6Vep
he4ZXpHu0P9PJ0T9q9Tkaz8YDzjRgQsb7r8e8ixzzUv+OKY2i6+kUomKuuhJnA1rUuUbPy3XVR3A
l+R9Iomv9uKOdsl10bk71+o2woLX5Vk8wfgc9tzZ+Adh5WzDC6HNAG+Uno1WWgXcDH9MGs6FOU7P
bfYNn4wx2/RUecxTmsGfvSdzOxVjaPO7N1+tH/gOOL1df8eQbLiHSZXcdxdLNbQzJxoEjsCpyZTA
iOWf8xs9rXqC5zcG+krjutzL6xT3Hf+9HkIdxrPjK+GQbIJNvF1KJZzHG7ORp+X24UTWAl/LaOF4
ntJRqh0hVal3WGNvMwfjZ2fhGU/b+skzngaj2Yv0PDkhakCng5mhgY+OqLOOgCmS+8q1rYEaZzoj
BZrXf/1V4PpfAMy/uIF8ePZnAJjHIPn99Lt7/UiAef8rf4GKFfxA6Wii5ChSVeVW8/9AxbL2B/0L
eITi48LLMie11l/8F8gJf+gihGlLxgyUtTqVRf8CwAiy/AcZPgkUHZEPtTX5HxFgWA4nK2Xi8KL+
hcBrTMB2UlyzZYkphgkuqCPVCwx22LVu2IchwD0S7hKee1hGmjeN29X12uPmVz9lnL8J0KKpQ1rC
EBx0OldriYYmxUzoUhqVrLpVMXrCoE33h3o7DBR4t2JEZRsRupwm4puXaVW+afMkSldy70cN9uN6
XDrFYA6RY8RSL+5J6Ws3bRhJ7jMq+i7hyK09/UaYQBpA+/ygoAlKxnLRtcx+WCt4EMPQqH05QOHQ
xgX9lMkocywMoBACD3+bY81uWjuj4I7C5bTfD1vUlkl5IftFt9eh4luOzNaUrnJTK7GjbJNA3AZm
SGu9KlN9cqKErrBV60YWRsMtbWcXJW6i5V7woUTg9gHPwGkTSGTrfGgbSo69kFJDhwIreKs4HOja
BIsZfGui2jd2fjSmIMjKmsfOJfKgBRFdifSrrrxeiy7A4h4a6KHgVuSqtwvPzF+s2tfuClWhVT4o
e1ncmwXNmTekMTsgjUKmtVs5Gvpw44E0mLBZQ5EkK2Gs0vw20SPRvciLGgCr0ltadw+LNW+BeYUa
tultBLqshqHVblSxEPklgP7hKwKsLvU2hUm6byKlNUJ+04dQpdxeciQYMI0Dj4Ze+rxUa/c3DcPW
SugCRLJqfhH2uBEqKqhh+lbFOMKqKIkNKDd9a8BQ1ZRW1R403lZ+UUSuDO2q0po2f0giI+h/CfWY
RNtGcXttrxRFXK0LGZXqlnyYb/7mhVvpvVjIInjbrKVJfaOq+Vhe9IoqgJbw0jiixlzjkSKuooLB
12EBinMbxmIgr4UiTLx1C5mu3Xe+azV2WRhmvjU9cEA7PTPCcD+EvZIfoY0q0mOidH3QAYugY/JB
KNSmdbDYjPwrKRdF+vAjBS6BucK0E2PFVJQzb2PFRldvxyxuYirNFffa70lnVtlPXRfElx7DsJFG
vqDEZWWlN3IprcRqdBHqiGCid2oxNs2+0N0CLZzkS1AYhiavivuRwmtotyCDuodW9cRmZcZuU2yS
Ri/qlehGNGGBJA0vUlWtoQuZUVf9bHMunwnJCuiYMUqd8qpTk6i6SE23SRi3jczLYWgDsLyhxmcs
52OQ7wsWfXGoiwRWDAhmVas8ZwA81DtVnFTNj6BrE+TCudDmvxS1owvfq5j1BcAhUb9pIz3BtlAa
01L+FefUKH6zYOo32nFr1YFZVI/QKk2l3w9NkMs/Q3Xwo0OldK0B2E8OGnhpilQXKz0qO350X/YQ
lPxy7OykL8zqDgM7KT8OECvKbe/WZbETY0uot2pApRwXW1CaPPjeGJNtiqPjcBEI4F12UlpL1k3e
dk2wxsLUy7ax4Xnli9dJmRzYfeqnCp3EmvdTTd36qcaEkN7crDa/jYFSoKVSQTvu3NK9q8cxGR0M
MbRjF3VBcNAH1YIcVEZ0ie4rWlxza5XXRTsaqyaBVbGKkiLSjmY2JNZWA/sDyFSKx/QYSkkALCgE
edKz9QVV5wC1Cb5DA+wm4m6gtk5Pz1uW4diniCUd/7oGwbvKDfhzelD77ps/ClV+21nwNon7e6P4
LgR5WUG4GGOI33Ga+KjHS6XCyEkdQ5zXkhSSz/vp97+BwL+AsX0VCNx1T+nL00kYMP2Fv8IA8Q8o
nFPD6WTOjSbn7zDA/GOyHKC5FtNw+kY+YOAE6HH0sHDDIQ+KESZduB/CADzIEZlYpoyhokhl5x95
hsvvxdC/A0YSHIYOaw5PBZq46Ad6t0r8EJ1mre+iZjbuwzQbX+rGNxwIkNEhzEBcSJAz5FpdV5Ye
X/kAq++kQs0vO0nrf2M1rcFbdhXHgOzkeI1SXUXs9bZQJuJRDDxy+iSVH1Rj7G6MLlFg0qvsa9ZD
lb4Ikjd+kzrS7r1febc4M48Xai1qa38QemyxwXht4L6XlzjFQmFVgsl+TFY4+iFp+mhq1GpvVFBq
9omfg6sZSxGjAC/5QWP5QJO57+eGE6SG9qiNVWd7xdCJa/rLa7RfoZ/9kMvMvAgLDvuVWpn+dzNV
61sVchQfkEwJCzPKsMdf2Uih5XpCMW5dQdQAGdO1D9FVCHZ5GlvYLOtZLAPtxqUySIxQ2QB6bL4P
nqldNFaY7EdLgKlVhorw0nm1e1mGmbJtSpfa5eiPe73Hkw1EpTLoDhwLQwVS7f90NZlLflturKLl
PNVao69sTxzES9cYoz34s+C2DD21tLMmGNeuiXSlKDNj32DhuDXjUfgNnweWnWxFuP3IxmsJsog2
faMZyJoVJTYK/FBxO7qUVNUIgDnMhVK3E7JSyQ5scjLuukIT66tINlr30CXhGGPCGuvNS6ylUb6u
kgF+5WBW8lpPCv+YZz7ANNcvgbAqTZXRwmJyqK46LzAu+lE3r2Whd3dmUObFse1arAXUypeOVesB
8YIddBj9WP+l+JkhAWIe/F+6XyKtHEv3slDi7M4UsmAndAp376yT7DRumlvZTCVstSOj/h7GvGFQ
HQ39O2FmUJ9IuSuLWSDftdnoB9sKg6G1gac79DMciRM/MPfp0MsPktg3N32c+b8aXYvvEpD1tzHa
hcshT7O7vK6CC+hlCINyAGnryOzLy6DW62aVRcRPdp51o7AzLKmSVpqE1fqqF8snL2Y8Ip6J+AWB
BAuKojcoVyvyrQdZ8AJgKwQWqVG+K1FeXKSpCx1U6oRHr1TSxyGB2CnULoiqKBYzdx25YNGNtulv
xMRX76tEgo8RyDBiDT0JHnI5UNx1Nxlt+/S+34g14Fon0T1+gIo5PQbBtSbs8aUf7wEY5uFdoTcx
gJiQvjabKKknhQXwGluDOs0bUgyel9qx3Evjtu77aNy3Gt7CUMvVsLZ7V5R/YFhYT2CJFFIBCJjE
hkDPIZfFllHaHR/iVtICEH56Gn9z/draqEosQgRpSyFaSQIl91UOSW9XNlpmm3VRrsugwhs+F+I9
1mz5xqy7cJOJkYs3Shld5k0KRhbpu7x2PdfdxI0/fJNMATLgYLZ4FOZYImdBt5mIIZcAaMebuiuk
J03wjIe49dJ1C9b4UGqh9ChwsO71wrX2sLT8XRdm/iGSLeEqHjphA8RHs43cVJ0i7YVvmiuDChf7
nntFUxnFNqXTfwVzMr9Fy5UeTdkbHo2gNX80hTHeaWOD9TUQbqcKXH8DQku6TwJwMgBtk30lDePz
/5669bB/+Y9/ydqXp+7VUxL8Dk6P3elv/HnsTndsDle0DxYXbUCnpEH+tAmSpD+mk5VruSK+O0iR
Tf2v27f+B/VUjUsTjQ1QSuWPt2+TP7O4G05e2JMi658du9ZpDxPSXPQdJBgxuOMiDwJjlm/LYdSD
j+FAK/Fk6JNV6kqlcJl4iVyto67MrGPvdthAZJFmRJf1UNbihV/3SuQQcEK6xN3GFPeum0fJpm/K
MLpQEtAlF02WMCK7RYV5Xn2fVj4Gq2sj8YRYvLd8+ItgoLIkyFyacX3A58phlAeBkXJd84zuoLa+
MD5JXZz1m1rAhG/XDZyba0kZGmMnGWP+2ze8AnmfbIE9kHzVxCc+yTyudS5UockIJY8vLd8g0jUU
mkk3qSCm47NPKP7SurXWr8oEJOJtgCX9PbsJ2XS388T0nuCiLMiu40ABRFPD3kMK+O0PSpLo7BCi
nhxh5wL4aThuFCfmowz2RiiYcIH0sIbls2qKQtnqWuK2DgZIQuuYVs0GqHGjVfaZ2WkvkYfYc6cq
gVRvcmCN7UUOH0pcyQLizVWqKTkP3Rzkn3onG78Ky0yBvMjpUFSboDDKFx/+fL2OC6VWv8M4pSdr
8NKQf/fFSF7LpQrRNYA22ceYQASNCEORFTXkqKUElXNez+DNggeMJuzaqk4szzpkQepvdWBoP10A
nQC2OrFUHpoBCKYtdkaRcOmQRB1rCbdpgfyMVrxLjMHs1mEoFdKm9+LOf4OIZBZrQg7XdzibQnWT
CUGdHESl7w0cMyzJG56L1Ki5fQYjCcSnnqukcF/Ujag+K6GlvLS1sU/b+rcghllv566HrnklxZT4
jHrFVSM1s2itB8qgXU+fXbUz8zpqHWCXPpb1YklpKXMx6RmdopU861awupS7cY7z7be2GMV0S8mw
CQ+JC11ntGRubi10Ph9vpSHVLdxHBkH3dkVpZD7xm+/FDyOYJMXJm96LyFtwgh9ycjecbEGRZttQ
yQ33te7IT3yHqV0odiFoYXflj74kPubpKAJRH1urEj06PfkQH5iSMO6biSs+QK0LcSeIK8wrnsjW
mJFg54EP5MOovKHaak1fqfdmEVv1rS8mnXwnst9La0GJK1D8fpd1ugEUuA5LiLgCDNyNZeFORCLJ
UtKEypERaLEN0iiqXkcphjS/EvkA28DOSyXsfwyijphixBI95vLejuHwYAyjpfJhu2X3M8Xbr1yr
HrUBzdGrIJWwkGxbd7gaRqUiCWIogXg0gU4GF2XjmRlrzIiKPZjMzlzXhV5GWwMDX7wNvd7Du0gM
0fsPXu0d4hDR253qaxVwBkMsTP+25/oJzaX0S2UnErNBFh8JOFZDlDU4eSgGP28VerocPUJN0sRd
7w2q68BspUYveqpAdJ0AsMWT2ve7IDpMh6fmZLJeVqDs9KHrD33U+8ZBi3UvvYC3rgvHAu6detAF
1YTVVLu9QfpHqyMsIgdXuiOhhIeSJBVJuFEENsZ13iumsRuN3uwuTKEORicopCjfCGotjQetp6L3
ysbWBf1q1JPG3NYYxZSOIvjcpEexlsyHMewq6P5YfxirUKwNc0darBhBiCZC9+pGVZtftwPY2GMC
q9cHtIXdAWEYWtPeKVNkOb7dYhxDa10YkoDpUqNHvJQKYxjdyS3lZAgOrqknldPAAPE2htl6P3tc
GSBIR0lV3JAxypJL0S9NJprE4riZ7ojlKogJzJ0mlMSc2pYPhZ+gEqcUl5CP8j1sXmWVK1RH8Ttp
XOSrVeujPU7Iaaz7OvWS1TDWgbyXq6qWH5M0TgHqxXhabEa/GquLWI9GPVoNOTePaxaC1x9d/r8Q
C6Mo+6lJmVYfJClM/W9WhfRN9rBUsgMvz+mhgGbrHYUhzsJ6Rd9h1FxXkdD43zqjNZNdzmMrHixP
txLJxt/GdN8anFvrjdkVHhlbTwmsJf33lKH+cHVFZKgi/p78GHWOa5Sap7WOLDFjBTABO/AhvenW
3UEHm9ELtrvHPBxs4fBM2QMlsxfZi1Lw6Xw+G1tC3kO/1LvU8XTstA9TOpvQH04qkvjX1Ozh7au9
9O3faOchjJmPRRJApclD5sGekS2EQRk5oTBImcZSbfjpMXkpwARTu1l0P1ws9dedFuoIThD9fBxw
+oU+5ASQ2wpJ6jLg1Lc+kYeUrb/7N3yYP3mIEhk5miIIuSxkX6fjaJUJiLH6a5zsMMnpO3hc/eW/
IcSZlTv+nNOHsWbFRzkR4WeLAM0J2g+kwwBxO9a6/q2trS2A9QsPgORmqVfm0zf3YdCpWvfhQRpF
muNLw6CKVRwFk8xGYO0+JJtu/lxy/ydtkhuCgLr6j3/NSvB/vawPY8xeVp25QqgbjDGtDvMAuPCW
C9OOFKvdXA+7pWacSW0wW/i8M5Y9ZcZPesvcqkuqPiCm0vvrKN+SKeZ8/Y1px8K0Pn1ftOSYpLlw
SZgzDTDaAfoDgntVOuKhW2ub1Amd/kLf4x7kJDfJJr/UFpqp3nNd87nBh0MfqLGzkHs7fV1DpPtG
wPVtVaz7DV1r7mN+7GmdqSBfrowrwyYWtfutBArPvK8eQE874Tc070uvdFqLX/wec7FlK/tKppf8
HuZlzfBTxziJqp+eDeZ60bJ3Vp+eFhBiKjpMiBaoA9JjdTrrePRosy0oM9SbP5FqOJRA+2N3CXfi
rjD+TBQ/9//3v/GeOP8oTsebtvUPHwUYxTyQp/GEHTqAI5yjtXc53un3naOsh121k/KlIc8X0+mQ
sxebulau+SVDhhNKbZ9dGZtsq+7zt86Zuq/6LVRD++sFPJPt/PlYVXY2ZB2yihPs7LFaoeznkUr9
r9+Ue/9nSgDjTINPQxt38l665eq1jnd1BOj7ovuxKAX4bNLk+FDhT0v6rD1KSQvAhAZ3jUn6nG7c
vV+vhBSlBUQQOgPNK3i/Pp6SztcT/3Q9fRx3ttNWVlLFoPf54Uds4W+knemoTvpE/Am5blETeHaR
ZvUC86cVAOkwqfrZqy1b9D84sHgrEfwS5qL0ntPeOuzl30uawJlG5683+vdQc41OHA0NulGGio8W
EAvVjmHl8G3Gq/BOuJyoh/1l4Cw+z+mQON0NTmaozU7JOC7DtikZdtJ0SE6zlX5gquBk+/wQ3saX
S0LcTw4UkiBTJzi6N12nPn76fY4trrkWEfrqP9k7s93GeW1bv8rBudfakiiqATYOcNRYttzGTlJJ
bgSnkqhvKEpU8/R7yPWv9aecoIy1rvdFGZGcijpqkpyc4xuaP3rcqfezXz1qSFCxAqKbbT3fGm5c
Cc9/3VisZShIhkDKh8j7+xFhmWINNdwIbbk4JQU0pWLwLIzrJtDrsCxtqI2tER+z0cVwK+Z/7c7w
asBMHF3arxD4+6EttTAMLjA7hD3gQhryBUya/LJbxaS/9V589z5+PtRVR52xWE+sDIeCKYdfHwqP
++liZoH0br/qN2kA27MbQei7ZwmdIso6oUhGocd1rdwEaw8UgooIg4PBZbu5D52ty6PVPHSUnm+N
d65EM5cnieOheAXTFeTfLufzKbbXPTwe+xECi5k9Mdd4Fe+6y1zJNxeZa7nL4UaXfaVz/XVA1Njr
uEKMWr9A7DIsbiLVgfWEZNLnAgE/jLt3gxSrSLAnTHdQVwaEL1Dfwoml7sxB28e8sA6wsHQuMvFW
mNzC+lC3LcbyRkndVXX013O7euB91o450i14kbZjY7edE/r1IvIsR2Wu9WLdpcv07t+r4/vrmLgN
KADDu/SFGto0GbdExGHdrGt2Aa57jFUldehvNayvcy8d0lBgP1BPB8LIdZAokPwesXQ3B6XQh5lZ
WC/08jUOFzAifBiO1SpfMume94tC91WxsG7qBb55m347gatRBOlqeFEXOAHEUi/HqiIg5jVsM//c
mc2P6PfYi0qtmTMJtaqJrvSqd9HVDrUTpfYhj8+p+VTQ7Z///Dddym9/35x7t0/vC1xYNSqYBpSV
6Q8bdiyCais5SGF2IFM0GO0Zq2h/K8J/fXZzChwzPAz9MDS4ljEno7BKFUR7Iz5TGRzrtkeuba+a
L2X4AYelW03l65OaDwcUKngQigJDtN+vcYinqpEs8kGQ/SqbEAYj0sZQmEsY0kalBId1TyuoU6cr
fX5XwIKXROEMFnEUpbrxPL+94YoCMPOc4scMZu5sP91wVDvBfC9UPwb1QyBTyyr5FPJphqvvcinx
APS34YFqt7nuljC0DoW5qtLY5WPiSyOKr7ofN1rA3JtetzAFU2AVhCPgeq5H32NtlaiZUT7KJ+0u
Aj0H1idzdxv/4E+AhAShjWWzV+kNyfB//8Agw18s6nBkiLJ/vxNdHCJ5SpUP5PvtRsboxUhdIj/D
rtyTsLRdpusm3Y7DzuyeBJLYtHiv6tVItmq8hhXCjbP5po38djJXb3OhmkXXxOpHkv8IMwNOIY09
iFsv2zcvMw4CbrSM2gkQJeaT+PTsodYaKrNQPkYH8v219p4FczAeHMXp3lKvebjF5fvuorCaNKMC
DOSprjlMqCQrtChpPuL02NCtVu+Jckum8HX4AiIQykERhFHDhVKS3y9p5F0RD30CvFi5Uh8t7oYo
+sUaUWq39jxZnWBgZHoUhqlL9Vb67ftjz129jorxL69SDbd0Pk7xBW2Wg55VOCFdxMA/ta+Gl21i
vhgesdRyW4v4Tcc6X/XfR77qWGVR8Swa4o9/stUb1UkCiFd9fTEMdrW/DWP47lqBmwJTC9ld5QuC
pIAjuxQ11vsk5XYpS24GC4nJklew8XH//F7OPcpVPAAuGrxqimENUO5XPc5Q1jLH+Putq9ulEsPO
s3+IkHeVAx2juEF95mZ7I0B/M1M1Ph/yel4jpDaP49x6U0GzCn2QQvxmGa4qWJdBzTUu2H25y5cw
OnfU7e07++UlQckREtYmcF1A2HzRdFldmWEd3npVUQxEtSVyuvZ4m0T8pcvDAFidy6pV4JvVL9JS
kkB8UGjZefip+7LHArVClrhe1p5+oh7MlBa517xke1iQR7cC/NcL/P3QV9NhrFoqGHVm57AGokdz
SjfeV2ikUOtC8gyLB3vAXb3VxX+dhF9d8FU/Z2pSofRhdm5d5HQesHqH9TTH8IknBjAxb7FKLii+
31rt1eGu3sg2M0jMjOzMPdgi1cKeKrs4TvcTPKy2M3hGcyss7lX2dE5HN3y9nST/8tpcncBVbG+S
hOUmB7tMbh6niR1knIRQlyXTVwZLnZb2qLNqn/78rn7pUK4OOkeNTx0KHDxQ4q/AmE+968Z7rJbc
6BW/zm6uDnAV3luiD5Ec5UAthf50T5B0BWYR9XBrmN3YrQeIF7UtGFkMdvxyay73NRuKg89dJfAA
eGO+LK/0LQoDWDk3IZSgbso3OOU0Kx6Ml0WI3C1PfAzaJfW7FX1H1a1p2uxNK8EYvJUf+Bqgfj8T
43qUnEetrnfpxSFE91B7gyrZ5Ggtim2+ztgdmpYJCI/lUZ/MSabbKZjv3uFPt8K4SlCgVCuqpmpu
3qGvmevwMcdEWjkqQbMzNadFJd4JhnM34vKtg14FjrjqIsLS7JxmEmwTy22ivvOc3wpPX3q2q3t7
FShys1Vbw0rPM8gwWssP4zvbAvznZiq8FJEDrtxxqXWLm+PP796dz7f0KmIINLpLRDaM2Z9M9Tiq
If78dn779nw+xFVMGGF7Jw95dp7gLxG5cedHkpcCjgC5w311l2kYIxnbXpsQhs3luDbcPx//1vO7
ig6JwoSuwrZT4TWKOJFyZajEC29F+psvx1WMQBVE3mVDemaNbZxm7xd+l7vzUhpfWF7xoK5gbbeq
d+Yyv7MO6vHP1/h1PnXVfK4G7i1BRR8psgtgcXxMS4eWNuoJJxZkd4k/w/6b+hWDsuzEb4195/Z/
3ed8frxXIyWrMlFdlGRnulcWAIlE6NE1t1ilSzgY3+5gbjzN65k6nLFS+I9l5zqabYRLB06rATf5
jTZ76yhXgQalmxBhoM20sQaf5t0gADu6pT2fG8Qf7ps539fPvVbVcVrikZlQDmsktfUINR5K72Rw
8OyBf/9zC7nxnptX8aUoJF2FIudMwwkVsCNsFG9Zc9y6Z1eRRE5bHTqH9JxUb0q/EMmPIb/V1OaT
/NMtm0/h8y2Db2NC0NEzDxcCIwtYPdvmybR/0ar/o8CP1UfoA7RZxXl1y1iH8uq+Ts9TnW7lgtty
tSlb9eHPz+W7EfE8v0DqAUWSEBb+fklSX08RHGvP8jg4ZpLZpEoCNUmfdSJtUNa/RTGX9+cjftsS
gFkEtgnZSegcfz8iJgHRAK3hWWWw3OtNxyCnPx8ACshvHtNcJQGKI6SN10lJU6k6M8E4ASW6XQa5
9AHl8UazIvBrji2/Vu15HUzyYKngJEVlN+2mlTyS/TDqNwK/jtuTm28v+dMJXUXHGkUHU26kZ2Sk
nJ5wO679P1/yt+N88ukIVzfVGLGs22XZuXFDP0ycctEuoct05A2qzm9bxnwbOv4+2nUQNBsB92Mp
PcPZxdag7bN0uDf2pstiTIur841r+/ZxopoJVbwoA/iyLMSrjMmoSUPfQjDwPMOTypl5kknnD4/6
zJpb/vmA3z6tT8e7CowJZfmIwtBzNeiuYcG9GUO9Px/h21D16QhXb7YcRxJqMpNzDoIFgRM0Cl1p
Nv4nEXf2RsM5qqhxvmoSIwTGWRrG54bd58ZLkrz+J9fwrz9/nS3QITYreis+MwwPYaptVyjmp1S5
cRHf36m/j3IVnkowoGRUmZx5Wi5q9Qj1jTc0txrYt8357ztFrx+4xCw64VLi1QSAItNtZZOheMbA
+hjMDnWbw0jcVu3Y027kzr4bdEObj6wZ6HUGAtbvobAloU66IsEKFNU9rhsL0sIBszC6HG4Wjbr4
d5/YnH9XsRyEhQxUyl3fy1pr9FHvXhIDqGf+wAbLTs1bC3FfLwnrp7Diwt9HjgUJpd8vKZoUiIdU
8cK97uJACGU2CAuQ4zyK2YIESLJo8Rda4X81h9Acokn81//7719VNV/gA6eqa+P/8/8/muQn2vx7
iRrWX6KJ+b/9pTw0/zEzVoG+QfwECFxF4/5LAqH/A8MKFI4imUnBs0Wn9E8FBBgDCiQJIALAzg2P
ci6p/Cd/QIM6ApRRLDHKqBSaM2n/95/nd/g1VuJX25/L1rC8Ll8NQZDbnP340DLhnoWjXQ8ItIQj
IShUlGgq8A0PUxiC5GF4aoskWoxWc6pAt95XUUs31EJ59bDXzLi8H6COWE9p3rkVU8eXDvv1ng1L
yLRkW5Y65TDJQxNEmf5y2YIePlyCRAnfxDKXlqzO3rtYD/2eF2rAiwhjX9GjCGmKQQHRehQ8QsB4
ak09CsDdJXZ/+ZpFvRNq1OGRYjwLBHGnKMJpN4DF4mglfk1uSvIg5Sp8jTtzbZL6PkHt8CnnJHYH
UVW+grWAUykr0p5ZmGo34VMrYWl+l1VYHI6sOFyZgE7dZ9AJ+pBgohJ9NKVTp2qZp2q9vIGED0Xm
XcbO5mA4tMlgll7Y+hTrRxna9X1nUfiXQBPt6PlYHqasLA9mDsPZPC+WaTnB4EX8KGCuvtabsV8L
aAKgi1ZZEKoFFqdptqmiPtuUdGQLq0fx2SSROnNVVPzCmhgLvVyi903c/mCQhewmOtL7NGmgC4TC
cNVIjX5vtsOHCEWxRVFU8VBO8NeV5PBogpH00EvTJmSU7prmiUOOvyexyvfyCB+YFvdoIawud5WO
6gtIoPujMdYepZXhNyWWFiCwspZmRXM7H+EjbOcKLw/FpD/pLC2DjlV0KRL1bA0jW6MUm617HTXL
NuC8bB3HETK8ijjFsrYtuiE8XT4AKt6rdT3sGiMigaZx+E6L/ACSg3YMuzbZ9zx9q6e3GK7PNppc
EowTA04dl+w1kZYsw1bEPsSz5nOXnwoLEzWIyWVPRBmM3s0R/AM1TnqfSMTYor5lL6Ux8ssJ6Bhh
Df2oOpTDYw1vbHOojlx4XT+KY4PFz1PWKbA5i7eVzMUOvtK1DQeB9InLgNPUDEn5SGWPQDxZCwMe
GF42b4I1WeAidc3BgbdKU7bga+D2Bdr8wY3CWEqllkrLWumTu7KZOO6CPsvfxx9dxIu1GpHWUQmM
EvJE9eOKlevLx1hP5XqEXGctN2roRhO8Oufg4FkUxU9CkUTsGT0JnQ6u596nbT5vkz5rAtp3p6kd
msPlY2DUSYw+25msaA65QJ1/rm8bSTeXrdIfR0gG1vDc/usjpi0IjVjrWV9+unzx976uTrtAMt87
8DpWUMAsk3AK19n8UbOS2aNhTgsacqK6uc59YN4HJy1psoDdtHZoJNhA96GUbUWZnDuihNs0h6jS
1Kq7KmHSoZg/aD4UByxaX/YILQwPKVekwwh4AS/A+EAgL20KJsqGc/IANdTgM9SXbC67Lh/QR7Jf
m2iFuQ+t8vNkwr7cBn4FjNcMCx5dNAz81ztIa1IhayLFL8kYZYhbPUyKelW4BteKXZh2xQ6In79+
onkUe8OgyA7jJZUhR8DX5vzR6fjbZQ0mx2Vf3oYgG8wq3lQjmAelNJQdCzXsXipJWOoGqpRsNXaq
htSmWtnfUdLFeGoTg9Sy1lx5VAqkmSPIUP/17fCvb0fIvoKqqN70ehx3WSlZWzVZ9Yl1l0vmE2BM
IDTDMXxXQFCkwJFUxY8GYGYddGGebDTYHLBWkJjGuk2rDVPyeMd0g3lqViKuG70Pf2jzVYvGtYCu
5xnLY8wmYx/d424pixRoq6CTx2jXQfLtMOWlRzUkJueTCY4WVPaOlA/M1yvBl20LoHNICbK3CrRd
MBQyiwOrUjtmqb4zE6gsJiNMgd3FEM0xwiZd5+HUVrbZT4pfo77IslJvQMnYfdJQcY9FylUk1dnh
sqtWS8mOiBYHkZElS6vA/Z8mK9l2XZluJdG0jmxxuCnOm39/YWZMWVah2IVAXYOdkkJzXBhVZX/6
sagmxaERoDsaiBp7iNjVVWcaP8wwt9wkV8hO6dqdXrXlIZOL7oHQzGnGzKohqVKMNUS+Dm4rzMmn
ij+XAjroYgpfZVkqHIXwdg/pWLJhqPt2W163Z7N2KuQSzaROnURRxk1sjIci1bHZt6qybFCJabNY
Ru5U0gz0OJCJt1CPlbZItTDQWA4Z7eVHRSJHo9c51HClusVCoLKNhygJKkUN4qotRveyT08GdVuF
QPkgaibOr33zL2flKKBdQ6eUQmE12HWsaQsJAmTUrqr1NqNxteEgwWjotvckrYBDGdqjkPP2mGDM
sWj1pnTbOId0SkhYrO7LfH35lluycEYl7F3o1l8MJdfv5VRMxyFLHfSn9P6yCzAtNNEk83NWGfal
56Jzz6Uxo1wQ0lbOZZ/ZdeAkNZ2xoAYHx7ib5FNv0dHXraxYNSQp7jTAgmzUmmyzrJe3qLjO77Si
Znact9Xqsnn5KIY0czqVjf5lM5mKIG5BVBBF81gPOX0qlBIKw7ru/MvmFJWoXVOyUwTcDRhn+a7Q
tDdYGORPkYZOoixrZSHFIn9KM4i5uBq3+6Tj/T382H7tVwoWBVjoqd3L/7JE0zswAmrXjE+ZnZWJ
tONNZg9pzR7HkKRoZRJHdlIkT7Ajj6HQ7gbfAqbwqVXE86Qa3YGU+XBSMmkp02YMorowXcCyGOx3
CnXXZkoOwVdc+ZXZmkezlxQbq1DirVMBedC7IDKnwS0lwN47kI6ysUbsUfppdKpIlfzLsGpsISfq
8e1AqvhEma64UUSpC5116OZaRdZFVBUH2cS6xUCEaUOan68jC50oTrlbjdEQ3oOecgi1VD7rslw7
RjVWu2bQzF2SjbFjzl9kdQdNUy/bcSlPO4JhkMdFEvugB1n3TTUdUHv9QkuZPOS4KR64GHyhIOv/
gNJCuL+UDSyh5nHh35vqvHn55cu3bGrpEXFiUTKpckZUPRw0E+NVhiWZJTSA0VGWcQl5x8WbhpZa
NPlSjIrpwwq3diPah+u0JdGxIxjIGolSn0c4jdlZSyeU7TZkpZbpJhMRIILmRJ+kUD90Spt9DKTx
UI6av3IyJk5iRtmxiWGcnlcKD0q+bAod3AeQZlZ6SPpABYIgIJ0yrKKpaNc6yJjLoYn6jdrXmq8z
Cy7XZhkusjqnO9DP8kVVTD9CQ5oHQGqyh5YoxvB7oue6T4/TEFWuwlJzxaWxcNOu53cJ7fLFIKfq
doAWeDmi1jpIIjqsKS9Vv8KIN5VNuFrGVKwB4BoXFCnZI0bw2agSN2KcB23RwvdRlTGMZMVTrukO
4QTekJo2PqHCSnHlHHgxEjXjUzFhjg/08UOFJEZStLWHUESfzfoRbJ7iLLdh6bV81ZSM3LWyPtlK
M5KfWLCCkrqPXlgFMvtYDM3GKNJsl4xK5CJqgXWlVtOy0qd+3YUlSmIG1m4xWMzcmtRez7LoB/g8
fFV002tdx2iaYVc91GOW2YYUSe8ScTKhshfUW70o5A2oHnHCHxKn2oxaBwywcXnZHJVGXccFND/D
/CtJDlcnUy3c3tCnRWyt9A4HyNQOBV00N7aZ2QA9lOcf2cwwUUou7tAihJeRythnGhopiDP1Dhwr
7ndGbmzKLBfLsi/EulRR05OEQ+WAf7FX0qbbXT6m+Sc5w+uEhgiUuj6+EFnU70JmSHQqWOmK+sRL
pqR5Qxh8H6VU+hG1AiCELuVHKpuhh5nUuIVOPVuZArGnTCmAVm0krfD6gyTVxZMvws7YqWMKSVg1
FceqLkNHToj1YEUFOCGGiF5UgogoW90bqgt91FKianxwB5pySIrJuNBDWXkD/ekH2CX1ihNEB/TW
WB2zRnmHivN0TfoKNjV5Wj9aivwI26rhDYq0rUiT6gn4qcID10VshKlk21iEFHBTuXgu+34Fpffw
xtT0lQ4dfxByOCziiYtAzYlAlAAvKp9AoEs1Ub30PSJKWhJrW0GwcMcT+lYNcfUCW0CKSWdVbUKh
9ydQQO8yyapeBNLnrgzkaIDILT/wqF9e9rPMnLzY6t/6GMEubcMQ8kvUjEI6fqZWXbvCTCyEPoUd
cyV6+7Wfq6GdwERhp6VavIeFDVSvY56fVVl6H3sDpnJGuYw5wdwvTF80CFwfWxAC1mONMsyy0JXH
Zmplv60gzr98CziW5WoSQtHlW140GDXrkrq+bMYyvQ8VLu0vWzrkLa1sxHe50mxEV7bLOfe1buq2
QDMtjCCn6H1iHYCSKQXlB60iX0FPrq2NWONLOOiqmy5MFJ8B1LytaBcuhIVOhD/ySXR2DgjcGjwE
DJYEa5hDgcX3GpFWR2Qy5FXMImEzHrabLtYw01cNzEfCTl4Mo1I+NGP0E0rg/o2E2YqqA3uuLIJK
lbIstuFgtZsxhCdHJuTySVJQC2m11G0MM98MViEAu+WYI0Stuo4iYM0MkuZ4qfe9xcMXLWPECwEG
CNBureNQE9Sk43vNyjHa18fkqMcKBq2j6mhWInlxKndrMBHUtVQpxkIGhfWOCW10Mp2GTxSz6dCs
UNTdbIq4QqRvpuQHpLzTU4wFUicWtLmL1Sr2eci6dSK4uq7wQB21jn40Em12Q2+mvg5KwBbsN+K3
kEFvIE3iS0MwY12lcrySBpKsrYaTVWhoLEgqBOBYI9NK0spyDd2/tcxEHW20saiWUL8LuyATd6qs
zU+kiTV/qCTt1+ZlHx9VN540fkgLmp9MIwbD1pLRTZ8h7AtPiVFOu87qDw1py3tiycW9MqZQX2Sg
TjKkeQhABvZoOuB8hHuUDTO/j3RlPUhCDdo+z5bSJOiu44jdjayOJyR9ckevo+xZoeI5w514hx7f
AfZFxKhIYq7ShPpbWRSvUcmUp4RbGOLyojhBzCA8NiEyZhr4SWUlJCCsMSemdUWDxBxBlwMgbzdh
VcyzeKHfhX0TuSC87aA8xwzQiGvugiCV9nY1dLlnWEXsGFlB/KlGTCtb00LYj1/zgUj7dIr7e8Vq
vcvuLotoEA5kEQ3otfU2Fy+1JT9TrjVHKSUm8L8YuEORmL3AvDqpikDjlq+oAAL5caKKJeZ5d9Zg
WtxGgvce64mTr05gKbkct3Vz+Yi0/NCDBBDg4cZLpQFXTxaZ2LeEdnt1/klXQ+AnIIq0L/v+/gLx
NF+YQGA7V1+AIcU81hoIxwREgVCLDqSXi2M5NqgXwYktLpuXj7Ee93qOkFoBqX4ENGQCSkz1Oa0Q
0eddmYIRVV+v8cTRP3A2HHNAuI7w0IBY1wql4LKvlNpuV0hkddnqQPc4EhWdmJCm2rv8h8tHlRZr
qdey3WVLgnIoVCy6lg0z3HCbSI21AUcx/PVRshQO83VOJK8FwnPNOV1mMHBykkk2XKrCvUYnAB2V
6bvS6YoHRwozmFdO7aHVGhSID21Q5O2irfEmaB1IZcJsch/siI2RJkuhoFaLwtOetIltTQ/gBzlp
6uTxPgHMRaR2WL0YJbCCgSgDY3pIwm5ppflCpJNPlMTRdC+KMhsAEPT9bx2N3bI+SWe9h7G3Rtd1
gxG7zDA1jRxK75IUmF/1Jc9bpxmO5obrpVPzj7pAR8hcag5OEj/KqDekkrB1gAEy4zEykQHoJyfu
HoekdCrzozfheRQtqZGuSpBFceKm7mkY7yeggNajcmhRmP0T5y9COIA0e135oQ5IUTSVbdSDJ7WP
xpg7uXyeT4eET5MKYYieezw/k+m5Lt4uo5YBMsQYM37mAKCGCBMQ4msdCgXDym8yCAA6y5GrLRfr
lmZeZ0AXbmA9q8Ovv1gwcx007sj8OTJQC8fPwI45SQIVnrqs+sZW9GfF0NyofY7azs1xn0WbubjX
PU40VOZH0TgTLldCJuSgx7JN83CJY8U5iCDyucPVKnJlR8qmxt/pRpRRgyLCsRo0V6fK5rZujjo5
yL1fowtSlR/AihnTXLDBHLBkncj8wFDHVuX3ghxZHjlWj2EXCmNo+XNMXnWm2FryWhSos61CN5Uf
wPhxw+FA8GCo2jkx5s75cISu20bbyPuXnqdOB3RHUo9OW6Nc1cjcInyRE2F3cwNA1qojB6kExCVz
LIb5rZPhno0o7mDWG7CPleSX+KPTpH5ErHw3QRy08QBEO9khlm5biXnwxvaj+LERPyNpvoUpSxy1
vNcU1ctqrPSCZtLWwMiHT7oFAFuJmXixziicEk2AcVF1hOYmGvytbDaNBfASJNN0I9jPqVl0uIOj
Y40robuFZJtvagv4d8o8ecTjduAZj5UprV7U/SKXXeC/INtCsXNJcT8m1LJDVPKhn5Iw0ImXSeCk
Og2IcZWrpm7boq4KLabhmhJY7eBNavTY1c0WOZ2kdbW3MYWEcLWIMRKz6kcC3S2uGYAWeIM2K6Xw
wfHvLJuGwsm4p/GgKfxYW0yVl0DkfU9QEiOW1FyMwoPFcK56NRLzyHKwQPqhZgADgz23R+3RpC35
u0Q1dBFOlayRXyQ1ZvCom3vUuyWoaF1vT6MLcpuarDEvY+pJ0zcadBboOYGNaYCh9adyxbNdpS7m
2jSgkzGtTh1ZWg4Ec8FlNsBNVHPBM9S7rdlte2BAVEmCz3efpjbX38KqL5ceaEXgXaC+uFtbJixG
FmRYomIdeWTYQEymw2JPHRdSFsjsjjerrHNE6Alq40ZQtjCLfUoxwUN20JutDqwflnLPGneqDkQJ
xIeaO10DGYhTIPHbLFQMMjSvq/ZMClQpCKt9yZxBnGsUCKAyM4pdWTtGbMumw8QaZISWE7pd9qQi
tMWPhN61MOCF6kfn+w4iYfOZSZiwuWQnjBG153RE7j+5l0JgZu4B0LFb5cGAwjf1h9SxaFAnQJe8
YV2kJashdErupPmWYuBAzAXGzPoQtHQ7RoGJpPMMV3StZM+lD5mcNOnYypkdmczVO3CCfTATZLuW
1kl9bmvcQCQKFMeyFm3mYEXHNhFBjEMDylGK1IDNoDvD/dL31qseLxGIsUozt+TGR8jXJdS/+WZv
IwGSY85qrWHBbot+g9cKAyUOrZOB283sBMmOAVETGSskZrd6+QDjQndg6EcwmGhMO+X+MGElAZJY
ySnlY4eupx0iu4K7dq37HLjubK9VmFDZehxY3FFQjov1IlCttZM+q3bko8ZfOvmpH30ksVpxiMWO
q4sQoMRaA+brQ+/2Zb3EZDnMwEBedWRt6fskd1vVIYk78cqVMmcq7zDLQ8QX9TIeDg1tkTnN18jh
uGwoUU+JfKmDYSQYUGO8RgW4vki5zbMNtx4KKaAxMFZYUNjp2WLUl/RFpAGU6BwyyNybVxRqJ8K8
LXbQOAqCNMiSpXba/8S7CwQOI7aVBqz1JfA1ixXigY6CyggD8GVauQ1WpsKlWm5kZIIhoysdVi36
apHH4Bohnd0qQELhl5nN8EJjsW4IrNCJImduH+nP9IQe5RVaB6ahwQIh6UxggOKzBb96SbnTDTZw
a/DfcEE51erzNG7CVeEPra1Gy6RfRvCEe27ZaSjsYXRx3oq1BjEsVTzQPix3HHycbcqxYLceB2WG
HSLcaqqD1NS+D20ZssUcHHBeN0tDiY7ArEUOpkuFgZGKGGXohjpGtwBKo03DmXYKSBRVHsuEH1oF
nAssOcjHDDDmqXe1YtEyYCvgpQinEENxkaWEpa2uIjn2qMk7KEvmNmWtGoZ5rWQoKy3FQkYBjXVV
lPoa9EJgU7FmB00CmSayLg281ENy4ozFQRpDAYL82jrn9asVtenCkACKHzpjOfAh9kmu71FbkK61
VCAXAZKNTQ2a+0gvYgICW+B0+BmZcWBgqoxBRGlD1bsehvtWUKC0gAgfeVsFHJZFETfcuT9KpmFN
KNyUSYPXEIRmqixB+6ToTvMCTnxSuhBKe8DaqZ1wLH9gIB/qGCydqyhJAxN804BmpoeuAN1uW1Sv
tcT2k9W8VFO0nTtUvSLILWCEBtZa5vVAI0HteZAYb4LLB/Jrr0NhPlY5nndf2/kaBO4E4HIbjKoW
TbTewexUs+tuCgr0dUMG+jTm2EQ+T1XcOSmGUnm/GdtRcht0spNQ12Z7H2vzS6fbaPShgbCjCFSn
4e2SuAZIV+wANhtgjcymHtU65C8nGA4OPu6MEj7NREysvGFfCAgL+uqiEj5Ky9ooXhG1WIUYUIkE
RLys04Fvt8gTlbsxAAnidagCabpT4vsWbk0SkmqLBFLHeehmYqgxyB4xbPiEL+EgHaOccoJkGgTt
yNgAL4bK1FeE4s5VNBnXEyLhJLBK0J4JUoColnLVUNexpJWXjhLStwmZVWk1IvHW4LIMED6kt7pu
MFgCptVcEBNeFPgHt5yV/D9MnceO60yQrJ+IAL3ZUjSivNRSuw1x2tF7z6e/n/6LwcymvZGoYlVm
RGTEKm7DaaBkepU/mifCUmXbIZfJkhmSk3rhb2OWuy3xyWt1yRe0nShV3KDYU8XSfp2KPXOM+6nt
titRiTpWIsPvooevhkk0gSxTy/Ej4f2/D5slPwDDH0ZiDojpRvUokoylr5dReih1ckvb+iPR24+c
9+OgnwdcdCvpYf60WnPHlfhfo3MXz6ItJHeGqvPrKBRRgEUxzhoQaqP23TYxZqgw+lLMFlvylLsK
PqNpQ5EbJM+vGo5a6RS6CxfGKvtNjvW/JIM+meLPJCeGa8Jx75RUc9im66yDM9Bakw7ukhXQK5lm
FZup4OJqscpYgNmTL6DvOsp8hkvteOqoKFPqh3yYBOzSU9QJauylfacH7HtTPL+O+jC/9sO82lM7
uCZ2vLs2vFddyCbYDDVa+VraaQM/rcrll1QKsk2D7RbzBj7AzSo/E05KxhLCDKITTuCOQnaIJnbp
bluJZ7NNbXgbC/rhHunoZGW/tgJ+DSbfVkq6IcCarvldo+mDxCSuinS35ubpa7nVEpwwy08c511R
TgPUIXsjKZ0SMF3DLWE+afprMhRweS+d6EqhJ6Ke09O/VnqL28aOWAvrxCHkpxTrveLo7V8T36dk
3RAw4XbD/LFMyy6sn+7Sus8tXx3jl2pDP2dHtsVydxT68YQdzNapzpb3uNr21XZUtpwrRhmI02as
d2pCXS2+J5ojKVuBiztc5MkeubsM22CW4Mc0cLH0DcmNcGQy3GraGpUzdhsBe2Ti3wTTS8mvbezc
63Cpqx1tm+sGNSQZGOa61Js2/500xHWeKe1N5FP6xtS4CTghKa+f5ScHV44WeaJ6cyIKKl78lVvz
JLSnWDnDvAsbamOhgml0QnnfUAdmbl85EV6RFUPNQcleNL9Szs6hk2lOCVnIcBHgVJS2Hk/E9JIo
kOqdtC52uYKZuhg/siL4veiX05/vtuKCwbyD8WOyS648U0PZch+YkpebV6t5k6X9ojp57YQMp1bb
ZnASvH4NVyr5VWvTpa+F6YbqqZu2y7RVhW0n3DrVSRVkhaSSMos32U1/1rLrJGwt42pR1nXVQRyP
hulh1lFVXm96a/4ehw7gkiQ43Oul7uL0PSg+IhBz9S0tKDtgGEfT/LHxk2incgW6Dc93JVsi8cwU
HHobjYF6H7eEyZ0YaHL1n3U/742beoGSeL5IvpjDEE98PKfzYeoHW0HbkrvS0oj+qGa7Goi1JR0s
L2MXTOiqarxUo2rrIKZY0qz2Mu9hr5Xy74Sz3/yspe9l9dPrYiAYDiB+yssBAlVWzcwTC7EyAGTa
9DpOAEgz7KkfJQfB+BH7Qg/mM9tSUGstt/VXaP7LsFGSdmg88A2Xi3O7nKMUTvRM/V4NG7bwRfDo
dELqsyw9iII31F6Rv/bph5WeKVl1Zoabw9q9pVnughM3TyT9VBTGRimOgn4Us9deRfBL0dmuB3PZ
VeWXwNB08hsbR0yV1Cnos3OafoziyObjUYoqQBOYtT/ble7xvHopGTBpVPrt8JKs90EOClna6XLu
LM0tQcBQ1MOmYOCBC9m3OxknhP5hWYZNnJkhOGvE3W99jqFhi83N6t+i7sKR7K7aVv0dEupAlRX+
2w7ZRgJETPxZ9yOFsb9qAiL+FYS70Kbb2DyuAuP11y7/IYnDXdZ7AZSQ2UMcDPhWx0EoFlSf0WaU
v8kVCeJVt4eVWlDeStyuteIq4TXkmobyu7x8zC9Lt4Ia5j6VsuVZIxTZXhFto1WcVL7V1mfMs87K
naD7a8Gp/4W1rT0KjsoF6fgQxmwUnUrErvzbeF43fEmdqLiULLVwvcs8A1VMnEI+J8BBSe3//7+F
LACPSDQW14xigVXPQa82e4nWpP1oKteUtmKxnSw61u9iCbDpdtL8xsMTigcPhY8XGpCRCJOn3AV/
JsTUCvcly29yIOTL0qMhqWtxY/6TdHfJ3chy2pF7RqfVc+f41GEIOq/7NPOUzlem95aIRELnpojU
C8Nv9A8EULgjBbHhk5vTyGycmT0yMIPQzeGxrSLhjfW7OQeMrCtwjzL8PUMIgwSgMkrlCS5W8xYw
NCNWDPwz2fiMZXEjLoOAi4o5nDBdJZcnZT9sh5EJhin3Cm35IGhE8FtT47QeFK/8QMWEEVWnrcyn
Y6a7iq0rJULDAjEVx2wHK+jkDnjJXeKBMJeu2hgmITvDaoaeXv2as3JYEqo63IXnY92IrtU3Pfd+
UrtrXl4rtLVn/I0/5HryFwK2jdVrFD3QRuFcmFl3LYPVi7BT6MVLCWI8jeqLDKdmCz3El2Ck79PY
qm/I6oOpHH6SHAqwVJcZ3Bn2rpMpz0Js9Mmo5DgYvlLtrw3MJQ2SNXsd9OqHkAEQDsbzkmmHn6e7
ZPF1QftST+2rLsfUs4oEigS1U063rgWUijJzky2Kl88LHu+tLUR+zA49KTN40fzf+//5vFJ2DKBn
6v35hc6CpCOSwVOndXhC7vEmqug4ZWxSBb1gQYtn7N0lN432IXdTpZhALvUTOMNqAtZ9OMWTdVJb
4TRRK8yF4Qmh4Uvi8l5Pmh2tivf83vNnmlLeD/jHnCjMLXTRtUrWy6Zn2KpgAW3JGVJiAIouGCka
ttAh2S00adQeUv4EFy4yRouq8qFkh2H+F46ET423mIYRhac/IibJDsTj8Eo5YeeNwkI2C9h7dIXB
hSV/n6hZVOlIoofd8KGSPZrmooQPDTYqt1n2lh304cMgwqq9p9Gpay4TF3ah8lndZjgoPa3waZUu
Yb6L8wezJ2lBcBXPWZX9UTzFfEaZFFvbpDnxM5FwEvQbcmmvEV56gbROf27OYSnbjd1FnhLtRyIv
upJDeLTz6BIT8Dw7mbrrrPdJOhvvauEMObZy3Y0fYuuB2qFbTNpLrB36PhDrvdXdS+5W3R3zgxl5
orIbIuxRrU3fXasKUuNK2gAJVQxxhMFItya+LclR1L1q+pKFkzor9nAbm7MoBWXiFnkgmpzQ39n0
JfXB3F3F7sdMjvr4JTcnZWb45lQqBDF5VmLrkPcQlBJVaRjoRN+ZHCLyZR3tpdiZ0mc87ob2t7S2
C3+bB8jjlYKOLM3VrgDWhYdUeHzQ3LrKzfZi/J6aMXv8YIvJ5hUnv1y6xnr5Z5iDLxf1RYzX7y6Z
3XIatnFhBsZMHd1V3zW+Lp0Jmvffm7w0A9Ua3yc59OS6/p0UduGBG6WvocyF+aVaiQfppm8LKnFT
TtIb4pftiMxFjZ7EsoDUxhQXXJIlikOpoNcwRp90C+KWOqcT+h9VjnbIf/qNSeiIXy1UX6p5a9uk
8HLq7CQ0EFItmh5IsfbIrZHfEJIz4pPMrvBNj5VsCTR9myzWfKrraPX1cqz5ljvz787R0phBGne7
WJkdq1N2GUguuGHLNZjHj5S4D0iESxanpj+UnRfK0Xhv1MkXImtbiqG2USvHHOITFraZs+i9AAlC
l5JL1a0fw41klT4JqJgtp/IQVDOtisT8I2pn3TyIsKODpn13CB9NNANOVxY3HC1qtzEM2Vu7PPKE
ibO3nfQPNUxcNZu718Qq9F1Smw9xxH48strmvUvyXyqA7Yjj3HEpSfvuE3H2DCpZFDFkUqR7Ta+H
F2AOdnD+akUxinJORyLGoq2n/EPNCMEoZTCzLpTcEpnLOL80mCJT+QkvU6TQgezFJ8osU5vndMy7
rgMslRPRAAVWqaoReb4kOoqYlNKte+Z61L0j4jLtiXUt3Nowqa4oROxQMPYWWrSTmi/V0Xxq9OzS
+MnIEDvnwqOc1OrcoaUhdUqzTY5QMtgQ4gz5XzxFml+tlBVGaXjYrNM+SmT+LmsiQMWlSDNgDfuE
sVUs4RebcLjFzdBSbUhroq8o6KHySHQSJbYOytKjXywST4rEV2UwRncFWEBtYcguQRNoo9NVau1Y
FTDcNwKzNybHEjsO6skro+9sP5RDZpMaYFsLVEiY46nfju+1kY/kfuYXUeVwEZGsqYR26Dp1NME9
EhulNJRkbcnbjD4ky6cNNbb5umLAr2YvaIvZ/reTVjqQ6wciQZ4qk7eJw0gdvmQTjlYnhmXL7pdW
0y1OdfBF8kWRUYBqNUGvmMdk/ZcNo7ULjcjp8R3YJdDehy4i2heNoqak/EuN0zHuj8JihM6SY/cv
5datywgEUdF67iXswAMmapxF5A/990bpxwO5QqKvZhOeFKPiYjR4lttR8lfkhAfECsJ2qCMaaHmT
hwV4bKydumSpt0u4TA4Jh8Wm6bMepaBROEUsP+rWHfJe9WQB4Zxt1f28/+/NOLypGZliUVcdMQGX
9kI5/N83xoSjrCbgVtY+QbL/fSMnPUjtf5//nw/jdUKwwhP+QsjmMp05BwYLioCIlrOpU91xfAJs
OGC7ps4pXX/Javmz4ufVxr20HSxjN0tTfezlWgmivr9LWcOAdqQgQZ26j77Mos1QkppTLELhRYVV
f6zZeiasUb3EOW4hSrRRzJ3ZlwsxNG3rGGa10cVqDDKQ7SVflMDEgF9I84J2SA4rW8hXrNp7azyI
UTkd2pRTVhyNyg6V5APdEmqlEGoC//pL2HNLVqtFHBRIScjWYH4IRaXuB7ErNlhdYuBVfsxkYgZ8
Aj3tJlEzgkeI83tJLC6Ww6cifkmaobTzJxMvpqFkxwDXgzIEkaUVLzkZk/uhA+MxK92gO2m8SNb0
W4+AgRCkjEwB8zmXnhD+OAtq5IRQ50Ym75K8AUYoCL5QdYzpC0Vz+nk4EA5AeFIsndSpHfdy8/Sm
1x9NCkomwtOXsuasQ4OpYiq/9/1cc9Gs3kuE+r2SzHVnhka3nTIhOfV9T4Diqm70qFr8eQEmwhLX
cszJwmlDJca51p/4kWoEGGMu+7zMXbNP4xNk46ERaQANBNVZUdd7oZE+pLEavDRF7j48gzDVvhrc
PmS6VR6A/ZrTqNVu3VAEdQbdqHZoVxQzzJhrgDCL6U2zvm69vC2f6vfGKVAu0ykVKSTF+IKbm+jk
0QT9I+vlBb6LsZxiFw7KN1GmotdV0IBGp++FkM6rwxMezaMSDA12C2aqruwg5vcsfMnWNLhlPd6S
JKKH1SZOzvIHHFUibsQcrvPC8d0N4udaSAemb5L9aMmfgzU2214EAavGAd5jSQWHcIYbU3LKdZpT
6RSqC6jDDL+itEfs5EjcKc3aKZLlu551hANzo+6mlNSLPp6vLZ7214STPKjCDHKpV+drVRRubVFm
iRlAxjRXdHl67yy11Ln1ucVxFBGseUWWZl7TrmtpFbOEBotjfOg8NakTP6/bdlNYVujgYz24SVI1
e0VZX4WvdB16x8pUL1SUH4tHQaLqomq2osEVhIwv0ZtaG738ZzzPRFnAZB/2rLTuqcY8UfSnrQQq
5JBUEVRPajqCiMBGO5X5XVGrjcbuExfXJQqyZt7M66GZjqifbFGHty23rU7Fp0JVtIs/jGCNs5I7
GoVBErYwDvK+Ts5o722DsUfilbwGznUpbhwfXmGpLq86o4jbrnmPF/bLbdfh0tcES30U0NBNnN7d
TpSfCKPqJVTabU3GArLm9taW24Wl8UwUQR/GGNEkOyoL2nyJtfcFyko1101jRrZAHxifuaBAJxLX
DQAR8DQH9hnkvV5qXpPup1gM2EXL5WCt60ZuF6c6pjKP5JHAxvU6JgZFsa0aUmaS6T6S4+QpVWuv
HFpG/bZgRiSKeyt9r+WtRY9Szp9lutPEB5vaKO5G8yQDk2QEiwDOVd+FgRAzkm3+z0YwTzGQgbab
y9fWYDYp+0umt4S2h3czxcqQiO4Uucnimckjz97Mzh3TQEiCSP9KpeuQHpLel+WDlDJDah1nAcrJ
fKTDsEGWpBZoJhD3VndxKjc6ofYGHJ4h38f0ragRCL0lpg+KTTADGytEdi1dq+Y4Zy+tdTKg0bNO
g4sfnCzoiKOZpdLRkqCgFQhnXtPY9MaWZFMZgRdp8QJk5b8YzH5eAGv4d3gWc6m7il71BI9uOgV1
7qCYT/p0kBAsPLNxZWci6RLo0wJEhbCsvEXyetq7AbLKySGvWDyzU++LctMNlc3uowkzAs3X8FDx
C810DYFN5fAWjaj+9i3BKWHWbiWdA2OpnorC1Te0/hxNz4SL0leWxKKuz22XwgZ6d3LqJFjyD1ME
3tgieKaru3SCH6U+PCBg3gD5HUfLRhyOIjhaT/JIKNwGTEGXbA8KlS5/HeMfeXnMk6pyCiMY8Qpq
1fc53UEybRRkJlPDqi5mXzGQDD0pBGv4DTvTb8rONeSHwt/McZV4jhP1TKGbTAPIp2eqTxfjzKhA
8vpEG1OAITWp33AYpL1K7Qr5RV41uya+5FCJ3GvPtdgk1JEN4cEw2UZ8XoAcOU6lvoQefYnMbcr8
b7uec/FYhOeOXiCUfzGMUWsTd8bZScRLF98kmvjFk+JpIyGtMImI71wWSyh/U+BPw5EpD7vNhUM8
nKLBqbUWOewxpxlnDBmHXIpWGSC/uxGAdWxq0Ut4qcRwW87TTmWtIMTMDPdJw0PVMJimJtUetmEE
otFVi3BgADlQGBl0CJU/u1CynZftTLzs2PKaS3+6+NeMyg4UNGbGZwJKbzX0KKVM3QPelbwtEeoG
hfmcquayIcMp9hFJ7KI2bcQYcqM+GqQVLqb//CHECJH8K1VoB5qvCcouqhvnOYv5lMLMM4ohl6Ok
LkjfsDoeFvoqYwLCButU6xit7Ags4/UQvDJbI/hWprI0hmtpILcjyfIwdLtxDbhVM+UHOnCTSosf
a/qhL3+s8jtpAKGlX4GMasm6oLkhRGKj6w+hSTyRlBQCY01KTVJZOrB8fVPxnAirtIUw2pTLpzTI
G0u6zto7w6ZBD1+7EgaYUxI9m/SnxHXbdgcydTgTanvlIooWk6vqzkqe2/Bs4+KKeDFDE/OZ5XBm
4b5TTopyzvqPFCJcq1xDqr+UOWObxbtuOHbDttMPciI7kkYLXec+toEGaiS1LQBYmWVUV/bbT1E6
CBbTQJkXy/ExKVOH675GITEyih2LraenBwvDNtQijVjCjDy3aYAlmYwZqSbc+WmOqrzOJZtbe+fR
SoYGAmoAbN3S/E0iSXiOnSdvU52aIA5PpQTfQkZk+55GR9N4jLBw9PkpAGbrPh9KekQPriTXBFPO
2q/Ga0FAc3hLtWNI81reYvMqz7vFekXDsbYvmnZs1De0MmKPhl3hbguqKbAyYrPTjMmpBPmBn+gX
s/La7N7yeZLty36v1LuYUVTVqddb2b4kv7ASa2qexp4jBK88cd9xlVDiCRNXaF+FP1F4ywaGBLdm
fImnBfT9SCpk1julfm05H+BcY8Rgu7b2ZVpqHB3+1mI/oHMgnlDxK0Rqa/oijzC/G93adaQ3Wceu
3TbNsSx9ndjiZz3J6tjnjJ1Yu6bbGQLBwLtM+u3LkzwDGf3G4VtibBHagPTL4XHqXJTuQ/qY65+T
ubwp4SmeH1r7rSkfKWZPg9/rREIptlTF9hAeo+yQdO/jCMv5WmrMSG5Z8eAToNMH5EdRcWvGqzx0
my65JOM9rt1ShnYYjqV2TKS9xIs+/mQEPZrzuyJvIWZHFFSlcU3DPReAZxoK39JIzHfziaKJoCo0
ZGQyon5g6JIiF5u61raYqNmQdroxhtf4SSjsucJw/qNyNof7XO5m/T5YN2H8FuXTpFyS+kiKWSlS
f9ZIoY6y6GnqcUT00xDW3lLAPPms55DfBiItMt1FoSYavUmM0NOclegjz99lZpdNJvhQZwhFkE07
0bopJZQnY4E+naFRbFvDK6aMPe0aFz7TMUrLBFrNaxQMRjA1QVeM3NnnQj4sqgvkThNFjBzM2l8z
8Li2lfwaqjetYt7oUVIDdIduRSQzAhYGYnUemuNBK/d6t5PGx9xgPal2oJDA8XDc4ZsEp9wG4TPv
VP4by99ufkOLEfdQB0FPQqckPldLWp0EVaTqeMzZri/hRdVNhp+SsmzRty7GY5reZJX6LZD1r6Y+
qjo1mztSuZRMTHY7c/bU5/MD7cPaeKEiuIfmuZSuY3co2u1avRYCQsOdmHmF6ZuGryHmY+APY/XL
Wl6WbqedFHb4liHoEpp1m4voMy4SF1B3BuOBXkxK4a13unRI26+aRSZ4tcvczvzZlOfCOprSIQ4v
hgr46HbyYU7eGk6CJD0sRjCjDdzQuVs1g2bMsnHAafvWesvST8irQf8i4ZSwJcl84Vqny1ldTvW6
Ta1TPP4rmFcAf5X/2HTmjpfolhtOifWkXN9FXofwUjRBU3zk2r6rOR6JzQ2a5DSg+FHS91b1M1lj
IuJmtHtx2A6RUyEvi88c0HlyTpWz1JKW7i3TLjyg5rL6zs6zYwJVqO2U+SuePtHpol/lryK2wDDZ
Qs0TucrsasZJ1B8WEiMj4IKJ8k+XfHIVEB5Ggsez1otzInwO9bHoffHcin6huov+QA28otYU9I/B
+pG4K9Sn7gkkrktOWYROPTmFurt2p0J+aeNnufzWx14k7afkFabAboobX5L0K/5vaQ6Efm71a2K8
Ck/Qi4YuvKz4F2YvGQcrxwuFqbYew8QkjF4CIA1C+ZDRPBGmZzZX0nIn69zKdxpHrtKnUu41zS7h
G+UDzzQZNtWKnKc7hNZOSd7y7obOq4sfo7FZqmub/cXzeYzP0vI1CxXz1kg1x1dGKzd6FjlIsjKm
H9v2BZWjXh309FVNfbOkYqyCObvP+bXoPuXpDn+rqODHEaKxR6482Nu7+d5Nxwz2txVvVfso598m
emGTh7RsmAzQXkr5a2oftVpAQjWaW4YD2p2nnIS5xKd+3tdC545ssMLpofnUh6PaEpRmlnYzFIjf
ziYkdMxBeDJBKcIU0qIKRLLG1EdmmZs29cjuMwcYcKpIJLc5zHWvLIWLnvEp7g0r7mgJBdu95HiZ
z5V55nWu12OeboXZpfaY05cshxqwLTiUxlOt3Upc9Bq/UdXUCAmMfyLW+hyOSHVq4cAynvpjTS0z
lV7Sf1TaZiCSb6GBZi0Yr0n5eKpjsz+2rJT/9y4g2A1JZ4ZuKvYi873LZS5PNAp1us0oP9S9hVdf
UV9XxJ7mqSs+IvMfBw8bo2G+VZRuHEdobhHEyuPLnP8q1oWtpFE442xAlT6mv1V3svg68Di7JlhF
fwEDGN/W6fO5nRh+BE9tXfj3HPmDeqvYWqTXvvWMEZVndaF8uZbsdLVwmdJPPd/E2ADLKoe18pch
ro9dVh67qipB+EjXsHtX+WaseQTvgmJuU4li7UmLHFc2wfqeoZ5PAmBA5IIGZDYrMHQj+rBAx0co
vS71JwBFCnGQfI8oIYpb3+2ndF9bHxYxqUDU81WYf1AzrNNvlO3z1hexx6N3thX67bnaWqXkeFOK
ZFEJmc2vR8pkkV1QLWa8xDmaZM5LKzcfhuqrTXSrZfj3EM/fNvkq+cdM1wB6YiBCuKlnLKE9iaM3
LimbzbpdCkaTanNPVNqeZyD2ys7CR7tA3DSFnZ90n0YRv2FFPW1NKfJDCB9GD96lfsSsyPj3HGqT
rPzYFzCa3F4Z8lwzNjaraTJfZ3HXKshHb+2zGi7MTYKcVc+JCUNeDmoJ5ICYSIRq+jdqpHq1SLw7
hgms9alvUzd1E14NE6enQah2kpqIsLR1xy2d+Nn4ofbETfdEO/7qWUfQ4oeUBBMrvttVnUtC66Yx
gkPa3dr1iHyOhlg1Hi0JmQQnttLHKN3Z5MXIkarXkSVdhT4auHFn6tu68JPpBYK/bWlAbZTKpHEz
dwPWIgaoZsv+F/V0LKH6eIpfJvrbZG8Mv8h9fQoDAMsSaeDwkVfboT/rF2u5IYBh+LlFLWxekfdM
9NipWZ8Eq+n3ef7UQaszxU8AcT72ha0l10b5XhinYCJEkkWMV7Z66BnQuI01eHF56t4r/MAJd32Z
xpeK1kRhnrj8buOzguy/E/fVtNHwjSFv3iwP9XJbmxeFyWmK6g6JT3nAn8UZqPdz4wpYzltq/ASZ
XnLMYFLfpObFko1n+c8nbX4U+otmwIEZh6I/D+mp7vY1o65qcjGWm7bc6nq3IHpluYZ0cPUD6bAg
7A3MHeVFJ3KGV/DQE37LRyarouVMJPaVBvlJrCk0NBUS6E5JXplWYx5YunN2IRQ30h2Na715qtoa
x0DaqX2p8V4dAqXdG0UAcNekJ43cILbT8Y78WZZflnx9ytazebcqQc4YFyzah6UiNv4ZVTSSmAiA
rrTTYWTgt9hQHhvsmOtxZCsUFJprj4kGNYGp8Wd5mzPwnHjUDdDilumFzvimDPVHmq8P0UB8OJYC
Zsglg8wLBSECP5R11YURVxX35KpnRCvEZuAM/s/OYy4naqSZdTW9lSKU1x4FfJr/LdbOms9UVlPv
s+uV5ssTwErL37KGI3wCNdVlzDCTOEzt1Sr/lhz88LN9cqQwFXep/R7XM9aCo+blOcWavyrXfAb7
ORj1SWo2CrFqA+znRTe+G/Vg/THvzteYmRxXl62mng0mn5D/eOHgm11AxnNcoMU6i5HP1LMmcIC/
TNT48l2e3lCshg0qDw+kLpteYmlnxPcGGFx+G6kBsqNJNyu5NZou4Yd7wQo1N0Qai88OtkoTdfCU
/YhjzxJtjA0CV8Ilx0cu+SU1y3OoWftWu/ewQ/DwIi2fRfoQJgRn2ARXP2kMhB675CaPtK7/UHm3
0nWlXtH2tCtcQX0+jaJPTTh8POW1TOZuao02Y/a+Z0nx64l2gbnvXV6eypBonvbQjW/DhGo53c7M
JSwMJp476U80/byEvm0Dga/KH4V4scZ/0fo2z49auz8lztlNqvywD1bLzb51LejjING2Zuph2YOQ
oky2FUdZsm0bdPSB1hzSmk3JzxcHm5OeTho5I7b3fZCFfnLpxW2yvhXhA9Q9VT/k7GANN9Xy5foD
/6lY9nVjmwsXslPa+mJQ8oTHenKMYs+xQxknGS+MEjEYpGuM4cEqemJxiNhg0YvItc1QqKQ7wnxb
5DeKyrn2C8mr5hpSEoJ40zPdILpRcgGGV4fjrPqcHIZ6FDr6LiZTAoSpS/IKK9q7mTb/lGGyzdCj
bJY4ZfMxjEcR6uQxjLgTNHgmtu18LDMayoizpnTE7mjUN5wl6JVLSDQ0stTdpRh5tVo/VZ6bdh3s
+tWIZVq/EImiyZwbE15s1mHN3gSKes+Gq7xITCsYr4ZWbFzkJhuZ1NVG+xkUhP+22TpDW7+EJrAw
GFhkjU5hVVtDn1yKICV9ky3ITiQddr6S0ETbdNKqXdibNtnWG1SJkeJZuo+GnIisAYFHzPWV8PIJ
YQ8xpJCWwdanPYiryFhWLD7En6LVNnDK7ZVkYBrsh9mJf6Gg+uAhz3+F4K9vk1PVjwrOz7hQ8ACy
YmNodhIAkMXSvQGfNmXaWEZ9o+STqg46fOzt+zogKkCBqLbgUhyjhNwBJ3UONYgZ/ZMKxONfdfkz
QXww986my1bEHEc4gl64UebXr4KBMETB7IC4ZWPdqjKjGnjtIMDxOLw7iF66Mm5kzh4nr74FThdY
IltAqiX8RlbmYADmNiWpOIBhnXUemKuoT2J7bKfcLhhtrS9ryCjaKVX91rpQD02m34rHGR1tVNoT
E7syoPGCYVmk35pnVjBsHGldG4kDUzY7T1d0RKIUJtxoeYbtFu/DefaSIt2MImUrkpT/x9F5LLeO
JUH0ixABb7YkSNB7SZQ2CEpPgvfmAvj6PujFTExPvJb4SPDeqsrMUxXHLu+7MKVlw/FBjmRXsRMj
7HxXJhfU4JilPivfqw4f+IVM9ZIQMYask2PN7tQJk3nBm7NW+X7FEiuHg/WkAH7r37v+Wo3PiXht
qa9i42mVP0m0KMRHxRxvTNibMH7nybGyXl31lNNbgsGV8R8PoFdo7bEO6NHuZvY2QqZaKoM4+Im0
JUO2zzknuAkwXjqM4msmc1b17bOHbZCtFX6oRaLse/2YjmqGBZekFYaAUSldEX1V6KwqjwMzqcJa
pfbDOaUtXrWQu5bSUfdKbGYLJu6R/s+uN2Ymr7KsWQYUKbn+wDFQooiHXk5AIS29siJTvG+rSxW9
DA4F0jBU/VTTrUXc684Z7WPyDLHYZ3xcqwoHpTd/xWmksOlZbkzUjhDn6OL6CDUvYqKUSG6rPRO8
d00crtOo2kRxfCoYzlrGZ0AubQljabG0uLcw7G/wuCHs1hv+90zvWZdUJ6HFOKVetQ6hsKBdRZ99
9tFjBvE73xuHeIUgswzz1mVg0Zt7VZh3swkPFYPOjvkHc3BGp4G9EDVPcOov+vZgJexdOA3pZjB5
QN7M6kGjvSUFxnlZVhekB+I4DEf8nrqfGFBGiWT/SNldzMk1y9koTD1Kw1qNcrxOW4AfzVqYZKqx
FFni284kt2gf1sQyiz7b6lWDR81H9d3gkVA+anvEN9+vOudrSmxXMcEqISvRCo0kE43iux/8o1X4
6y5DUaiwOlc10Vf2Rucpf1yOR+oEHtvR+adb5r1vxLy+utkOEfHMoifGBwul66O3MBxI1cmrtAm/
DF11M3y0Kj6qwv9R0cpL4+rr6apUolWAZyxF/lAwmvXKkZ1zdOvVNisxw9t7OX9Ytb8ucE2wDas1
nC0/WOtZBy7katvjTRoMsrF6+BLkUibHWJsq2Uf8a/NLmxKYLPfGnFyTmtHOGbn7iUufxOQ6oThC
oR2ih5KztJbKlrItnUVG3JPFspZimHwC9zQ9kqS5cyqjcSRX6f2FpPtHyi1N8Nl0+pp9AEO+1Tj/
MynYIzdINq0+dnEWR6WWsm9aeTfqEuc1S1yL95RJd0ejVmetG9Y/slwSKYFJWJyUgIimHbNS3dh0
NsxB4PgtRoYI/7ZezAEBLDRZRFVIkaC9lc3ohqiXcvG0G/gm8aXvfjoLByatwGhhB9S4dajfncp2
F7qh/ppyu+eE5DH/aUvex9KjsmsS41FL46ptNagl6lZXOaV8GtYBO/k8aWt6Z1E1T0ZJtWqsm1ZZ
MGJT5nn8cGpkdZFRODbzV5J4kaBjYt6c/0KpWFjDt91AJpb9i9OVTNkaHOxfBvQvoytpjud4h9Md
cGThv7bgyaKZ9gQse311CDiSsdxrnEi1fZ/TYSKN3VlVjUJ52Rr2HUTatCy2rdPx/rkh3rN8WPnJ
54hvo4Hzn6Ybh4SthtofkqHT0k8IZscRGbNyMfJLwXkSBwPsGzLpwkoZk6K7GsSl7f4j7lsv/zPM
eJmZg9tbHBkRCICOlea9dJVmTdz4tQwNltwtLgYdAbDHGXYv+/RWo0DKXXgQCCYqGiYaFaKXz6Wv
1mdbuZd7brCosPmYap74naoRYsQPUGjmZWgKr8FJ7PtfcQCwkCxpYoWICRepIccldjFsS9eJY2XZ
YrzNY75alsANb2QmnRsvzW+Wlslf12+P5nhKMS6nAqaJMD3m44AmcHLLXoU0oDEzLZL3ssX0rIRH
C8NJPN9pzjFx0kWvZrsGgyQ4cXSjr5S6PkycJS7ajLOMYgGssVg51MQZF4mvbKjKhzzZ9tkxnq3p
gYVFpsycdMMCt3zhONo3KE13lrXmOQ8uoZfP1DUW3KjEfoP41cUc+XA5AuYw1/mjqOY4GZPR+imz
hsIw9pL80No3pnucixZxHztvDvq/sAHRSddLjQ43WsW4mdgYOAsNtcj2WbSZlr9NyWmvsYoEK6S/
JnPHGCt0JZukSfyySe0W51qwOV5a1dKHRvUSczHoyFHQ0hDBrfpgyLuSO0Q715q1+CX+5MoGwD9D
GS942yQIZ8ucUQDEAhzHCwrmvGXj2AgwkfWszaPjbu2/hfVjTecOt63AtJ2Fezv4lrkO0/Qjq4+x
UdAzSjEurvqeWkgIgSSWoKJk1WU2h1ShDpwwR9XfLXVuRxa0F+FyBFpgcc9qRz0ngzcV38mUl0sJ
ezSUIuNc5eTgyVnkFS5hAzCF9T335MyonAxBvPMMEOUKDRX+AO7lbCc6XhBVZQTGxx7uSffEnSgR
/mTcg3e8Xg5wjIXkVrwi+mPqP52iHDcSptZToX/LBrBMHYIWb7cjpoVqS+sBxA0rnsA/TPHku7iF
3E6uwX5GrkGsFZq+DOuMEz+yPH5ERpQhFrBxCpOOkpkh3YmMrpaQ7lzUqKUL0yEL3MpC3ECzbR0b
+2ecKlz8ceKBRGOXyBhj6R40rLiIXDIF8GCqustl2RJGXYAlWvAl8pycgBbuYKX0prZ0p2Snd+rL
1mFwsZsBMTC3H2NG87LqeZ6VKTkamDodJpwxpecUsPmcyHzk6ERXsp9MnCh/vzO6KuV76j/t7Jqb
TMDkg9QdTBnTQSp3H21AErGKuno1MKbpC4chipHMytv4mDLT2o51Fy3rxNj1Qe9c83F8QIHdZ4py
8IWkLg2B46H4cJIJrs4X3ztbtpdjpa60SHtEmfqdq9Y8buar70u1NxDCw7a0KOP+Fc+UKauzFr1M
nxWPwye8oYXSAu2CS2C2qGUFMcFzQHGiD7/sH8Nc+ttS+VgGSpVquzMbc6r1DX3pSDiCziMJLYYg
prWUR75Cfu87Cw1iATYg9qSXDOYYAwXrWg1JlJrVD0+nzvr4lrWRdv0IYlM/MaPVHYxaqmxsmgGw
ifM5pjhs4l/f2MjmwLP3HleXQToRBzfMk2qep+4QBek/yZafRX20eNT0+Zm0ZNJcQDh//GDYQJww
SGzIm3IeKKbTT8zWxKwa7xQIaUeADyQwzTrT0taddBdflC3eE+mTNIM7RNPJiUZPsLq1YT1NwrTc
eA3pJSd8/HLSUz4wEhzUhVU36DU3MU7vhhYdahm3iqpnbzYmh/WgyU8lUotj0OR4ELCRvEBXaZpY
DdGfAYa2rnCRP2uueKKgb/a4h4O7lBscGw3Yssp0gPYl7VOeQcAq8XYxdir2g7Kkjhk2UHJBJKQJ
5l6Z8YAxjR8xd6UY5M9hUkwOMWG5ZhBt1eQrCXS+Wv7QchHS3fR1xJHR4RNPEvKvpT6iGA7P0aBv
RbGJ6vpfM0TvDWVXVzzjKt90FfEhlccu+Au6ezluFdEu+lPY/DCx7HUMHhUlT1MWO32KjyXuKq+z
zICguLOFE4v7QG4+ikChto5LtDQzXnUGVKLEkj9HPdhkqYmrXNkVvrqcCJHa3UegnCLpXFb/fKas
TV9dW2Ur6mA65pr9MQiO3Ko1sHQJfNENMLLSqHDu0iy3HS21bXM5NZL8EWpwnMeoY+uOT12no7B1
oBB5ZSzl8gESZ+lNKlmuCqRywgnvp8umZgjmuxq5P6u6SManif/db4OlST4BfirNp0Sm0XOUjdp9
5BxV2exermbHTL9gLWGKr/OPzYGLIeXRi+9d60URUAVPMCkIjMSr9Ohlm+TdB1si9xjSOfbSRzZU
G61lFkmWtaO9Tc8aWxDCqds0NBqZ3r6FA4xkUFid7fYp/bEyrE0HlE32GCXpx45p2pW5pI+zmL3D
/MgcaBiJQGbhcXUz5OQViHAlFb3lRbFzTBX13MvNHX+hW0AYCgJ/Ma7kCJN0zyy7gmASePGIf7K6
9P3OoqXBNoq4YCzV9ruJt8WfUJJL1xMGG8cqcrVqLetAPpus+S07txneoRz7vWdoV8O/J/ykWCPZ
CrskMhcFb0Yn9ul8bC3b7tbVn1J4hQMwfhTh8D2NDhgIaWkHBy34MBtPyCe++Et6aWZCVAe6dNZg
d8XjNU9+JOsQhTk+921Ve023D8xNWl1k5xjxG2QvTHZVt7GjHyVmbJ/fBm0vN15o73XmnqeaJJtQ
kTKKf1lofY/mv5o+w6IQhq7AbKkjRTrHztIfZSKcH1B5IiPBtlzrgfYrKHTA/CnRLtXtuzOqb4ke
/Gg9FxW34b0BO8n5EyHKhL7lKk3w0uNWh24WvuTQr5eKrf/4DKvC8DCq7QJgc5Q8B1R+9TxCYB6o
13bLKfkpUxgt67q49QRszyM9ju27Olk97Bc2HS1D3ORZJVcs9VLIIiau7ja7d1ZGpJv93jnPAt0s
gpTR8cEaFr/K7J501F6Uqg9Y16+pJg0M9x2sR/sZRsoh1b12OpjTSiQXCxZN9DTCDYdmmO5s7TYO
T7g7h0naZz7j3t/IcaUWhPYOxigpSZmg5IgWuXOSqzPd4oHh14edAvv6F/YX338PVXASmByMp+3L
jynxsn4vnE0dHlG4UbwhA64jFXOy4ICpegv7KivMl52yjILpXDfSHoLe9CLBNixUwYwtHI3zqA4b
hDaAUCwGgPaJFcVeky6BYfMkWopknvorNOFk2ILzLg36cPmYlCc0pht1EXNUkds8m2soXM+yl3/l
Stz4Wxd8UU2AI4AnlmG618U60VYFjvvyUtJnBu9WcDbNV22uy/JPki5q/JZHvKR0J2v/UAK0+Ige
OLyCS+nzwt9EyWH3SDUvk87USGp0MId14u+SAdsEr3HdiTkzrKfxCS7deYhqczmlJay1CtqxBSWh
ChknWcHFzlSvUVqA5gt3zN/DAAjc0TTQYbx6wPVsI9jhARbeBK5AfavD38b0pMSD8NcSOpk0ZoUN
tGJTeaUh0a0yHHEIPWTlkncHel2AEMiRmHFKDTzGuxp6QXrIkLjmNjzcN91qKvdhfYmUUysz59pI
5TLCKRrc+DsH+imsPjTp2XWL2sFq1BrlklHo6L9h/3AQzh0mIxNMv2QmCzEkjopz7H/Y4m5g1Es2
dbLBoSMbt8j6RnrX87OTfKDIScq1IbQEjEsdTy0KrfrbYhpBZId1hSemE55RejFynLFDGZHyXc+X
aQava6dxnO5sjipwQ07Rp09tlwACKnFx4znjiicU2l01+cMkmZbjFxechHq6S9QjYWBNPtgSPOyj
/i6pt94+hsF7M77I4qN1rszScTWsdM5xqm987CrjNxQvEZFsAfma6YBUFLxufIjmcF3X1k1IF7Y7
qwGDFS3OPmzdrZjfWU50ACIoL0CTP+xA27AzgIuHryFfuKMfr+PpTYc4U60Z61vm3rKYP52saCOk
I29Zm3llBFRJjBhA6KcyJnkLIIJaumU8prHObJzL0WKRjOY9roi6mPEb28+5E6XMzQ3Ro38XRDMx
qXmWCncYgWIZMGmjijvG7JNYt5F2HBnyLrT2q2C/UqNdGLoOrFW2+ZhibgEjOen62zDCvLz1kxfW
h8TeOOaTr5fl7KO4+Koz458RKcwHmGGJNsJvmJ6Y0OU2NrmHKJ4TPQCDqyo8+XwrAzAJVvXPqf7Z
U7JPovxWWua7XhEpULrmGktc/PiFclW3qB3UTW8/qzjbMDNEXsPnlCP8RYhIk3YvIZ1Y1xCVsXL2
usxnuwmGw1jdS/HQx+geRCyMVvDBkZQdj324LbX9GJIQEacy2nX+NZYxM2BE/E5nvYOcQcnYsh5B
RSVTiA/GQS5WD6tOpJiqwy8p6ulDQeoRntwZVfkt0jZaYxEtcO7k5BLy4MNQfZZ0GvG3ZIpDVDnh
UjKizzjHRKQ4HGBt8izKDNVZHDQW4iwJ7UUrodYNmE267HzWrlO8zE3JMNvXKsbhfxBRpIWlM08M
eNAPzClG8zbI2z73ymKfkPqc/+gK06WS/eHUSuxtgqOf4RF6POavXNJJBAv5Htod9xnZ34XQyxP2
Kp1NtgQaCsocqwE1pCh0cHFQK8s4xNeDds/X2uaIaunmy7w4dWAmWKv3ZUUuKkEvHhJKD9aREuuv
o19mtb1aTuqNLBALG01s26RFbZdoBcyioFwDFuiU7ThBD13xFzS6Y5HSH+2KYmvS/uj0+8zoNhkx
YyjNyYaRkIEdVmgHu9n0EA7fbO1Ni3Ylfyu2jFRYIFxeJAUfYrshr+L+3QG+sE5KxV1qoNEnJcIY
26DygNQhAbgJssOgemO0YuymtvuM5H14HSyiFbxpXKdiP7ZPdDjcIWEiH7LGf7CkgmENSqOcWK80
DvCBL2SxXnzKtnm2GoZFHeWJnFNM4UnEtmRerP4rMQDvYhxDEi0KsGSupu+5Zv2WCHh69ROQNCNG
6LWiYX0fPEPdLkr2uqQnUlzSt5Wd+NtButRb/IUgDzdT0rvcHk8ABTnSQ3wBck3mz9XS+2LaN4AB
5mYh16lzC4PDlXUwmHf0gZM5zO9T8cocIArmIlR3wj8P/ocaruSwmK29/Yhrvd1wo5oNxyMZWSrP
6qj31xTLOma2FqtsQF+EcW0BTcKzrLX8DHJM782CcAjz1OHNQjeZ28aF0f51xXKtUTL26y2Gu+Io
4m4C562gsRdYj45L+xyFK2J7XfSuHdMS9qS2LRlG0XpBUHXI6V2G/h3heUyWgfoCyraqWJpRfZG6
UIc7Evhv6jPKZ+XJp2A8Xxg/wfRsgntf3836V1U/ifeO86c8clxI8n6M/xXNOcyPqCacs/O7ZJdn
JhjydrJrmC8/vvSlXzgQH3ktvobWNcBcqdMl6dBn1wMZ91D7kLBAt5vSv1TiEf6FQMboi7tz0m3T
8a3As5O2e8onxZA80x7/rNWgwj5dKwws+A352mDHSzxtE/PPmQcpn2wWUdPUFV28BlSqK/CXgNMH
G9V51vXRTPYO+Wv1H1dd0oMO9J3hHiEiZsxJFA/OjBL/WuZJgVzBKEqC2IH+Ub6l3Z+cfeO9x/Gx
0J1fKoeFhWtLlOs0YHHMMC2zH6v/LJ2nr/wF9ZH7TjIy+NdcKFKGgjVw04s+OeRqgsGuze9xjelQ
Lz9Z3LPBnsPdrw77ke+LFOgbU8ceYsMfaH2s4jGPhKI8iJPNLnwMkHim179dDWvuLS1WwXifcWIN
w1IAK+9SsVIFG3VWDAb6kGOou2E/rQfMEaNrpLOcumAE/xAmuflvk3AS0WD90YnLxB1Y79dhua0s
5okniThREd5q3BbTZpJW6mfZoyFi0veZTsVkmjVSySm/sGrdBniIjkmdHWVYwGvxWvZqiaQ5uTiG
rQLFmOrHEgeG6bH2r3PY8HHQdEwA+j2t15UZHjogr8oQhWsywm++kWyZyL2b6SvDUqAdGe1oC7US
6FS33PbcWhxF+6xgBveQLmzJ1ToR8jXCwojahQ+MKY5rsOrJMJdKwoFHcw+xKmcw77R/VqxsJaZU
OWn9dkqxue6TWKwkpsSN85dR0bEWSe4BLuNpmj1XBEs0NssNYUQf0JgIUpOjbYLqYRlAm6PJWTPF
9Y3CXSYonnYwTICnIs4mp8L2S5tkW7knJ0Z9k8e23GSZnC3qjjpf9aJCb95HJ/1hOrWqu+9ssH/n
tM4iSyZaQWBdcXtFbsHyzzaRIMaS8aK9Tcxl3XzLurLEMKhoL2WQ8pVPKW7C8vJlAIFygSlQWy/T
OcxHh9uV9pHOzhWKiztKUYc5wLqkCShkbjQHJ49p9WDuUmIWGdusNEFiJifcQ3x0V+nhCsd/p+bc
UjmoFwP+ohbb65ZE9MJkpa87huMz0pgiKhPj56oN0nkmm1WgPNVGgtpnBV8taglvIni7rnSWUrwj
bVExf7NsZanCcu9IgjAAI/Co2jzv3Zvn2FxadfFMLWaVHdMh2dY5c2UmDpCGv006hdLpv3LsGjWN
+YH6hOyYIh2VhHR1mCCKWmJcZ7r1VJrmRCats8YKmomJkZaIOmMhBG2C0E3MOrAWz6dVzBNdIsdw
fHGOZWB6GrBRtsmlXht72wz/pBTWdte2iJJh7RWG817prUQ52X+2Iz2B3YJuKRej1nTLykE2nFLp
RUzzzS9wz8q9RqQaAh6CeNirhDOgAlnwUyuFx0EO36VSfqbYElll1QvnPvpfRjQfIFK2iAw1Xko0
TTAZZLNzc/BeoVmGyNXUJ+EBm7fJdupYSjFXS0SdmoD5eyk5Xlb2NIFwhjQ0gqpt+d2d+qjjovcc
fQ5G1vg6wqoY9glYDN8f2TRSdCRnWQMV0TQvKqu8M/K+Ts1gLdsR7afK2LoGg5c90aSzFVkV5dJo
xjcpL69KqiubVPl/HNBSNpSxfOVhNmQL5EYwYSG17V3gYLtiu8ivaOOKWRcs56GkuUsZj2oVgYWw
St9q+4m4S5mulh+FUirrZEIUbUFtJUn+y6OaEwNJiqMx/xcrrlBdofIjK3LgMHQq4qsKJiw2PtM+
AtFJfzs1jXuSEpnTdtRTSnPzXg3aVetvrXq0KgcbhL1TA9Y4zAM8Ox9p5rhxOoNaKKP27gYNy011
K286ckSedKBk2LTFqggKUpO/ElKmEvF2+nUMgxhTPbGzjAVcAFOMsO4AoPn2m6+qqjeME3fF/I9p
YkZeYygz6js+VOwa8CRlJyv1N/jzKYU9eNSrL/yS3URu4LtijeYIfU6+gKEZSNRe2r+BhSREchy9
OPq8hEr/Naxn+0r7l6mpCzuUVglew77540eU9U9Cx6oejBG7Ddbqinx3RZIDFZY5LcvSDJrSFp+W
apv7qlZXZnLo+28N9dOIKasK9PFH5iBJUMv0FYMLEhn7yIefyiXFFJJcSQHNB/VgNTbbwukBxKru
1DPbz/UNzROg7NYl5DYfQsMiGke+K98hK+IS+WKXD35ZhqDCMe9M2yZkEMMdOy0mgkCmq9OBNuaG
IVOFZV3Wbx3VlEhBdXUtMVe0peJkaNtK2cMTFTTwUo11jnRpiUH3L21hV11zYcFfTrhdbZqpSyIQ
4qStKv0NcED18B+EXX4zGnvBiBM5TsXbohkguOwUvfGe401TSwwVCjb5NfMuddWOX22HnpBnjeNJ
E5YcSUYXs6xin7NYJdb4h3F2zUjBXLbVUE3UfxoiyA9vKbpnSJjKUnYYBijLupJ9WPwEILt4Ksly
6AEfyLQ1eMDmZEWSfHV1sLR51lM+lAIbXQqPqCLQGxk/UupS7sf1DwbG+W2L1N/KIpvJWGPlBHCq
IDobxhpbYlAg6cp8fmCKy3It+tA14k2vE61TELSLR4herFM3RlpLlJlTRiZ4Ye6H6UhSKFaOunbQ
h4+GJ87h66JGb2AaF6Fzp4rCl2MoDyvHMLPu1U3Vb7V0NU3b0NjjVggWbcwVc/CHndT9GQ1vEpgw
bZEW71VBrHGTl3ucl0V/F9VWS+7Cgkl4qfSbEHucXFgYLbIT4YU4cqt9KVRkEv9pmK5IFstU/qUq
3shmn1rwvjumBuY1U+42aQ6SqywsWwjC+FNW4Xl5OT7u92+lPozlUbXPZv7wZWyenoK5Xr5m8TcJ
jHI4c6pG5sFSN2IKliPBrw4QMT/Q3EA1HdVDYWIqhLfreEU0W7kXAEeUL3m4z/ZE+YFh2W4+/Qlu
AWwazLz03kVwr0g5pOndL498GaufxZi/ZdEpc/4omCz5Gpm3VZ//+cHLyv5yHwIudek1FPpS6/8N
yTEOz7H+7Ns3EmWkkypOSOK1qjTLo9ANBy6Xh+jnDMuPam794RTotwr9HUDAAh47/q9O5R0maiKI
LQBN1s6J5Gl8USvnNY4nTX5wd696Qhg1u54y5zeTPCQRR3/icVUIIYd0codY9RL/qNZfwvjwo4um
vnjIQ/HO/2P5+zm3PfNtTf7cxq42TLEmZUcqvOzW8JlJz6naSSWb9xsX5pnnw7R9DEW9tR/y35kT
jtEfu1jb3DICRt1bUz6YQ2f9lXNSD09BeTXlXxo01vHUGB9xQ2qoWi/H/CrKV1YGdIuko46qcckA
FHfYI5IRqci6qigJn8DjMSnbyMWE63iNhvWAE/5BqhBtXfPZ27Op2l0dPBFhtlF+1vCoZocsf43i
6gi+JYTkrQyZC3+0wjpSZsaJ40U1F+4+qhlNHSarpBE/I6KR2p6PxzwF39BYi5BmNtAIeBUfof0Y
zB28HESJRQz8kax/UEyLQP9gA6NcHjQCJZ2rZesxuKuGWMQFfp+tpW5LLLRMizvEpehsjIDod5nY
GmJtFeepoevftdqqkT6ik43tL4RAcsYtaRTbrDjo8d5UT6hUzqqq3AjEd7NbA7jatfh5g11hcf17
Vc1YzavjR1l+kJmJ7H0VbBvYDi201+1UX1W+qmzw7b3B3gIXatODIvZ+fnlY0FZT3JjYuYKjHL9p
wTGs962FIfkIcaK1rzL6ZhgcTe2nktaStSP7VEYbhowrfUHYUDCUHIh2bIyJh3c3Wt4EyRvHxujN
nhWHQc+qrNA3zgqbUDnze5ysxWGdOZBO5nJ/H/tXIFQZe0rNY55dQ1gc2Ul2CJ64gkWMyclYtdjq
fi5hBCrS2sf0UMMHDdT/lnDdOWPf5aiLxn3ADqp6m+VPasY9+Ldnr3yCl08/Bgz6xa4QjxrNNNoT
cFQ1GI2r0HhSBBOCSjqvUw48WonP9XPiNROztuOTbx8g1vW9C7hnS27MzG9W/wcJnjYh4bPAbwSL
Mlpp5jHb5dZRsx8iXRH4Uf0NrjtUMqPYZOZHMG4FgyAYstrBtF0xbEnTSOpK7jfYZdm6hYmyizzG
czyYzJY0jzMoi1HNvDgmVrbGgwIGAjYcTiY/P5B1VbU7KTahU/VtohXGOnVpjtVWwdzW9cTn8XfO
kUQeE7JptU6QnczFnlGyohGwEJdkF4KX0SZuh+uMLemC3bzmr3PUS8qm2HFAXYOUTAXJCFxj0ALK
KD/rob8bWAgRdOCwzKn6LIMMJ0maPcXgAA8FUiTBtYF+QZBhQhRPAZxE/wYoVQbG33pHbjJFkOvT
aRWlD5dY37mJ3vrg2LKjomY2A14zsMuNNa8TgqSSu0WdrmaVI2zkl59b2P+xL0UZraNUz9v9Wj6h
RHe+arX/HYIJJHEiMdLM6n43NPbDpEVmlXXLUQ7NouLfGpzvjswmVmQqDkPxogdzRYX7kqhEf+11
sP2XklW+U6csYik314NqzCdABA5NeHD3ApdedEsfIrV/MqNAvT2vK9S89kwbeBz8z9TGURq/HEFc
aBAjoKsknKc/4UbFXutY7EkTZXvHvt/XB617Z8+oH+z6cheJlSFr+aJA7s/sut6UE2VWfpXC0dwr
+Qb/IeEDckm26J11bDuMKWIeNnJk27ra4ArR+43irBVc0uZSvI36Cf+3KIzBCx0QusSAq8lWthYs
f033pqKfrqqcFTe9UZOdocLo8/8VkngHmMhhelS71CNUZijiWE78Oy0pmz4BbWx/sz3VwwqIm0OR
7g5xORfLm+NTfAag91OvpbFi+9MAsVEGHeRshfHrwKkJsNTqzD1HgrFIqm1xStQD+fFy3PTKK6gZ
C0NKfS8I+mpKexOEV01/XLS1dvRrr033arllaMcaZFykUOxxgPEUlMU/gG0MTLQZYdsSHHqM6c00
Qxha2RanOmDOhkuV7x4CtT9+OBOJ4oGPzrP7fUDgLWXFqnY2SGCS5SmktSzF2bID37yMyFXK9nsS
7NhzyCPOjBDhqhKfDqZvxBEHop/jKxdJl8yvSflu2gjL0tPMhisuB1GhCAJCDt7z9pq0LCK46BAG
NSKje431P3AN013H2FTHzSIx1jVgbo1bJ/M6TO+zTpis+65eOw6lGUhAxQBp7nO0EdmvCEMIcrMx
cexs/MCRK6I3LGhENPN8mxqeEX5q6DbCXuVJiJn6Eo2Bl2KiShm1AKHKUYY4cyT6w+lDDYgebip5
o3Obw15iEwg2cRs9h0xxuzDIB0TdK7Z48UDF2WFXRMnHoGY3aehuKW1nJVTaWfxd5UqlwQYeyMqb
V4JrkMaeYZ0FUJZo65E3M8oPlDXreE5ZZmwMZko8/HXDMcnYtkF1cQm7VdO8W13JKQbAdBuqaF1b
a+K5lbKbA82lcEhIkg3v7U90MgTUfLzFDbSe7dBeKulfjYRUmtsy3Pc9cxxvDJ6mxewUfJ9q0+sU
AbO7zichq2N/KNpua0IGI7qlNXuFkztLNKbK3338OYy/efAGl5UNimwOpQVTWCz7r8QqN044v4Z1
j1tRglJtcjXM5RdaU703iPn2qNS7kAxiyWR0YdjXslrl4EdEuMvqN19sa2ak8HVLM4ILPTb5voKc
qibJuv7AoaStzHrF3BVxoTH9vTOVV0fZgf8VNRrRJxeDH7yH+UbMewaydO0r+EEI/bfnef8FX6W4
R9BFkDDdKvXs4u4wRceymSn/cXReu60j2xb9IgLM4VWicrKsbUn2C+HIWMyp+PU92MBtXOCc3vvY
Elm1wpxj7qLmqiGsybMP3TShOCJ5RNMenuqmO1bKwM8WOVANjY8WjUFHLGl+TdwXK/nNzEPgMbPd
lmSPof5kiToI1nCu4LzUeoQGgTMcmpTkJacJ0em1x0zMzk8PSzT2b+0Gd2fBXtwf8lclzPH5Iwt0
WnS/+GctcRiUq6T7gJygBi2jqr0Au6laPywZ6VvV1TicAOIT8O6N7znnU8G4jKw52khy/ViDMHIM
hB9S00gLLDyNoB267X5kRWNZ9lPJclgz+raOaSmtQvBksj0WjLODUX7gOFtOSzP5cOov295yo4pg
S0mTGOBdTipYIvVVn2UC17DiRL+hfXUC9DAbhiRofiByHWJjg07J9Fb2p6OCNkcA/MjdU+FAJXrm
aF0sdpa9P9X7lFQZgZjv5E4f7ZQvu/IHNmyIHSZAEoipU2s3nrS545ic7bvmi43gUP6iScpTDx1Y
dmk9rLDI+NmsJZBgauehj2CjxkpZFl54GG2PybhcUjNZ4TOvflBVIPFX6mOWXF2Kfi044MhAg05T
DueNgKuVOx0q9aYAbEWEtwhtG8LIexwsIGstW/SRGT9aqxy78Ju/IwXdID00YOJTCZ5EwIA1XMQx
sXWPhgxUbVL93OBbiD8s/GFbN0UrmS/jpPTlgNmKZJsgQ+VYQhZKaHLfXEINZ1hRK79UjvjGsThQ
2mXK74db1I6ZY9ZLg7GQmt0rFEND/Oz44J3wzFRpiemM5T785Hw1tLClDCwIaQOLiuwvptNx+DPD
egwKIJ0VVOGe6fD0HocZHYhLVEhqPyB4lr2NZOel6L4zIiqzgI9F4AAzYybVGPgZWC6SyDJ3VaZs
Ror6EE+s0rE6ocChhQedXfJSd9M/DUDPWswYyRpdPLQJxXpNyn5pPB2n2jdGtgnDP1Iyg4WheDPP
a1qq3GUePYdKs4P0mkYzxZ5SepAXQnPdhfZxsuOlRG+mzcZzAOgxpaHFrpVAOTKzPEaCT7f7koq1
Fvy8AjV3zcaq4EgfGTPVWApEU1OxNXTIFi+47UMoX/bTWZ8QPMY8lyT0qdjLgAE0WsGHaiE9DcPD
QHQkkZtMd3Nf570z4MK7N+SsGzCTPlnAPgyGWM64SKgKuQV6y7FO2C1TVIG8dLt1GOZkOmo/WeaG
KM1D5K9g+gwSXkaCpxA7q35pgtK854zdwv9XB/G7VeO/cvOrHUo6N6C9ra4wp6eoC40zSXmqXOmw
QFkhi63mRry7UFsT094lDrFFMn8v6l2dklQJHccwnG3e81306qooEUaUMDcaGX0nKs9xyM01dsVP
ngyH3m7ZarbntOb5pgGbKgl+yD3GWvqmygIon/kH8u5Vh5Fa69fcYOJAlsF6oV/0mZOW5N0ahB8P
5jKY7k6vYXRVz7jOFs2xXtVuCVez5xwVDyJfgQJCQ0SmeuyBa7egimEsZxD5J/6JalgmAvK7/DXj
X7VrVpG4mCu1ZOio93yTKg/5hOmDqKqh59vaV+phbN9i3m63HnzZXAaGe80hYaaSZl/18IsCShl5
HYw1K9gg29n7grlcWv4SZr2U3AbdSAQmm52WfyL8YgrWlNbh6RmRZNR3FK4FAFTZek8dETmtdRdT
B8pgz15zslkmUIjpiTxHBUi8HOthigWUQtBRViqZEczDBm2ktz4MFBMq+hi5gy8SxjjGo38WEiq4
kVPyr04x9c9DEvRy6rznpZ0ons107aZPFZlFnX1a7o/0TGqwebz1T+meHXRXQyHdPc6pGcI/SX4l
aB33OmH3FjgcQjfaWTARAlA2Pat/nT9g8jWl8TNF16qk0bYplXPSAg8mOshSsCjyOd0CR3u3HFJ7
jIsNaMv2RkZfQFA/o54QtEp+uEmxgK2N+pEsGTz7Y3IBYLUwEkYLJ6k22G/cFf77vQN7QKUOqxh1
OEk+v4OrWfgvq1NUaCuDqW5aJH41WPh0HIglEBFGAuyQKbjgfPu3siRutRZblcqKXL8+3cOeaIn3
7u39EP103Udtr4rqdYywMS9wLrcdpAfD8OuoPhfZT5RdKsTOsrvIiDPacRYVfhyBv8p0uwMkXyIe
NNY58VHDH2fH31Hg+mP27AHRxYDW+60Ko0mlPuIYC61+aVcBO2NnnhJzQN/ER4uEqwtSvDtYvWtW
UME+4upIDVScbL8cxpfCfJWEICL3XVqTtzSMzwTdRM1hG0QgpuxFVf8Iqm8TBXLCz+7NSWA5t1GJ
Xr+w5PZUmNcxeQ8UaGfz/pQcmDQEj04WoEaqiNAfVPbgszJde9FsUijC7xrTTN+8FPJFxRo60ByE
/YiQ7a1l4S1D0sv09G6giu3V0i+ceBHqVF6kFoTtNvKsZ4TZwZQdbAH3FpXtC3HLR0JINxp9zcRk
EdcJJfK+STJ/Ns8K7Ew5WrGcuMYKtocTAdLGhWoQ9hKBNjBx8zcIFeV6sDTMY//KjlVsx7by49vQ
VBJVAxzrk58BoyAyrseUEbh/tR4vHUyomsAMgoqg+SV7VT8buoXexvIJlxxIKTQgG439T1yRg+e4
S0v97lPiMfRiF4XjRhamf2mLZ9G0/yjtlRQxJxfsQPMDbLECPKIrOxMzTyxB7IOIwu1tge10Gp2Q
Ki63geWonC1rkFMezHkVA9cGRD44V/l7SrvctziVoSOV9oG5uxf2fgnyhxkbaWFq//Cks3WYoVEc
O/EyREpn1ZtKK/m0U8bZPB5gMPX0ReV8Gajz4fVwt1ntZyI4UaxgzfmbRe1Sw/9BHFMyvo3hM5sV
uh+trTJrQOc19yxsSUpl4EOdMPvuC54JsFfCuw8eXpmvIPopQvz6d0G8pQUpdDZzJ791RLQkNI4m
lwRw177gVm96bHKpvELZXxq4U+f8DVxwbEt+R6QgIPzJ5nlnjd51ll/BAYLAQ0r7ZuAdBQukUX5k
6bQePEHpzHiT19R+IN9IJp7sPcRQSJt2dCjwnXotDgymoAgSit//Zzj8tVn1rVJoBpKQtuE2aL9K
TJjNd5bxL3qgDAh0xP5BugGTKlCtzA8agrlS/n8/v12WuZ0nqvx3pMCdvRzTcfAxL7IVefFCeoKk
82vkYEr2yzVUabexPk7qXuRvGVRJWEMQilBb8Atn0bSyyIrVaX09+aFa9n6SgJIpcYhsLlk3WbjP
DL56xe63FlucwpuVyVRa7JpM5TOZiSinVFfYdT+i6iCyt9D9dlmWNFUCaPejnN8kNshOOGzcaqZ9
DiN5OhZrl6vKMF7PuWFQyI2wD93xqfV+Tq0xVAqm4kvF2jbkjikZJBl94HewuYNBMqSE8F2d3fSN
HTz8T9SeLJzELiJ0pfg34dbGqIgTeku2aUjJZRiXHsEaOgKdGqhC/8NrGjUPp0SP4rAXIfYFbRjj
8xaV2Uw+tlxWNBDSU4b0FTsC7TeaK18k82rAYCkCTEC1C3p+dEm9KSki04eXPFgnZYNgSUbqF0Ni
92HIE+6fusHU9dnZzCzq7xkIR5No4PtnWTJxj9ufWWOtmgAjYPPTR88u7DdKR+TBlK9CJHOufkd9
qtQGVeQf05W4ehokk6DoERoyQWXTzsmTAmuy+SKVK+SVkApGhER60nTYC0398mAN6iGZ1kQUgT7E
RI4CAtWJWxL1RcdUclybeDxU58Wzf4foGjN20wmrEyEZoXs3vGoENU+jh4CWD8qgKq4OLEeA19X0
W2IbWGuu70bdq8aB6OK1i3/enT6T7hGVFd8y6yHiDUMM77ceAQTVlF2+MW7onHtpXzvabcGHy9w6
jj5jZa8zClL4WOe1ZOqBT2WGtKmCL2nea/EoSYDoPcwQs22zhusv+jXlPXQCSIvk3LsM5pR5i8HU
J8Fw5IAfI68zozYOy3epI01MdurT5SAMeuorgjqdNZlS/yCQyznuyfvHqCS3MeL3g5+hzysKtk0g
FWB+piVK1OjXidEAVhDuALiEKKxq7HG0wS4+m7RYOzBhenFAdoguoVStzwzvcYtgMWzJYJzTLfe6
gg+Q3qLtPlyHxann5wg3lfSgNB2rVncZGQTHPAhzHC2kMBMtI7WhceiJXtFR3rNprydnaa6bkJUP
GEAEbGgsAAH8a/jpLZbi4D+h0pV/ev3UKgoZBq+EB/jY+BcdD4MGHzHedAYMUc8n+ZlPBUgEN/wM
5KV6VeRWN/yUfKP+JmbVjf6TsXw39V/XhNKj8PKXadsiceTfIqtuGretPKH1WI5KwNKVByW4BPFn
5siNLm/ipyBkIQ4+MbBVKHXmNzsVyFTz94nTxbGkL6qrqTJaYfTkxvJco6yVmEqG+WIfb2SI0+9U
C4b17N+T6q6wyoB/guZUtnsFa3qNM0VS584dWBRghyeHbdWwAqppiVN3N0znDNmp8RfwCZVMLJXy
3kJQnxe9tvHD+Rl2jp8ZVMsusID/UwuSTdda/zQ7+UW36nZAIlL9YoedtpfuN9Xlw8lqD9X6tRh0
FlYfXfDW8PSOnFcV1U1cjj3VubWdJN4P7GgQO0F4JFF/C8vhtVAyJgIlDzk2HqzObF6K8WY0RxuT
ZLrEBbHIAAcxz2TZDghG1dXVpJi0aPY9pM+xNFotSHm6SmntNBvdfDFH8jWLYquX7oWwgQlVRn8w
UfeziLZyZkaK4Gp06V0L+KG9bt+NgWe0xlGbIczz4uArV6mbnIBB1JjVzwE4S7I3TcJZAtpeaHQw
ClmRzFbV9BHwYQhm9BVlVlnWmz7KUcT2+UG1C2A5Vfs+IrPWrTDemA6cWduI+lVW9h8dsmYYN6Z7
zdkHS9p67orPojmNE/cBpi2Va2TlxMEqydnEQmPzWLP+qQiltAGNTvBRCE6SvF3njY2FNkLHuo50
vIxExpRRyLZTWrAQCDVACjzjFeYBY/blBjgFMUq44XueTLzElGtFxfwC/SxTRGaHRv5ZQPRG8aWM
/cKdHU3lsJyUkrJ/NapoM50oeyukdyYDSAHagb0tQpo3WeCM2kFZDAUz+in56TRMaKag2J0JNK5Y
m+qvJk82yVAIn2M4rAKJ1yJMZ5mLmse+rndwE3LrrWsnhGU1i0sd13F9HQIGU6OYldLgsVGopO6f
HRLamvBc9xc1aogRGTdJiUo6qE2Wq6D7W8XdltF3NG4cGLuFGpFlSXASIJtBeXcb8eeQ3miWF2m+
aSqZpw0hDdXwDbeB0Ta8GRcaijZZK5X8AV4VSB0hQ+oeUFnUqlyUccZhQnaO1po39BNqML0l87Gj
20cWOKwZSeNjjpg72SubF03vMHZ29noA60CRpa2FBmx7YMK40IfwKGaTkj3d9cfQ3hwyIQL9BYF0
XX5lJnNbpgByRN2r52wH7Qmho+HRJXRDus/bbmVO5sbQNfACEXEdwtZIUkG50jkQw0uFHSYS/yD6
IjRja/Mqor+C/aMN1iHquDiNzF2nY/p0XWhqUh7ylJ6YVdFBb7CWNiQVmOskyI7ml0xCBq/GNpFA
s4FDdAG52YJPTu/GhRNjbcrFvqJ/svGPArdnfWIucyqpMSMZVHe+R+Ki+LFoJUoNRVw9L9bsgLWk
iLoP0j71ghDsOhzWTVO/YAXd97gLcSwSAIhpFvYvRHU0id3aVnHqVt7AUolTWc54yL69FUTKc+in
xo0Umzd98J50gjVUfIPbLg3qlU28DLsfQgXV7NYnKTOwr7BTXvImfZjG9FqESNk7fR2zjneeYRue
y8GLTqal0Yes2pLDTq+64SShR0FToNg1SA+UEUJncuUMfCryWTPCCLpTULwF9Cd56A/JC/K9nJmv
572LX40/wq91yATU+z59bRJ6B61d5Iq2VeQXuooc7vxgfOYSB5ClgPAog3eQC5hH229WYJQ+A780
HvVDU0YEETXYUusaS1KnKidTKibJyPri3PxzygOHnXlEyEaGSAa41cx9W2Uv+hPUW5jvNm5AfVEC
R0ZeMdIsiS6BctPe9wLxYGFvqvDohH8QDyD0/UvBGJC3GP/Ucj+02brKLDg3gpEzRwsxFZcRL4I6
vsjYr8TatllTrjRgaU5wjgP+OvUFAkYkfBtlusZfNPRMFTzrt0tyAiFEhznXuuKgmOuMbFf2Iaf9
PZvSLQRBntmjSYWsDDuzQh6OVqj0K2OVBEeveaMSzp2z0UOTcx4O8XcTSgpsJPpc9SEQJqw3ae+a
zeDxS44E00CqSHiLChzJXb2butcSAgFlrZt8TNx+GncQjL/8XA3OpS8ApNR5S5lUDsAWHIRAtqCs
6qlkMff9gXfUNqo8o3gE5t7uHZrqOl53oOcJdvB2yhw5EFv+YAsGshgg8qwQTNUYz2Z2sknfFfIo
J7J9tAgau5LvsOVSQNIG8Qe6vYELv8EtawvtFDhsyQub0GXJXEgttjaemthGk5zVSLfY61Qsc+x1
09XUlt4W21L28kjHbjuahHAFFi1ejoU43qaMWTuRbAPbeWUOF9Is5SwCBKGHgXGIgvI1FGgomi8k
Vrp57MqoWvZUxNBvtgn3exrxGhmau1f6nLD25qMe4D6z8umx5BnzrOCZjjXLRiLeUzrvZBSuT401
cChmNlVd3KNWqpvpFk7Z3sgfXRR/klSzb+E9tEt0YtxvMdHDTjEbao0jv9hxiqt9l4WbHOOcgppv
UORHWpU3wKV5VuJ/xNjg6uHJthlKoDCQGQroOBh+ohwFZW7DO9LWpZJ+xiI7IsLeqZzgibFHdJhK
z3d0F/02BTZjFMalDnJUz+lHulGEOJ64xhOpVb2DOC2oCCECWjWfnqEPjCRFrJCsBodmpH1PJxvg
ncqqaviecBUdnYASkuiq2G96xkyQs4EvESnujCERxQhEkpJPpAc9pziC7WBVj34dMsC0Pccks5Ix
YqZ5OO9yDIqa1ZK4gsGitLiHniKPH0GmXGrUGh3hYqEXN5xYY+r3UXhMipsklArnBRapXNxKZSTF
oj2NoSTY0D4FMiJbxt6rs8Sh/YljGspWw1iZEINKLnfoBn8dfER2BtA6dIEDArauOWwdUDg9eVNF
oW6N/EbeOuOWN7SWLxobVOAK5PjpBHhRO5WrCD2u2lrHVCTPuLGONg+rZV7DtljbiDIk3DMeTI81
NjkLY+JsVUMjIQnFrfWpOtpPj14UbYNBiV+qGCy0U+dOlzGflhYEd0yPDhx3W0NrUFeMRUCzJATM
1LEcb6NNxZ8oLz1WeILw4Ofpf1N6qwgxSfz4ZLwyv1JKQpTM+kX5yAmSwnzGeMRJsQ163kkrMn3X
BAy8dPdD1voZTzRCMdX6slltVIjVWZ/zEfbbwEOTJL/pj4cGtjrkIu99FpKiKQpxaDPlzi7hKssa
/D0FcGf6HF422J3hKU0xAR7deqszRsvWNlISRI1ss47ymcAuwvDm0Lv+hP2KuXhNK4ebCTSO2Lks
6xIfAdI03HWQWMrBVOh9vsk+RZinmJnvWq+24/TreBK/hT3t8GUz3/1LHoQcMJNmVIaWIGQsVgcX
EX/bUGXkqxj3WrFn7QP+SzNPQ0D3hDVEZ+gUyOf/yVlv4Ndrdz3/x4Rxc+PpJKI1xXHh5OLiBOUB
xfXXNLl/weRky4JTc2WtDBdGczMCW3BHgh8QslksMb6dTu32ozU9vJaHIBzknyUv5V9V/osJGabM
Q7O0DFis1nhBeK+TCY/nwVVojv2IkBT5hVCE3iv0XrPOWml4/8F3TpI4uuVkHiRtSER+sL4DnwXj
A0/cViP5QHlC5FLzI3NKN74TOeIhQOxcsD/tu+i8fxH3Nm0BkbfclR0Z6OANy23QzX2YArh1HMHz
TfHJlU8nU5wXiJBglRjO2PgmzMDVl8agEEJW81S3uV7Br4pvhDDkl7HlfwjpBrDedVOob4Y2jUtz
ZAebzU4oiyFWFP+rAvThvjPFF6LmgWxz4w105+XOnrf9yb2MAc+YISHwgVdf6yTt9mZCRWEN5c5J
mFZ3Ds9//8ka72DIC4r4TS6771EHN9Rm4uygeiGsYVZL8gagucOWCtAE2Y714oxHUlbQyfAEDP22
5pnWrM1Y7nni+L+JMbW5EwIHwivxmqbZ+IwPW7Tw3sI0H0lUXcVgvdIP+eF+ijGNDHwh7nX2NobQ
ALAXxWsMLYN11gTmYF912T/76rCNEvqR8XewFdjY2kqSJV19etqXiCguhpMZ7SdzyznQKHixcXCu
dfPsZDim5h1ocsY4akTxiyo4vIciOSNP1uhwBz3ZGmLFtBb1qEokKQcybg5iMcSybJlTREuA1Nzs
9YHcXz34yRjMoSQVjNBGVpnmySof7XhkON2FJqwhhBMLG+9WNsAf2fX6J4nNgtp+UH7i4WpwIO2K
DncH1LKq+oDnrVHjWfpnr7/JHs8pNyFhjNMXPh+GoU/+Dic9NWDGi7dZT9u5iE0seJtLgXXcWvKU
Y4WRbHvjC+QY/lcIzo7piZVdoSCOP82olemVwAemXeo7DM8q2FKOFcGWoJrsgeLO5BiFb/s9xyL0
y1HFbiMGdAwB/j6zaP967zaGmNNla7EOOoXRagpeFBh9CIsFfu+uAMPhTtuFROLvUACja2dWmlyN
alyV6ltY4rHxMJapgv5NL1W5FMXVDNaRg6eV32bV2njfaJVzF7DW0hMrkLipQidc7yzk7EyyCa/J
1XUIadSktByW0IT8gA5Ke8PHRAvG+nieEKccXfyVSfsyNOVNd7Ufr/yJxcS2DSEBXqSaAe4/BbOs
txnTB1UclBkgVSw8WUUSLMbggchVDVjPDlcw1+WXR/nbCREiVPHuXGPWkkDeb6XWtrnNejksuLz0
8cUYXaazpCB2utksp46egb1iGBLnfa8x5WhWj1+cygNplFqdO8D+lrQWRuktGCX71gx0GIqD0Kub
lvevk9LcNFx1QUT/UGtrazoAsnxRnPxD4DKMapW7o1w7OQcCXbM2YhbkH1LCoMLl11wf220uEdrX
evltmQMOHZCQeb+uRhgAQDwtXCG9ekvFA5/PIlX5zHXgdtFoQU65J+b4l6nMANV4TvJCPwHTjx62
ZmwcXaWmQLraWs0tG84EHLvFxmh2o63wKe+79NGlcPgCp7+ZaICyU2l26UrVn1OG6CXs23XoTERr
venUXVGKC9+YHnFuvRj8ID0OoVYGA9KGGolLNXTLttX+9Rbsz9L02UHdcqKQcxLqCR5feeTYYU5i
7YJ1zsX+Y9XbgVKk5y9m6J+59IAUMyK7NSwdVbw/S2C/Nn49QQcMmALmkq59ToDqpWszg37JQT7o
mfDbGR6Qc1XrHG/3nJFFSjZggf9GwRxc988BtExKzzJv1ubHY1R/LN0h3IhRzrJTe5PxpIebydbQ
ALcr1XQema3TD3QsfXVd2Re1DsWkPzXLTHDBgnlqUp6D37aO3gcLJX9qfpjU1uHBMI+EXpMrGQH1
RgSpN/+yMT/NG+LcOpKqW9D+2gN4RGNf6jgrcm8V8iVghVb9hj+kEayWgM9o5MHqHjWCcyQlaf9q
dJvIJMWl6PA9x28IM30a3tr4lVgmWiTOxZUJaGMShANfSJcF8D1jrVCkGQBULPLuZmK7etQDe6sO
wU8cDltZdD/CUH4B2XyKAIjnS9SwNK7gAzbqVkmQFpua3yC9Ec5B/jGNdtO9H7JtKK6p8kw45sbX
lmotI7uDFgA+OphO4zVg3+Z5Zbb0FBrphEhYyzSXQaxtTY/gpQDF3wePYsAhLdk2MGx1x3SV6qgu
3RSMf4MdSDmotfOWIdbDZLe2cE914DdrnEi2+tG7QM1BJQRBdsBa19Ommr9BzPDOrLdFL46RqSxt
zX2U+OTCFGuZBnuLDSqPkqMIG1bRSlVZH3buft0Q8JmzIZ3036Y5Wsn46QHKDZsK6waYafYhNrJ2
M4ogiQWHyETLDO1oWHV8gm6Jj6UhVSNhgpMhfOy5Uu+TkaxhnXhAtYI6+NEw3JlRDFyiVc/uPU9c
8lzR1Dfo8a1zIpHpaN3ZnDKHX8j8SluPO7vwB9z4nYVYLkUFPBeTzyheaR20blS2aY19ZthWmUP3
B0mbhjqSP10w2Tx5XB8Sd1eLkH7SvZVa4XjKdPpeRVHWg2PsIt7DkRFTjtx8DEmSGxlGKJbNjEbu
IofOzEmZ7QENYCRpjAyAmO9Ih9EyoSzA2bl4Ozu46c7s1KCkbBCmorpoe512EplIGu2mTPcgTFNg
Bo2CD14BPJWvZQXMpwSOxMmif0j51pV/dUGAyrQO6ALsOUMJ8oOpKZtSYOBW+r3H2JS3d4N/0S/G
mef+CqFqLUWygUvzTzXAwjvtov4yFesYlbwmgXPMs5ElifYa1p+yvTcgSZR+WKztMUZhn3BWUgxm
UOQzJ0BbdQzCeddRLOzq11E1HJftymzCq5rGhzxBQ24QT7zSI0j8oeP3kmQ/VF8OYK02f47toZ6O
tbUt5M4OOXmrd8LosKkARLX+ZhVLC+u2BnsRAwEMjb3GKNTADWTyXlX0k8tSUy6K5EutzzF3jSgP
dUFYQluu3bpY6n82hoUpYn9fDAqBWVjQAc0ulN6DMOnihQafxfoM7SdOf9LQgYwWh1I3l5w7gpax
Sf6a4aLlxJqpiEw5RyPHW+rVZ+70Oz1CQRtgkmk+LdqIyPodUGQlunmKeCU4VUxUJ9NaMSKwbvSV
Vc9GS5TykdeSIYWvTOEaagVnWPPqYd0fMEy5LHe5+CamZQHI9FpMl9xlxZ4PMF6qS2kb+ygOoHH+
mn+dgZLP/GUo8G0q9wmZLPFPftcQbUFX325jdFjBmJ1VHnQrmFZtR/DCtE8nnW4LnrT+lllgQ+Oa
IsXq/UJH6MUfc0s879BIyVjd6clX01+74NVJrziQO2pMJ6BQSHXikm5Oe1OGl9b7SCZrgXtCUHAN
9F9txNA7ebWtfNvyVdrlizpmi7XBkKmEDTJ6O3ve6uYFn82fSSKE6Ujfq65uoa0VqzuncWz6RZqu
XN1EdBfS4MrirW4FXx7wabjiAn1swaibfLMXRs2I5xmQ8g0N5Vff0raZq9LkRpIpRrjhFLPi0zOV
CXTTvAig/WY/RG85Pn1PoREumhDlkYNirzIJB5Pj39QI30XPWJtAnKKFRW4sjRqyZttCtgyD+qa/
eaxvC/zCWnQMJYOzalt91Dv5oUTpq2juXjW9VFJfptgM6Aom3DNt9A5j/NQTcaFQfsVGvwHye421
6CekRkwisSsmUtjz0EKAmO603j2MYlgnbDwKtJSF8jqxl54iHveCarLET2F0bLX6axOdMsO5mMGM
c6PcavS1ragoP7hMHPUegnebJ8YJ6UEJv6cy2QeBAUy+yt4PisBZsfrqnWpGLHofjSVP49iMfl+Q
gqmCyB8IeS/IJdNawu8cnFhEB8FSKT0Qs5FYxdWbUq6KXxcBpQd0JGpuQk1UtJ5hve6U4ZX8QmoB
9SIcAGHOorEaPx+8ZD6bXhX2jNRghETtcg1JachxrRYWnB3sXV1jbIjSvU5hwuKel4sPc9A/YoYx
lChwshjqIJekY6Ux7hDJSeLIioUwuRbz74L+HFnmvP1sjroLFs7JYzhOG3uYTi3NBF78M2idoxHQ
xEbFxjTpbHMIe715Nm2XWQm4SIm+gLXMEe8Mdy3vejFsQvjxiLCoB2E1FAb7AcnrhQ03ZFwdc2dV
ZGyuh1p/H6aJ4iGPV7C3lhzmI7BIM9815f+q9E2ZOt950zzMGXnnTdm26fvOx226mcZkY5FUGBA0
JXHDhDZwAR0lj2D+a5rnQGu2tNQopfP4S9P4YS3j6OXRu5sRzzAAvCBJFM8xPM1FhTauhKNYIykO
+PO40HFp6SiHUoY/lOj5XlP3DSK+iMxSLRyWXvepsPrtc+W36Q+5ZzS++SMbi5SNfu01GvQzi0OM
2vY4oDPrkMWTws6sakFGjgivVU/+Ou0621S23uo0AJXtEQ3o8UfaktPhkdNAe2koXBkex6J+b2i6
M2pC2+jPg3u37Y4qvLw3cXjSShad3LJz7lrR8I0EH2J4tMHgVxhmGw32u7gkU8HSzF1hi9q4Y+bb
UDs0wkOcGMQSRqi8d0EX46LLFdLj0s+CgUCZYelxi4mUqwYP7DKg94/ho9TBnJjK0FzGl4gWm99/
rdm0+TBYnfzqBVeLbXb+sHlEkQtSId+1R9gyryykTzjZ4NwDAPWlWxxcFqz1rKXuuudA4jGo22FT
qPY/VHtuB/ODQPUNu8pHPylrjf6ab7Kpx3tjPHRH3gaT9VHDf3N1zCfELJzXM0uPk38R8fZpsf2V
5fjmBNL72Av2auudwjZFm0T/HO7NiG3+F69clzByGPsJ7whsxHcbzhNKG7q8Mb9Ekc1z5DAarjsI
GCGp1pNq/EklZ8yI87rv1mOgvhiWbaIJse7kaE9w4pmBl+7V7jXOfluiMnKPHmEQEQP4pgDKVRAX
ar9gaBK2zq7E9Bu9XypzWEfyUxcR24tw1WaczEOy8/OWZHsoC4I1xsjDGUN+mP/1psCCafxMrA/Y
oe6iQtmXDIcH0088TkZrIg9BoYOxSSNV8XlvWqwPI6+a3VSrEv4mJ7jpJSsvTHdx20ORiHlh09Sv
RiKygu7P5ixKG/OQEOdBKuJrRLVNxs66GLt/ALFPBjd4HzAUjW8EjsEt6HzNYLYqkhX2Hb6B3twU
kE9ZK2jrQFVRSkHkite0idgznVdKdC6MBBQu0oOoYr+napBsRr18q0cOEJ6sWqY+v0qBdHUfleLa
AqrNQQf1/0vWgn3Lil0d3jPO3UQjmlpgm5pTSRKi20SNnUixiWxJDmORQkjvzgArqLmWLaOoHGRe
QWzs2gsc7pB0n2F3sdu97SHXpNk96BaNMAlGtV2eJbefFTHU72rIoLl8sZP2S8TxSiVq1ou1T9QV
TvofUWe21LoWJNEvUoTm4dWSPIIxxhjDi8IYrHmwZunre21Od9+IG1wf8CBLW7WrsjKzcuAjFER5
Krh7tCtgyVrlTfynQd+cbOcLnkT51JER1gm6IRzjsbXBeTdd62m+HYeWRnbA2AB7D9qNB2f6k+Gu
3KTNdzLB6Q7Js3Mkpsa0FIM45/FZLjDGDNoN86ZtBbf8UtniB31jrDT0dGX2s55BVirB051J4tD9
iPHRpg14j1XnYNQ6hvJYgdyHTveHUvI6O1492mw1YK5RMUJrbPO97nQMQ/uYHZQrFfb2dkyDeR7K
t7qgrd+hFijKN/xVnmfVD23Zr/FvaehIDIxhjwW0oxo4kR+1ECsKoYsPAepwOmF0ErJ4CRfWwSqZ
dBOvCvLwMkHzBUVr3tFU90k/aV8WLnBnTuEwrB0FapCVNTOkS0Zc2GcHV54qM6E502mV1r35FSa5
j0a5Kio/VLKVTg+V9v+6hKZQ9dJyjox1bjD2jUkcRfJJ70LQfqMCKWE1wm7qmVzEXNRifup66eG1
prpbwpz3liE2YcQopcHoqWjiYjsYBtesofmYZxIlbYqN04h/Zs5cz7+/ER6pZP4e/v1wfmOazNvJ
bAElMhXPW3vCokBV8mKLDSjWWIX1Fk0zfj7So2AYNI/++6f1eBxVGtGDQpslFU/4O4q/p8KzzyDg
b4LSLCkanRc6x1S14pD0ui23aWYzQFT8EyddEYdyjqt8ZhAEzde/dyhTprxNmPHCVu4e277J/vdH
2CpPmqIwu60ahApeMvmDrDIAWKWZ8/fav+P4+/HfYeVWiCq4dDzG+3Q9lGZJnr6pLQ7yDKt/sil4
/p2H/143apLDtONwl8c2gl5GnqYoU70+Dl6qFlSXroU0Mf1FGiZmJuuStpQTZpwOcG4qcT3asfDG
6CMu6ZWJu8Ww5xLn3vPc4o/R5jbg3wNy+9zRzNbGvXg/kkDOkPiRSTQ1MugsSVrP9GRBHmo9ttb0
6BDkOPEhMphpWAuxj1OHGGQoT7EekO1LxloVpziAp1i0arJJEpKeQer2f+f770eqgZ+kuBugcKGg
MsSxzHZcbVF+omFM71MyIoyJjF4FhFQ/9f+/BPj32l7oLOptRxsfTnJdbf9e+Xel7RYG2BR9NVpN
Ly0et+mDodgFw4gzSdv8d2byKDP9TjM+hjLNFP/v4hYKO0Cu4VxYesnAfpIN9bh9mDmTNjsEprYd
s3j/3uPvR9EziVNxiF1//2TKjw2IK07+3w+zZwBAYhvDQk8Ck6ue43wzxqC/unMdirnZSrbVbP8e
5eKroPRXHlnkh5U5sxcDFjpI/W2AOYX6+99dY5u02kdmCiHi5fqi1csm+9/3go71v5/89/Hl3CH1
c+plFcv/d9iGbQHOpeTlf3fSUNRPeTAz0bsT00TDaCM75Rs8qnwbawwzyCvi1t+bjfouyh5rHfIG
KBRGdnBg9vKQv1JmQXA3jzKnMpUJbf99fyl+Q1pxqpJO8duaUNFjIJSHEAC486CXnuVJXTJlhREF
44oo8GaXwNqPHo+pOAWgsQJIdL3QWSsg0xoPmH29LmqYfn/hIjHyaeku6l29C9a4UMAGoEm/DFdI
TqEHURz0m3odrkb301zc6ByOymHS/LHCzCQ0k2XRg8sl7Ys8oLUwhmDyMsbHr4KXGWpOvjKlJbYC
uCTYoY9dAGaDDEmbLc9irjb0uHoJ38RWPCzjHhdmxZahT1+dUb1iGh1FTu097BW2a4wZwUrKbl3w
BmwOmbynAhLSaGSqOLPLdCwH4Nsy/sHTLBc5dQSRivG8kYuAnXF9DZpT6rvms7xpX70rA7bkJCKu
gSuWr8bYJTKP15amDvJJcu5DeITUv/3k9/fozPcSTDj6NViJgiFkEDDdjDYwObYm3Bol5uSoALVY
2Lhl7sKs0/sF/iYGu78nfseuBjJPzWRC/oWJALXABUfJfybk/iAjYCg/GJwhSDeQLeIj5lqUSgtm
VUQmEB0eRO54ZcLVUzF6autr3NHQ0guAb0+OmADkV9glOIRDho54+KFBJkIjDvhBHHnCUYKEDcv3
a4h6TuTjGygFHD8OfsnsKpyjweNch/FCoj7H+oH5b3SEychcBpXVZJowf2mE1D74RApLFG9mLylb
bzwHmHlBEYWHID4OATafY93HMxMFBoANBg9+tldSR2NaFLiEgdC7MP7iH+cOna29Cn1CvkRVSOWM
6RIqCKbN0hSMXRzG6yunDncoyfKk+3AiJYLV0fygRAokr/9yUB0g0sKkGiev0KUrADnR+QU1fVjP
zEURrWjqFOIB+I9nQLL9RVOpMUvwK7zoUJ+2j8pjUC7cr9f+S3ke9zQ2k92wGa8DDqBrOMbwtNVl
yyBDNz4V5+JKkUwhxBcIbvXVvpUnnsCBFkfjnlC/MIROnAVVUM8WNT5EuRseouN8L0/8q0R/4Cyy
h5tduaisBNZDfRXNqdntz3SFJkTiC/1mfKm3sV7MdwbXP1TxMp4zn6t9fGDBtbQLsIUUv8OAwsae
imKoc0lu6SBXR57N4XEcov0BtRIXrit5DX+OsAREfjrTO1449wJcrfXx2kdPduUV9oU35AX1lREt
VffEe0s281M4MhxXrsURliG1VQLN9uow2XQRH7g4fFMuPwfPRZ84KhoI7t6+8eL0ZMJPyhb6BapQ
f9Xu/E+/8AHhD6VVLv7KYgl/4p/2PPA9OeEjrHKXMpCTINubuqU9fGCRprRbmHky+TzAIRc2LQI4
bA6pnw34WeI2BeXLzmomVrKFFxNh5ws1QqDgZ0nR5hJ7CBTj1viKyA+chf2WnbVXnlHd4ycae80l
O5tINuAs++aL/RZvppv5xh1PSMESXpx0vi+k+yc4nerJxub/mDuLCdgVRTUs910sYV7n1vR+EdNy
Zj/ZKJJ7Cne/2MqH5BtfEwwD3q2jfdA3ZKgJTVnZnT4lA7UTnhH8G8jZYaoenLESHbGGd1Ux2Hc5
wDsfXfnOkqnCHw1iQQNrtymWmCiJsY86Qh9oO3uV6q2+LouO2bKUzytG1UGOcW61TzsGQfORyUiv
fAnkJaRnOHD8ogShlSpBghSSE2BHiI2LR+bynakLjGf2jw0m+XSlOAAW14IJNbAtIaktplOBb+Yv
AAT/CAhgvTvMSw2fXmAY2lONZ41EPRgVC40r93CdB0CCy9XFDo1V4yedxsxD6zdqx3SvYkdjl+le
qWPg9yHibHOA9ZB+pA1gZN4OP04H6DD7LBzqa1ZO12GxTJfFV3JER1QCLuUClGWsiDBcFoI0BhoQ
qjEiQslWvAjzBGZF0Sanzu7BhFwdUfOErMYPGzGOOzK3Bl12AL9wbtHxJ8oy/GmmFpuJBm2fljUI
8mb76Dfwp7kX4wMBudtYd/vSnwne6Pae8BHa4M1+MS8tUdG6hz8EdhaOCBH35CjXXnBT7sIl1EsP
+g1c4VDtuSugKwoGb7MUkS7dVDy+cgNBdcXmhUmdIDguG9CjRunErACxE7EzWF/DJTk7X3EE4crV
XplUnRgXhmsPeF4gZZhfk3N2Tjfk1WxLc7KhLWbWF8yl2skDooYVNQFNxnK9jRlas3rDbXTddgj1
FlhThExNYh4yFz31cBsANDPg0cjrtvBz5cBdz2CMr7JDJf1WvyOMneC2Sh68agtuJ/0L1xqJsj0F
AKnYyBhuAHx8OlcSAAWqJCbb4hOH+Bayw1k5E9UROpYiFmH0HXn6Mv8cXgKwWiCul+CjeZnflXes
/4Hfi0X3ApevYSPDvZAhRD3dQgJwfS1Q3IuQaF7mM3NlcWwj3PGFoJnuIPJ2J6J7H8KAyJwS4Tki
dq898gf8LX+0s7RVzs3J4HUqVvjF0bwNhk9MwyHumJ44i8LJ78ztkG8MqKU+UUe96bfwRDwicWVj
iK7jtFBvNr5jLzTblmz+TO0mqrQkLG/FXUL6gkbwZkL7ZlARjYqX2tGbTQQjceUE9JdrBoX1nQm9
c4rWtl5iQtD3jz32MbTiK9xAKLJG3T5oeVchKZkZxmMzBlCd4SqVbfNt1hRarS0nrqZ1A9O1saJn
RBU9mU1n0tmDMgnttg87hhsba6XR55UdcUsYhqVD9cIiRTHsXcmns3mZ1ZK6BfuL525tQc8tXUa7
Qa4GqMA7IqUpOi7QDzFDfGuvh40K/bNf9e8IugDxKq9PPean2HhkIzdV3fiGc2vfXJkdAN/bMRdX
OXvs6eeRgevfGqShj+wVWDSGAPnN3qwitPbHkiKQphd6sMUM1Ya4+dr/ju8YPGSvMi5+TA6iuJ5/
mzc+qxoXJrktu3/q9u+8R/tufkPLwP6UhQhiiT2J8Uuu8HjrX+dfhsfVvdd+zb+5vQjiZfAdXtov
JiCZHzmLOvnSPyAxfsckEaD5kGDkxfARvvH+w4d2qN85SX3otr/II5nMhnsGtEUs8DklHEX1LH0G
DDaZPaRLJU7toKi/oKEtp96GZwyhGLkfOgKMScQBJumi/o2+UC2QtPAMmmgDXwDqBMioDQGOBi7m
3lwWV8br73dimjEXuaLf63zAuie3g8EmM0QVsiYcY0gmi/4ibwHaviA/c7+SKCE7Z8Pkb9ysTLhF
XvHpnHoqVqyCkC6eajh5spt+4GBbcGqZkvlbMs3vQzppgnDjJb/0uoIjoLiAK5njMCyYIsHESYRO
rMBEx8OE12TvirLE5+SXp0CQKhFOVb4d/j3leaZN9asi3MONmo80Eo/+RofwR3Llj/aXa12/jyAs
TI/8ZrG1JkXzghvBxCcMNezgJ/iLTKsG4UvqxcYmNFfasEEuztlkNT0kN8XmfXrKBp+rotIvTneI
qYWfM6cudRN6y5XXAa9+BTsJ/DVj9t5CTAbC9wgteY+gHVPTBZN+2L106wXnde0qn+J5l9SQBRbQ
u2NsAsisTJGukjQl5pIIlBxJxdKf+JDtU0IG0zPRP5FpkQIV2Zpcd8ZagexxMzvzT5h9OdWDwKHC
CkxSA3XOEOpIyUd6bUn9NjCJz6GAouZBDUeuTaZj4MDiDpeJVLCGB7hlMyC2SF/9Y1R9O9N+G8YX
5zdwVMIppDX2FI4vKrxHh7J3iaqVDFW1N7bmDta67EDDDwSGpFnKHbofT2w3Z44wP9RXShQyNXJY
klQeaNQjd9KE/i5PbNXiDySJMwCbUy3njmovGu55beORvzTuPZl/LJ5DugeUQ+l0ISPjoHmIrie6
IvVh1ieGqKSYfK/IxSqN8jrvVtRIYHFT49dAOLr4OU/YWnvUIcyGxDkZPmZ1J8KGtccWX02cN4+G
I5kLNC794cm3WF0gIMXwwWL2M++OgFlY1j7VgS+qQC/ojXVWS8wRTaFeoSi7yS8d5MG36MyE3ZqU
lFMAzV8RPx19yRtAs3ytKEGoLKcXkvpO0Gc5VI6c+oyDF/hhDRER8o4HLM/uy3FyyaSv6EohK41C
ekTqyANceVDHTEL7RII44C5iiM/ij5jXOmI2ANUMJARoQQtKVuYvsnuQtckPT30rb6STscI0SzJM
WvkqJDnMXH/4B9bWoJkiJW24N9FFsVh/ku/8yX7IMMReQsdkV0ejwXD0m0kuGEBAcwNgI0erDo8x
MjZKil4MCzPoOPGh02DPJqXVP8UjHcWEMJjUuMnFFh/SWUh1FRo5xVOfWsx7l52vtul/Hrp0z81K
9exB2j2sSfYMazRxsMGKQQuUlT6jC0zrXlqnBr2JHqS2C/ON8gC4aiO4nJ1Zsjo7UkCFfqIPd/om
F0myrZJTEtM9kCw0aoYRksKmROpBIRN4WCMjiVHGqHm3H6Wq97VE/+5j+Bwy6lWDlmGlh8shol1X
Guq6TiTHVWKY9kPVwZllvuPcOYWPJ4EU2ZCSa50Bo7MYuQM9LM7QEj1mcss6YPjd9GCRZDPW7I8W
wCYtZuwhFxx0Yu4oJKgRIERRq4hVocP2mw90+zobzrrDgIAkc9SdlPLRbUI32pjJzJQOfoeUQnDK
z1D9Plqww40VfOACxZAOHJ8XAXMWm4p1VAR67cmS9hr/GSnMeNHIGKPTGsR2wiDRjUi8yrGnfG4T
5wl6+dEZGNMgg3szl4N8vP7SRlhjAcwseujKi4G3oN4YcBYYEudn5uzAMwiG5TxBxoq4AtFMimMC
KVuDdQoVoal6zLs2Eaa5OUMkRyO7sOZmLICvIirAgoN6cuf/IFhyuKv3ETMEJ+C6XUSBXe7K9iIg
lmatI1iZfEZxMJfEmdcDDpLdCma9diekptGKHJPOYcdthZcqHs3j7mlUdESx9Xm0IFqbN35F9USo
poCLPGXyTR1bNR98CenzgPMjJUOyToV7FlNvOxBWXCSL5dD5sJYOBja8Vn0riC6DFherSVprdsQR
BWSnKNhQ8UXStseMfNYeMG+mAMsbM/ekUJk+1E2azx0e0Ybhxybuet1EG7lH74IkcxGnpGpjqN8V
u6UfgKGLlKrFjuXIpWL6ZNBgK5C10KYh3iaWcun0mZIJJqLnhDMW05Bi8gBwOxtAdWeYvKo+bBoH
8bhU56dsftnX6NcpNJeU8FT45rhjYg/gCpcA2EeU0LYbinSajQk9HzW/CRZzp20KAEH8AjyjSsXe
y8B0hK0W8/lwi0mBZvdbZQSHKnXGuVsx3l4gNUV4zVOSqgS3y7qRW69WIbhPNGqN1EYzasMQRz23
6DHL3uRtYsEI5NaWx11YfqrQzDuuSfsAVJTnDuHJjPNnLK2iKGQWRvTT1wjfzYezzw/chkW5KsP9
THsJLQq0oquCLDtFfbx7BC+auaN6Yq+wg21g3Ii4aKTYVhinRbQeJNufEPROj4nAaBrvM7Q5hHQP
P0sjcie7e3mo9UfTOA0ThK1lTUUZ+aIrSAVmi0KSyTHG/JKepuQ9aHywBwdczKAh5rNiGwq45EmF
NOzsR3MXkryN7ArMXkVoFT7jYx1UXLzmQ9JNeuLqaawVJoaD6YnATqGdTRD2Nmr53FtLrCbrbom/
7aN9segOkCQlHtzq1hjGZ2OcqOd9UgK4uBn6ImfbQ0iREDCt5g6rsDYrn2BXvZumcewGSL5VBtgW
IpKj3gxHQrgR4nNvN+kIU8F47Zn9oDMVRotwshtkHD90S8NbNmanHWiEG4bObnqVw2BrVChC4qry
mifeEgRKemXNMC6avKE+t2fuy+pqbfULtCC2d/pwwDKVup0Hj/2wviNmAemLsICB+7UFImTUt/4p
HcfsOX43Eb9o5RxvBik+1dWwHCXJ8KuxDJdmjxNHxilHY4lfAXBOQEcMdibT8EjczbyNV4NsvfcB
0711EzH70PXX+KGG61Gp34sMliVS385AYDSPw1W3DompAmC0aHzxd9rh1gAQxeAKFC36BhIucxD+
5pB33CQVgz+II73k241P2c6yAtUFPVJyVhAFEukyXO4lWQuBeLgR6AELtC+DzvTSVBmO6OYIu8cj
3tINFqqtvYtk2OCPYV1LICqNjPyukKeNkY/LR43O5cEOQfRUNrqBc72i26u+GH4txXxhQGc4ObBR
sFBHLNacK6UuWR42g8KZ/NEBTNu15WOgBeIIkn5hnNlWsTGjQNDX7DKl44rpB+4/UC9deqvlbg1v
gpUJwGmiNpxx2KQyG4+TImNeSa7UKVCxHrbGlJ1Ham5KXfIleipUNefMfI+Q2cIoxA231nw6GtGr
LWwbGdVjYCIewWRkPjM2EYU6MKq+pkPtsH9gPJe8jqZhrIOaWyjCUkaXphaeBoi+YveLY63KxU4K
GatUpEdwA7QQIlmG80pXnzzGJXJi1k7w4DckdYqOXaPX3yFxqRfzBucHYJXotu/Znc/JXr2AMIFR
9meSUHCVs4wG6f9wegp07g3x66sCNAMCz05FsOSqk+SS/PKT6jj8eTD34ow/E6U+SJN+KZ/MN/Jw
6ZVfjHc4GqDyCGMWyl1sePhpkgj+5ba2veKZN3Lb4K1URTLNgf88mE3Am3HYpPHR8B7tSXvJ3UU/
BENqPjHyaYNwnNxmgErgPYxaAgrqz93TfE7WzhaIwFzSbwKNIPviMJLrdMmMJdiD6G7Q82OfRpXl
O+kWRB9YoDyFn2TlgOcMJcVdDFCZTJWtjkQcqDYW6avP+Wbf5O3wneGXHChdFs4tzwFforZIn8KN
0y6l33kFLpjdybg/CLNAUICiXCc+mmMWoNxr8AZqihL4Zn0578ggpOvo7FBGyQgwqCMp3JHSYqmZ
L8rb9AMEKf3Kb9F9PAZP9oEdSMzaoerU1sYRAyXmMSFyk2wBO/b6jDsgk5nPnHMS1y2fCvQLfR/q
PvovQpPI8wk/XDiYjuq4gxwWmkdx4h18NXzSD36KQXTGUhg1Gcxg3gn6/99tzrtyzsBqWGP9nZSE
q6pe/qqYNGCxcEJYOkQC1iaPpS/6JLSqelJwh/R1QXZBy8lWRKXBW9Cu4sxRAXDTs1gjNi84wkgI
WBUv04U6AFtl2ta59urowyGjBDXq6hNC+an+xszISAFe132wGyAKSQtjX3+gdMsfzLtY0NnEHkKi
Xgbz4JRKeIOK7TuBckGc/26eeYa2axgp1C8VrEmQEiIsoCyX6MNBMqWzIv6Zktu9BC1ZOkivO35k
L/m7dMzROpD0QsHBrA6QugJWFc+OkPanvv6oEXNnpL3cYGY0vuPau+qhyrwoSnGBXfvDY8uzR8An
WKIS7TAk0rCoXvowsTbVFL4U6EEZRM92gM/XIiskOmPwi1SzeyqY2hnmHC/v6NqYGPXhJggSvMwE
0wxOEINmh8h8bautZmjvgwqgPMB+hVtEc9CuoNFOFVBeaW+GBqzBoyzkVAPC47/1gbsQAhUnXMen
VBV3g/QFEOfgwl89i7COxzZe3WDekyub31J5RoBE81GZ3EZYInfyeZZ99pZmaeHqtytoc8uytB56
lRuyhRKZym677zb9dbw+aHZTmD1h58I8OYedZQ/1lvBi3SmqadtQHdPcEv2Tn7CFCOvTvqEXyB+N
u9ytyGdFM8xZ8YzHyZn9+vgvjeM2o+rUbzK70Sthg7V0ly/cf2bnKnfzEv60NFmIZmqzFrhEvMAF
DDiTuUvxJ+HEBpgUwZFW4YM7gF/AcBabGW9ILAnenOfizFbO3cIfB5tBZy73GUAD54yih3p0gT7i
gNnisUuam4mexjWjn7EvAkTvsk+qYNyra/hZ75P94wQoc3JeH098ZOGnL/oN3JSsYfD2qNppHtG1
ZOD5Xb8R0pLZpyG0rF2gdResU7xsCaDnEjGYOU+IsrYIQl15GYjemn7RLxlWiMt6b9CXYJTFX+cK
ydEiOmJ5v0lPhMZXbWsQcQuWm8s1/2vWth2bTxo3p0khyLbrerLtndUPz6YjVfTtm2eie2z4dBP6
ZIOPEJEFbh3VeaphhoIYddFdghf6VVkhfG6I17QzghpvKmy6aEiApNFXTo5Wtp2jZ4eygpDA2IDC
7/HtoLtlLXIN/G8xeb3fLVGmHumrb+dt8DbdIHQDctwIQFyBf2WMekH+4r0HO07jdJG+1DeHkXaN
T/ih10VIYqMZSIFZMiC7tsc1JsR1IaCYV9nARbzNdAnIlim0yJY5D3geigWGuSjxjmxa4NqzS7cw
R0Hw16BmtQA1VfnbiBaSfZKLzysYukF1S4P2D/SiyU1bgheKaTR4KLHQa7c/Ap5xG9IkLI48Vbqr
9poeaOd8YwSBUcvQbeXU/KQ5kMJPT5bSsNbz5xBnGWBXAYr6yi8gnQxbj1hHhY5D2bAcGkrbpyB9
QSky7EAau++MemjNx8NfO1qPhfYOjU8jhUHeNS7mX4IGzrclpJLQfbw9MB7CIeBD/a4ACUHG3q1k
YXzax8d39vwzrBm6/mHW3Cn4zSz0vUMS84vHNOLj5J0scvD1/hAyVKd5T6dfx8QXcY/PbwRlhLmW
sStMR9qzQ2I07jHTqEtixY+5ywivMY4EoLTIk9ZWBi8Rr2aQohdUSg0Por2j4jyvMrSycENaiBCb
FgWlk00TM82xDbN2LCELiAt4Xn62XskbunGntlu1W9GKaZTD+Dik4YEWTfvVoOlVjnz/0kPj71nb
4GZenK3mW0DsybIKnubpVVaOKReURnnCpGCgaIQteFyFTHpFyorglHZIJbtNB1i/wPmuz3yGeiGe
ke5EJOYSYNsjn3QJjypaOkDvI3h8/051iG1HrBJxFhzMv37PmK8BJCgHhY2w7CFe4Gng+FwPwH31
WzEJL97gLFXjxSzXzvDMJWRQT3oDAEJn2ZyCC6vIvFTXhB66YSxp9wGy94tPkq78pPL9SItY/wRV
FipFCmGUB9yWkD4RRNGLjOCZiGRmjhDCcX+IdQ+u00xLdnNxt0MmUEC3NxhykEoQDXkyt5eqCySB
3YTNHrSRGwYEkr/SieO2I2MjNLBnwDsJxiVV4qvxDAxEEtAGPogjXWbacpBpMI++z2QXGH7SebhQ
NfzDKyGmhCibBsAP0Q3WDzqGAGzPNAWQbrOUS5dtvqb9gWcZDnpuZPfFk8ZVoQSgp6SpWwMjRwYN
Ke50ywPdDYvpbYq52Hihf89xTFGOLQ+ph7q2fpwfnIFgikmntF2MrEz4od8Y/ILC8wsZpvIayBUo
DGMg0jaMdpSlrvjg/2G/nBMPxxKorHHMaATP6ddNQBnJFoot1GL4pluCgJuUyimvqfHSVZDj5UsN
pkqbIQT5F6uChIUOxezhtxN9tb/g9bRKWA2TtX2oPmg+BinFV3oDpx9YJpwBvjgqNFIcWjBwlZgS
wKfw85c1Qt40veHhcohvrFVcLNq9c56vzh0qQ7Yfz2D0/ewjqWU4GkZtZ9rP6ASsO+GZ1L+9MlII
no2yUi/a5FPqgTmzPObcp5hvPHI2kgGSPipccmSWTNCuKP/keh08sC3wm2FnvwUoI0Wb2XzjspPU
gUJXgR+yIsQ4BJfNgjq44E60oF39hMpTNTxhvN+Cu+KWDMWKdjNj0meVzh+UWDZb5IialwCGEnqQ
gcZkkKrNVcsiBFQ+efp4p2Sh/iYHbpZQSkgliMGgPWxDcDWCG7AQRRC3ByUey599CZp6062gmvx9
77DxyA7o0PeMGmDuickHoKfB4QBjrWXbY9nFZJdnB9uY1DVSv0N1C0MaXqbhcU1i2krPTQz1e1S/
TPzEEyd6qzG+RvItwxtyAZVbWjytx6hdqQXs2SGXDGnDMNwScdHsKcAcuB+UdDXQU3hjv0lS3/j7
E7OvaTQqZL3QbRhPrtDsEX0viX7GL9G4wAXwxdoYmwknJpwhmLpKbQFAStcJNwjk+Z2HiqMlp1V3
WbqaVTSUXo4cV8ej8KmTvczxRUOQjQf0uJHp/7sGY3j2sx/t2G5KpEv0l7FFxdk9dHEE1kZabp69
nOd3tm7alkpQeKF21HFyqxbJmjSLmFjIPq680gifzu/NTz3AKWFB4wgW/9ywalfcnaSCMnit7rJR
ww1jnqWeu48TjRoLvQ1GakwQQBXRrOkrAcCR9CmCBUCjiYY0Vmz5iU2YioTWCh2Z+IemEpt0+OO8
RkdeSKnEym/PVDekHKxqduwLVR31saAnqIKbQzoXtz5ZZCZvSOoQtZASsLX0d0gEBMEs2RDpwAbp
0nAzkGlQg1PVYYDfXWSaLxY9Dpcc5YFjCIZauIrkaMXcCLSndodPsvktHGyjpibJdLoXuUHdLEnp
ttRVH5SEN+Keog0j/TrVijHGyXeVeZ3BuL0kou9SXDlWvkF8Ul7FAd5wMrLXIqcACNFdElrON6e+
weAMiSsbZOxyFjm1I2AhfDhabLTHHoCmPilXchQV//nxRBWeLzmvyDHJYbhFSFcaTiXFd+O12RoT
SYKDhuZtFukZ/DKe3Nugsa7huJAfuCBxsUzJONHPKXTOYR4s0ATw5GTyIDVwCNhPsT6wbi8RVh3b
a/yTHctTc0rxErqzHXHRSGbjxeOTNTG9xTcB8FYu3yICF2SGXYUPFrYXax43f+9l96up8Wz9qUE/
7sCpoHCbMWlTURfh6IqdZJ4scxlEzeUOZqvFXZgb9DEsOd36d/3bpj5cDlv1ySUSrEEad1CBs5b6
t1luBnMFQ5TYWtlo2iC5iYY0wZm2aRFtH8ZLrooWap3uDP1N6V4QojKU8DnOX4nV4knqjq54lhL0
l0V6xiOWuzFU/QKGesuoNawYfE0hj0b8gXMErnaXxCne6/JJsnyr9SDBsvYZciN8l7EIwNGNLAFO
nJczCIckuWF68kI7dDvrh04dTtvSwfkx9yj5C1c7PCq/eB8+pJ/oPfslGhAEhg8T4HNw2en4V/kd
vjU7e6990pXm/ZL3biednB9oxGRkauCaR4O3pev++IjeLawdYFLhBYds7Zn/8w7wrEoKR4qQxyL5
6mRxsuhGy7usWrJZsTOROo0mSskN0TEa2Rv8EqOkEbKTSKzK9oPBH/W86sxVmoiLAqonLhaXKXuZ
4zULxzgPT2TMiF1DF2oBVABiEumY/VF/QWggCDe2aF2PhF8mdjBRWsG8dxHeUGJCvfgVtr8IBzqk
/S4MDw2Fzds/IgIXlzfASx8LTwVIAPzgC/9aXifbC0I56Rj8BTZWGz/QHZstoQ/TKeKh3S5IybXU
HyqPjfqd94OlUP+a2jtnxzqEL/IH70uKzLmhsS+F6+QrfcMokCBNJB6+OXnWAXbAByos6dA+d7tC
nNNoFPyO4bt4LxWXaM+chY/Hd0q3A2nmCRoCtl+kh1x1OCb05rWFadF5EvyC/CN940W8MRdYh0v0
HfM0FhJmHQkuqh6JSIY5ugMaVY4iHzG1tZIcnIRuxVI36AbhYQTZIPeK94pOwxeCVNq0WB3R6gNw
GN3JoVrzmplhc+vOWUV4YMwA1D5sWvpzARPytE9SbyAiXYRjeFp0y6FblvgXonG92VhQ4JLtYVMt
pATm9KHjlgxrKdsDHK+MbfckUEcC1J2jCKYlkVhGE0T3nbL7jqkn8Y622EjbK1yRuFYidIFoQugd
dUykVv+694RxZv1kxT6q8eUTLXSomALwFIheAWmCXBVUi9+Tt5Dh0iUh1S3O6s15rc7Ap6fsWj79
4ZGkseWJSSCY6EpLigtwv/gw38mAIRrQiUYR9oWN4/QFOxfdTbrwg0v6I6CJA0bDgHKFl2vsh8hm
KBCaYBXhWaE0qAchdK5UGMj4VED/A9XHyJERKdSGIOgR1iu+dR5hm7YwBUDQkyWjaqTUJx8cqVZ4
3Hn6rnplpEEgODwRhY9KAPQoXMj3rF+DjZlxR6TUSB+BCvDIpWWBOevv/Kxhzk9twvPwDOFWzAuk
jEsVYVrqKbggph73LVGSeVjcXxCFLXWZZAdWPtSQZFxbqa+lK/nhG0TGX8zg6d/C6WGJFF81Nxip
A3l1JTIkCk2bqZ7wlmCUcOy/KUHG9mfUfhQ5o4szCpGa78O3guREhWWkq/G3htnCvcf8NEaVROIu
50hhNUXZSnzZx5Kb06Y4I6pDTuarvgffwrKpFQUa1XNEU50xxdRmJkPl3e6AFR+ZhAl07aDGFDsl
WQPLqoEqztoEmglfM0fw0vmluHD7Sl3Bs56o7YGLMfU8gBKJFqJ2p6vyQ+ahX4CCMMoAVqVNDUcE
EMW8AQOQcFJgkVJQ+g+8Ero7f2EhWh71GW9OyxAhqmA1C1e0YJFQ+YqmpHMPLiQx3CViQxRYA5vl
Jv6hDs5X8Oi5H/6B6QKrhoh3Iw8xXkGOePvQg7rx8ID2zIeXPimvcPsBrxCSgkozHHaIn5w/hmfp
UHW79DTIz98iegK8Gb7TQosAPZvU4K/RUIgmAikPnxC8tRMzfH0+ESgeKh8Hy2sSgfziegG6lm4p
vukIBAD8uE/PPmA9IaCRnrF8IykHSCZB4/VU6iQw4Edx9YLzhDD9BBehcfHa3gFd6G5zNkBO8gO4
Dkgk9JyjtgW4OTKsBaEAJ5y35iRWBa1Yt7AYq+caDcxarJ0xEvQy4AVlw4VszSVD5OEiBdVLHO5B
HdPYxyOIxrnpoAFZlXDxwNJyTMrEJefTzMhz7hNUUgqkBpYPLVaeIVIiruShk/fwdyF5sigeOFjS
lFCRR8HR8WnVwHOnfywQSf1WXUeGS5wY7nijod1fZbx5uFikYVTgGIFfWDvhD8uLywmUxfvxpWmy
8m2hDrEuShlfTlGys6y4GjbGc9RfMT49xGMgYQyXgTpFUOQB6AjF3Il1kaIx+FtzAB8kd9ad0t8O
V6xzyMZ0n6GCVEewV+nO17NvAF5EN/smX0rjOAKh3OiRoNogYoL3VyCeTCfky19Y1iBloqy70cuF
yiPWueLRrabUp8Ey/Q9V57XbOhZl2x9qAszhVRJF5RwsvxAOOsw58+vvoLsebgNVgu1jyRK5w9pz
zUDKg81Br/5HPhwIgTz1IMBGaboAL3KsBHzkY3MIDdb8WhXPn6hYfAbmv5iuKXVyhM/SVPWyLj+F
u7X3H/I0rgwWKjgSuL7RjLuxlpAP2igTEQisoqaAVxJcaFxgpoKjp9+nAvw3jmOdQdK8/Cqy9hXt
4AbipY3shqX/iw/GmOPdsEUAYWQ7NJR8hvN4oAc9+dAWUwEPTDEV+A9mBLSdDd/yxngqcJFCMWFD
4ecFd+wfDF1eKRX/sGAYyNBI6MuBV/GiJAbBaSsp0unE/U76EV6zIJLd1n9oPHG6Lj7QyXCa4Opy
GXk/3ADgEn4o/jCP+ZeSV5taIuAj3A1+BmrCdZ+g+LN25hKpV44dvDueI+FcyKJ0HH5g0P6BKM1H
+U+GXpw4/GmeCT4Tf01/iWWLVepvZYA8pX1ORtCf4LbX+AtG9I5mHv/IBeNj8DUnHV67NhZkFEz6
imQXPtgHaTOheniIP90H6DdXoqfXX05ntPbh4X/nAUAFJ8YXfcg/aPZEa0z7hKrFyZ7mD08CGgCk
pTXE2+Ettmz19F5mfIKP+Mu9BqcIlBp4iQvEUEPagE/tdEWtWUh7w8fFaGqp5w/WTOvMM47s5wyq
x/iPF+yoCIYlX/AM3jV1Amk+ZzZtPEAf5rVbij+8IfnY/ABO8If5TQQSwY1XVH+yaaRynVBkTe9t
YtwjjZtBcqOJOd06tgXuTYXr7dQ4HMOSmGV2wRI2vwBlfpqlTDV29Omk/KYYph6kFPWxxrgHMCYf
HSsSB+RLIOxZIacWHJgYC8KXjJ0TmiDvN/w7r7EFTGsTdxb0mRUCevsuI21nwV5G7kWe2ZzV4HGj
OO92xQ34pn+wpLnEQ86zX6oBoKXgw/ji0CSwLOGzoEI9sDmw8byMsC6XNUD9mfrFzGuaDsie6bBq
Nnsih7wehrx/qB/sgBzQOBz6F/eHAzWDnRnPdXeqXXzAwKLpSUPUJhJiPmgk8MYcQYVnjvGM3kOP
EuMhORUWmhatrLH+7s+1wQQyeQbuQxF2wt5Cg6MwU0eWPKUJY4oRijQvT/d6TB66jD1pr1TtISCC
gtvdcvZp6BGPruw6WAPBLvpOvSqcl56+TuJB3eh6a+FWYRbHCEMAPLgb9TaKhLXVvNam8S2fC1q8
fanSd21lTrp2mpOaSo697NKewk2L1goEvWWEFS1BdKjoXGTbQIu1tiklIhfThpRU8sqmBGPPPTel
ZW7bDK6oaUXVVyxUjmX6wiPROievOeQFfddeK0whj5DD1rlsks0VS8wSJdhL4MCZG4DfZS2Goa5Y
vfNx/JBCtXh5UoWGTPC42jKGBZJCzMHfA/JzcSUbaGh0ujhWmJCEnMjyHT0qx2G1FtZ5ECr3LM/+
+xZ1abstKx/0NRsgZnuhuBd0tX2CJAaDjrtW33t7XNiQLkYMPE8Ux3VaYeJr+pbFyd8QEGDz7YCZ
5Rmn13wOcw4b7eln+fRgVRSiuRkqy7+f/T3UYhEtzKKK/r+fjYk1LMYIWtrf0/5+r0wKQHV4t1IZ
i5B/fO1aReGETLXfEtrrcq5qw7ovi4EUgVq7KnpggFj4X6XUglHHRXdMXLE7/n1l9emLWyWi8Pg/
P29yfWO1SU00poEiPQ0fTQOXFiss9jxfDx5lA4abEke7kqZ/rYIOUq0mllhBGRO42SDtNBT/kKku
MRdC6fx915O/2JuucJcD+OkjpgcYTxsQY+PiM1cD99UFDXpATTE38OpIa+3qJRZC7qsXpGrpldD4
/n4N17QuKAFBEt9YWV6h2+BFQBKu5861uoh2RGXc04JOwaAV+dqS0PJ5mdyzDmTqtVGB4Icw1T6N
LjpgEhA80gIauSGj3Z5uiuZawunvIagTFZ0kzMqGeL+2M6qrlvrelXr/7xtdTOtrnlvsRBY1rFKj
kq4yQ93i+x9vO49chSbK8d8QiDMiJ+SsSYG6KgypuHuF+sBnYzhU03cBZtPoLE1p9/ePYyiySpZ4
Mo16r67qxAvWBrkDxJiK5jYu+9ZJRTM6FlgA2Ear6pcyBhIOKsl9BA2GbE2Ad2oUyCfD0vtLGjNm
ahNdTebmOgovshQgpP5yKsiKnrOabmzzOu1+FEjlRtgWn5I31OQ1KsUT6BjEHBcb+p0QcsYit851
aKJ3Naz22BSRsWQByvaaotcrULhkq+gF0mfJKNau0Ee7MYLpKxTgHm7XGefaioxzh5+kquX5qk2Z
8kVptI8swFImaIyX1ZbG0jDlwfn7NiWQCg/qeJM0ZLVZo1xdmmgAl4jlcPP3bWT5ltMM7W/ml08v
xsdeVBRUGZkAczLupVvsY1IueB26T7enNcR4kVKRFSQ5ymj6byLRqbzh6p9nKO529NTBQd5/cXW+
C8oGF9c6h40bVeXBmB4SnQy30QQESw2ZLWb6md4BVs7+/iWJla3ql+EX+SdOq+UDJiVVCa1U6Xdt
q4S7uLfrGkPWRBohHrTpWY5N8qfypADZnb4MOv9Y5qCG2LkRLFzkZ99v35nmR5+GBS9EixUBn3N8
YDAMyAjOkO80pYkqKgrSc+FP7LFf0NZZGZ7iBocomNk5btf5cMD5ysMszYVtElgpPmrEdBQZWZ1e
E5RXP/A06N/5wMoWuA1WXaKPSWiLYqOz8m94zl9yINUnWeGANMQDFWVRwpwkpvdkWuekzPDPmh56
JdTWrsnBvApb8E+sBP4e5B5/AHF6MCsGH3MW2rS+HCBXHPAGTB0cfNq9KygizWfD3IVecDUiz10P
sSnuKj7Q1pyQpNQS95hCuZskxswng2pM6lgKtRVyNxWWN95d1N+4pOly79ttGwTHnkBwsVDEt6vX
Pzpxs5REYGc0u5wAU6SFGNY4l1gebeA2lRidGrW9p0Ky6+vRETLowl3Yy0S15x+RquRA7ZX5MHty
0jNrkE8JYzvWiY5NGqzDFDxbl1Eli4hVLH+FIEvedqooQpAvQfaHpNq6yAdVv1BXelONjuSxDqYG
QbncyOwbZ03CHoj94MNf08DHecx3V4o7+se/h1AKXsx42LCNLpyTimKxdRP9t3vmQ9//thXnSfIF
h/OQGe/ab7A1F2VjrVpavVdVAyJE2etX0RDAovtIclhpi20+PfD0bd3LT7PIvXtumRYmlMQ1V34n
3ISsPRi0DhEtsShbfrDMFTF+lFaubvxS2pZD+lO1QngI02GickhDT7FA2eKNtLXFvDuzQMqrqKgV
G9f47pXExblXJM7kNeIdCL2ArchCR03v9sQxiks587vN2MreobbCq5hK3q2qYmfQFTR9BlgN1YL2
GIJsDe0ThoNP21Aea1B9IYRsrOP4lCZd5liaKGywTSt3rAXZMtdq4UIVBOgThMQ1t9ErHPKGrFds
kOOQ8CY1DbpT6XL8q4VSuJFwoa0GPyEHWFSFW45FeFx5V6nnOnudzLxkpJITN2kX9qOpodCwoAMk
o6htDQEiUJowqeo8TQ46agCIbFK3qK5lpvYHP6yJ6ZwexE4ZDrolXlM57ddW/plAtU2IYYiTXPnQ
CFpfVZ1uQbFgevmFRNuEoXvhesJMbpvW0fBZVLyGsttwTQw+xOSs9e1vlyGBC2iPrMwxgUTlGUQE
RuP17yHD4N4UxfA8dMln5CMdrASJYTZ4wRFLeej2Srv5+9HfQz9K2O4kxEtVQ6fv/h7ikbUvkDAI
/vvW90prmZQg5F4UkXjm5vdYqtKTJ/r/PSh+A8RLKN2qTEt3q4naaF9dJvlxLFFnwMoF8Sfw1tG9
OqXXFtNU4iSkKJW4bxq93iuNGS8Ckd6eGsqyo+LLhiZQ97EVdv/7CvY5Fa8XrMzOxFeqmPj+lmIt
hbqBFKY32DIocTSZjunjxagsuKaGdpTHRLwkRd6sm74DFpz+EStCdaH3rTCvMD7ZyvJocnKdvhyn
1ShrQnhwuSotPFXUD52hRuuqL5SVXupnKYbZU6WGCdFv8FvMCMmLlFqvPcUjQrXB88SNpuS08F2o
VGm4o3pk6kautBVRLD+lFoypkd270UYojjuIEaNXklkoAWu3RtatAzePtsOg98DmRgLBjiYjm0eP
Q6eGSg0JxOgpHyzkaZI1zz6Uhe3YxOQ5q8XBG9JV2LnKPmvpG0cFUgBFHtR9NWb/PUSVmFBYETQZ
+GO6F2rAjUppzXXqchwQOEgEmlysSgXu0zC62pZiCEOEhgJ/bKu7ZZnhW4Ao2iCBBtMxZ7HKqTar
gmzXR4Fx7tUiXAZKUEMB149K4+fXKKrIzsy96NQVBE3JuYovpTp0kkOgBYJJUDGdmhUZVJkt2Y7U
/ch6NMDhyMq9OCx6VVH3LmN7rUYcRUYvt+C66IKDn5958CJ5RZn03XkJOBIh3d3sf4rRLaKuN/BW
6K0LRrXzfEROB3DmiwE54/Vx0P0f2SByyI3R4LARr8Mu2dUlMTCWDE86b1a4LaY0PPSLAjLlYtlb
rTPis3HpmTeN7AhipLHpOrIgX3MlRXF744bgOtCB/sgKfUUshBFulmP5r8WdBs7GCORL7ZTG+lfo
td95o9KLk/rvMad5Z4KLUo9KuIUe0O6gBU51ZMANPsLM7mwk47jvtlKjzwCypVcMpF2dsMmuCyfx
3knHOnoMzHte/fjVT4iHQ/9EbdJE91A6k88aS/cguXjtWQ4eCttrrBzL8mImO8u4UQHkEHo4UyBp
mqBRBdqCQ/37J1YE+ftCMQhsKLck/FIiTOYmSbwEuvQah5oWnI5GJQhNspsqXKrViZZc7fj5RCFT
JhiOV6tpDKwtc8HLix/CP8sBUcs+gmB6aUybq52o4B7HOXzuTxFEANNrPGgAYYDMhl9uon5Um8nO
xbo3ZCpjQYMFH+5l6NyEDU4kGvA+nZ0Vz+YfBRaLfVR98GRWhqRZm7/8DidGTtj9BYMFXBOSfjb8
mj/9hQr2BKKcb5UQYcmc1KPGPPJ2UgC9amfJR/R5KIVg+gvlAcIs5OXuxN/G1AyIRMdkvMrPGdZ2
X6Dl2mB7ApaqbxBG3jAGbcEOdhHe97JuBwhq8IKI58Mv7gvo3BhRtNb2wry/tBv+pPCGNpvMeOV8
28Gg1OfWpSFrg7DtmarNK9pbSNVEWP7L7gNYiE4OHnXdib8EW8SESc1X/AlcyFANr7K3fuovnYcB
NH3K+UgPNJgIpSPXP76YP8nJcLR9v7Iunjcvn/Krv2RvHASglUIAmaxsFlzPnvxoJ8PIgVKRN4r3
GZIE/LuwKUxXwVyAvQI6Axfykjlg+nivzaD7ehve1q0/D7/KuKbCVvYt4JIZLgx0LymIOQytAUOt
mZ9DscF+YdFf8i96X6NOcPNiiJfZB9GK7qjMU2ur+xdcpPnwBTefz9OuGAUGeoqJAuZ08qGVjzJK
csYa/AYQMusquc8SNQZmWeAjtYNSk9eEvUu1LTDmwxWZMCzkOH5Iy9g4e+oJ6jk8KAiC4QIqN7vB
PCj2abiO/zUYeML4ucnpjXsTGguYYIz6JrCHZEmTwI0w9iOGc50XP/p4ajfAkCQvESrseRsjtnGW
kgqOQEuLzGmILPwBEspZFh7tSCVyFwWUrnMfoTWgZrluyYzMlkSlNvHD1U5wr2HwXSjvCJ7CgxLm
cd5fFNIeClZEAgllE7Qw2qPXsupDjOdhuo7qo5sumQdMOIJN5euMCIdIn+uPgezHWfY2VKeXv3r1
OK1kvcNQ0yQbk8iOZXjXw1or5kxbFALlAS4DU6D/ZuwTq4kdPl6OZGTAD8d8jkhvxnDS2lZy6lJu
P6JjYMIhv2vxXoDsItp+uRXxC0C88yh/8VhkgJD03YA9V8Q/gBRuCO/wsjumE3nuSPnTUj58dR0W
Nr/AwOL3Nfp5mUEizBwXVu4F072onTQ9DGjpQxQ+Vv7M6mMTwNBB6YDyMuNLnXdFv7g5GOSmFXYH
n4z2XrhVNCREM7lfqUQd0keYyf/agFS0WQ9BCqqWsc+FuUfXXrLHfBOIHxLP/5boyHVLPXrggz7T
9RMeW1FzjOnWMU3dm6YfBfkbxjyev9R2Ai6AGMCAmSMZ9p8qBA7RHuAXhEcMwoOeHtWadyO2mCeP
u9SErp/t/Wt0JwpYAdXysIreVjJRyxUZE3Ol2QbBxmDQpcam1ffSdwMaTb6A7P+K2Vcen6GK8qqF
DOT0pBfEfZ01w60S7VaxZdPGQL8kJEv/XIrWrot/BmVLTrPuA78xWzWM5c/1k2QNMVzE6jFr1nKB
nYjBoBSv+m4k/L198yfQpWUZHn33Wvvkpuc9JI8zRpMRty++5KR7pF9ecnHFpRCdqRyzfBlra2Or
7KD9xf6hDbE83JfNv1ZS+CivLPo22neTfVnllXuiKttOIoZ0jaliEWMLwy1SaADAlaENRBeaTLtq
J0C1MqiB0KJZM/chPJs7l5IkYRLPcazBH2OONphUYDnD/8l4xdE5jj90DBPUGR5lZX2OzA8tf3Hu
K/KTS5uynXnb7LMYNm15hXGJeoIEa6Kgo/iQBG8U2+qK2dtmq5oqZ7j4w3dp3BoN94DbSMaofgJM
Ml06KLj2E+e41gusIR9j8cTfvgvpT+x7AoPYLRu8ISchuSTscmtbR3sGfQFTYYBIZptH17+AEtNN
Cr8MJIKf7CU6uWV7VcBW+Gmoa2NcyOAl+VqTLsrwTnWnhxIZkf3y1Wdr3J8x55xcNk3vHQS/wvCj
NpgxO1gkW5QZxDD7y5wNDtMGUpMmc2aYQouaBhKG9afRXxrWdppO7sQKkZbMTimaSwL2WzaxaSMt
Sm6DtMoAuPff2nNslxR8MKNP4dMLEbrM3RsvHN07GKwx9pjKlSCuVDz34qvNf1DD68ZakF6ute/b
e15f4mhlTu6ycCZmDTGLxr+KuYy152d47FfxN7E9rBMFhj3wycJZ+mQGCcZN1LjbPvPzq8GFwl0g
A0np3Xdrg76OduD28WkT8nguPqWleirlVdHamf8bd1hhxWdtQqzmZU/11/1osIEulrmkMtThkJjG
ju2lUpYd6Dx/v8h2+KOQtcvMNVtUO/JVESZq9pJ8P+EpyXYJlEzVo2NCRR+IpNl8GyKOucg0jSYH
NEg4cyTeS4sgzfbE4LzJ/qahaGSMe3AYsDJoELbMowOLI1fdTeeRt5GvEgf+GdYMYo5Ikno0FGy9
2hBcGMScI/S1qEOb2QGyekjd+s3Qb7p2jcdwQWXZEypr99+E+Pn6vlZXw50kBCQ+2rALSVuDS1Pb
A+w4ChiM7uB/kwppYu9Ar7kaCVYI25McnK3+nyLZFaweJmYVfIRtuNC0RywfwpY0JVukfhY6miWA
EWxF7OgcC/Jloh+4iqaHbHHTdGS7OVn12XSrgHRG1kprkUEHQg8ofwzKJsDYsz0uPdcEhn1ozUkN
ynmGwFLnbcnjzfDrtdevEpc5WeG44J7SeudnP9xtikTCk2bFfUkMbkSOfctyqXfzDOscWXhGhOam
mHm0OwOiYWytMm89HXlEdTJCZLMgt6KHKqSjDSYeJD9Cn3WfkQITsUaGhGil3xgJOwFpt56w8uj4
R+wq2PDgyfEhiPeyTZwcRxwhdxLoRmn0UcpnDxV6DNfVSmc0Kvb0tXF/Se6ydpWzK7KnGQJvzAf+
qcJb1k8yGkWOns1HVl/M6Ormw0z5UGnoexBe+uSYCnsjuoixR1Q4Dny5uDAhIgdYIwiovw1v6w/b
DItJlQZXJgv2CNw10kzKIH2k6rf4Bj5pPivcoGbtddiP38k9eftXZGDs0+qrHBbyutxatr6oV0h8
Zthr2cOhXxvL7lBswg9rC9PhTlfLVTnfUnjOlCe2XxrTmyqCZFXYiuHSeGrf3ZtboT1rVLv7cTU+
w2MoLMx3iy8TFedaW7brkXM4Ag28d9c5rSaYXdGsx/m8XfaaE3V2LNv+tX/2xCxz7CT+sJrKfAS/
prQ1lBXboi6sTMo/dZHsU+or09bZzc0lg5SvzXblRTZ1F267fnMQ2zWlL3WOpmIVs0ih7bGV4m7T
oa+axbDke1KfVkw4yyYXi6KQiGeLJXBYUAGqKJJCW484f4evXHcEEsiEuY8VQntw5W3Ih5ZtAaYc
Cxf8/PiQBRuPRSNnnZgei+jEamzBkiepC2mPtDQFp2hXJCrgg+wvGSIjburVJIGENt10DtUuIAVO
Z5zeMyRKlIfjHtq4WKxGY8kyqYlYXW/5NSK12HKr7I7/Bp0CZOSoCrCgksol7F3UpdBdVU714j5T
7aSyqUYFMlHwQCJHUNqIKmnOju5ucDWG6mIg96YVBxhRykds5l/iFQRSxPgNl+MP+LsDSTvkpdAY
33OK8LnvkAVB2+BPwWDUkOevBSqqbs8tZN/ln6iXwgaLhrkXA0ROVS/2ES01DvRI/ow/q7BzmCPn
5ksGEUUI8kXpSVoKoYQVt9zc+cbRx/aOTjK7jpk6GsJaVtL8hSecRgaDuYjJUcST5pdXNLbdPfnk
RMeg7r85fZPUbdIhCLFemgsP05/R6Uzw//cWnMsAwzFw4CdY6SDnxv4AfJNzQ1WtoPYhlIJd4P/x
QWANwWuGQVRrSJ4WnLWmc6GFLcCMapx7kHgrCeVWbqvpvEcz0U2HLP4yxyaOidoFLI8rQiq8ri1E
kut28hfGrwHRaF/KuDShifzzyDIlbcnbusLBrIl3IREEWQRq1+k/1bK1HVWNiegIoijeUR7k/2na
iTr75tzVTxSIVEsNaKa2aDFIX7AZkTop4kAIGtrNGdsZkFdA7YX4fRGQdZkucUsvGN4CycDzOmQF
RjSPcGXDwsACCkbD46WU5uTC4rJOIS1kFFQ28lBSUQrhgnU1c81yUS7MPWoFZWb+pt+FtNVfmuaw
nxnfLDlMDuubHZ09boRGgeDkS/9iOShP7r+BBhbmbxwgG8fA4QMfdFz6u0UMcQjRGiMYmSSMj4l1
Oatv+WlcdzT4lta2+hzDZRNhLzFnO4UD/hWnc5OXy8HcppiFaIvvdguxFOTISUiQKuwotqt+zV2g
CNaAFzw0SIsa24PJmGFO3KBIVXUVvtmNAL84IZE80BPlRnkZeogIoP6BPjCTF9TV4Ye41wT0xQvC
VdlLo27XHpVgITwBoTVx0eGnqWJWCQNolv4i2sfwXjNXUyeNzCBxjpaZKhcFfazMcB3okLhmjhfO
eXbA9t0uUsRwEz/Qzj6ZJHJkF/fizcmU1pfC2kZOEgKZDOrX3GM/hYhg0oy0ffOcY0VXOCw8nECw
SqzR75bXRvhnkuasOeW4EFGNVCwsYIlLX3NkFqQ3PxOwEw+3o0QZPs+zRQ4cSWAtFWHuuGRQpxuL
eEaRk+e0DtGPYxHS0qk0QyrUM/RcekjVeqg3kGTVxlHjpewv4AWCiEBvE92vxlwz22DU3ATXruLJ
2wmKHRQ31/pCrg6XBn9LrKfQUGIPDMCE8GA6Z5crrDJYwtjAxX6JZ2Mt7JRww8pYEsfRw4B0UmE3
CXCiJYYLsrhMQB9DO4P1DYrIcEdS0mDTgOxjxjKKkVyjvUSZPa3lWLGW5A3EGo1s02ia/HTPEZJi
MiO4z1TeTELvH94k4LWL4GaCkhxtXIfyZrCOxC2r/N3JAYTKZslx3u22GKsb1Y4ql0/hwWKzjtiN
Rlh7S5tROhMwGA1L0AL8jxMKO9ZYPF0WEIb8aIUaaJFB2FLmYGOwgJRoo3pfRbxkyYIIpLg2bLU0
WmV4J1MDcn2ANgc7IPU4wbZvNhw5bRbKLIuWQWhz/7oTUBFqMspr1iMqYfWF3+ivyNYBPZpb7EJZ
BJVk+LzUl/dmxeKnsCQostktC29FvAOLCcsIvOVvVjnOIkJJJL1twsFGZQn7/xx8htfi3by7bqV8
F3tCD8ojZQrz/lwLN67X1ti2R2Or7RLKFFsAXCLqjnpt29+6i7RTCXadV5fImKfL/Gp8p0sSwlb9
ChE7cIy5ziKbokt6Bp8sevFSeRL4vQ+PxR5jdHbydfv0j/ppslKlYfwGuIHhxuUKbnpkLhr5jNEl
lLXGsY5Zgt2eo0YbUXIIgeu5K8aqhJNZAsfMhKMOWsjJ/l/QczqgpFwSL+jCKy/mZWXXMKNh4eHD
lRK/hqP4RAlWfKJp5p0I49muHfREZXwy9HmNSP4TLV2CjA9TEQmJCMD9qS7XprbVzLuP2xFG1ohD
EOvapNALytyA9BQDHKWq4zMxItjH6I0Xo/5ZK19uu2dORxwyAMumVPYVWv/inXxS3bFwNawMgKOw
HEcyJx1BpnKcixDbNVuAPt44PWIveSHDuMOUGXNQpD18BNWpDbtUFwodDwsdli1JWxdxFg6DFL0U
O9kku+goVAie9Jcj2AO7yYsmDuSThEIV5gWBltBf/xEJRGK3VG4go4gTwbWj0zhXEJd4ZFtfWbTo
vMcCvmGTR5nKBuluM3ErVi9JnAzMVAU6+0rAb3IkrGSFPRsZllD9QMUw+AbqmUzPYKiBAPy4y/gJ
5OTC8GTNZoskqaFdgqBMm/80bEnotcUIsgaKbHKaZxT3IBfglNR87FUVgzU7Z2dYQ/fs0kPWE2yt
3/Ye29CxN9e5D8o6U37EgZbufGB6JtQaM/0TVVL5w6FkipY15t6/8sPd+5gpYswHiZKDk4llzNoc
bE59EfR4RKcom2AwIrpnkkI1w38DoDy/jNaPccHchx25Jg+EDZe0MQoHYO23u2a+cSbVX5xh+a/+
Zk+mPEL5aUHjqGfFuWPvuyZUOeDWc/5MVu+qf4GMA9IMDUMhb1R9ixFMLmwMNlCkChyVGb4MDhfF
zozBUa6LQ3QJT+2uXKen9lRfqdvBFrhmFTolULIXZ2oTGBcs4FV+Tzr2Q/Ma0LBYkwD+fy0/uB30
j4E9cQYP/ymfMayPT+MuPNRfCrD8O3tr33S3PtgiCTwCfBG9efcpAU1b25JSV7TNkTk0Y9PF6ONJ
Nd1oIMnYe+1pASiYX1BD4QJCUEEFxQrIbOVfCfc4ZD/FD0vl8BHcDAcSMIxCmhPVrn38r4EL7D1t
k92MDVLSW//wXuNDXNTzfONle+NN6jAEIMWOcST6lR6wg6E+w1cf7ehWP/Qf+kzsTazD0FCphEMI
08fxrAP0MclulDqeE+w5xY4GiMpBflHvxd8AHvpvvZLANrGwJEHVX3LRgjsP+qn+9q8cmaY6EMHP
SlNXVsayRDeTPGJYBfOBFUN3KiTq/ay5S/liWkav8lvbmQ/5r0rCrS2jn6JzqFywZoXw7AnrhDRM
U8OadbzHv9n9H44JlR4GEyqOTRgsXOzmiZ+aE521i1/lCQMVALX0V/MdqiasVCi0WT86ZN2c8EA5
8wXIdcthiRqhOXBYCqjjKBKRgyEI/uZOVGwJSIO4N9xM0BZaIndOchzpKPRZp/mwfBKtunIG4KPo
FFM4tpIO2i6UFs3fnFrsS6Nl18KrnKsjZ6ujVS7SExXT8OCz+ujAAOVwzuAwME8ufEOCseDbxYFg
Q4V9GU/HgJg+4mqxXJmL/woIoXSncOYacSCbgxqWWOGL6wkaQIKwahDZIXiol+mLTy/CV81n9e9w
UO9Nde/AYyfxxlQPTrNMto3CttQVbWIW1+YuvqeSFkQFqhXYF4oUQC9wQncHj4kR7BewOacPqJBE
i2b9Tb0ZUKxTXeYLmkosTRxyXHZbLkzxd+D5jo/NPT+O4BflPNp62/RU37DbgpSKjQ4kYCwF9ZnL
ycdy8puI8r/cD7hBj8+YLCFrwjNGPLZre0yWvrKgDlah+3uz/BTTSJopi2hFD9Ramg/pBqgd/rgP
TuOn8abe4UoKjLm38c1NGvQ5S2b35ktFnFXeOvd2jbdmLPqUuGhdzB0cqiJyNHfBMlRxkFPXKqRM
dHl8EtB+fPSxpr1SeIcf5YuhVp66fhHjHI0EYdfexvWwT1ZEhz7UfzniEdh/iNajtZcucrqrUIE/
+AH2Vey79BtYTZBhzkzJYXvUgZWW8Xrw9mxd6Vr7YQHVkER8gNazzIJfsbSyq7PD8UUBP/0n+xJ+
vMu4bB7CkcEh4U+2bnfhKTmwAqY3+V/3aL5KvH5QvXDR/slwEYCYp8s+9ec3A1EDEEH4GDcZWQt9
ql+QMY6a5ATSzlsNh/ilPzjFyHihisv6lzsfKhxE65P5haEmw4FLYT7KHD0YQV3TwJ3OAohZCJ/d
DF/lqV3nr2FkJS/uoJchWD7idm4DnsLL7Efbh1ObUmOOrsLvqT38q+Of866AYLgTND5Lh5M3VmKE
YLGvTisLXihAN8ihcGIGlWExB+5AO/gELWboggg3Z3YMWKZE4EmcmRDgvMRHerM+gstf+wMwnJIQ
UjiE8430Qya5x8Rz7ZL17lu7QYDRAfgwFe3wCMcQaFE8C+R8s0pZ+WyqT+R76PF00N92yaNCaDhG
0uCD2nyqg9jdDqgyDYXaYFKHRxxNQhtzoClkE7xxgdSzogPV2igvBYR+dBHFSXSJBQdPQsIp89LV
9pc/3gX7UIh/w95aFmcXSh9E5YeHS0M9B5R70WHvpq9NdFE/o0w0J7M16hGzTIsdpSf0TO5Gc8hf
5Yu9tLmD4CRvUN6w2rKu02NU4F+2dlEvMjAIVGnGjOZ00d5AzL7pohGxZuJJjJcFt4wQ43hN2q6B
lRR4DDT0LxVf9kdHMo0GaXVD/FbS70JjpwXbRN9Ah8EPWUcXH9rUUsR2++I2SlAubqFiVOMx5o5Q
5hN6jUxfXPvjFl6mYq2MepUHCy+zE4AgFTo9430r9hA8HCxCxWDDW5nW+ouFcSEGYdWqrdaivGlA
VieDdkfXtnVJxs1JCe7uuI8i/N3nOqBGdTExTIr5CFjI0C+cwWBPUBVGS35CpRfghKDQPF+0tS1B
9ocskp6z0ZF7zt1InxYcpnWane3C/GJwdQHYjl2QdRsRq7eKxnVs3DvR6TkvUimguSmx+NhK0qJJ
GMZcZCJd5hRRXoGDEMjXNGlL3N5ZJgycGJaW58hULyRd1muXl72MNzARVuyCA/04pdCxB4/QK7rk
S0H62HLICecUep/FpfLOo8JgmHyD54WIp8fSi59cj9SZoPnaTnFYwOSis2ncUVyz0an4EYQPEA9u
tTe5Si+mEqRx7QABYDxopNEhg/Ij6q0gt4giHEV1XXjDVrJKh06fpL8qfQVFdCHHvZPWpKF1KJWA
ZCP+D/N6m0W/BqrJBJ8KODqkl1n7ViqPvtttynRPmPh7tIKDTgIgGcGbkn6BWSBF59cRQZMq0Ubq
vh1aW07ooqnjowzxnOF/fCaDlJj78N0Y+GkgkuAimdpVzQX0i/E2GR2RW9XZ0z8H4FB9aUBr/UqF
2//j6LyW28ayKPpFqEIOryIRCWYq+QUlyTJyzvj6XuyZqa5pV1tWi8C95+zI79l6LjNMRZZ6eh4b
UbrLxz9dajIEZ689GYAEAjv0oMX4expyVkaL8H/RE3Vj/1RNsBY+LZ0Soh13U6G+Pf4qdupBLW5r
8iNhhZ0YLwxe5xhuT6FOmwr6VcmPs8mg2wMqpBzYgna0uO7bpX1qOkTfWMGBNYkDyZr+TfXUEWMy
ihxwQSvKF4v1qlCtR1+quNuUU2NyULHM63L/Bjs60bw6Dkgi8iHFyYB7h7gApV4vCUJZdrkO5ClL
7XnLiI4keCUDisajHivSbhJYCLuead/sislpGiC+XA/mor92heV0KehDWy3Ahoqrs0lFUnxrI4qK
i59kyiJ/yDEI4QWN2DxEQXaansjZhO8/WCkvZ5Wdo+7Ulvl1RHROjA92x7Ogk9A19330sMQ80Jf8
oqxVs5csR2Jq/IrRgIK9BsCmLDgJlWNGsjiLKnHSx+viI12ya1Pw5Y78A717JnM3eP7bYnisxKBn
6XhZ6xANoFOthKNJxXnNcI9SubOqiM+AbzvppsuiWys6zw3mwBdZ+O3UrzTxkggh1XHgHhiV94ES
PUqhxVtMFAS3DqYucoM0nlgaHuQD+EJb3IzoYE6fm/gtZY9Cus/Hxgyi+gs13IhaLhMO/fqRc9IU
9a+qIm7fW13YV7viouJAlXwOOdZjphJWPII74JIxzgLUkedceVOJIN1HAbKi/MZZCMCCr+LQT0c9
vaTMKFwvipc/YwxsgGdMC3LqRUCtIKxg06ioT6boMQKyudKparDwFkxV4EyA0hsMs58MZKiE8fpo
hbcOmrVn0fD7klYxV0TbLHoriJF47ExfJ6p83o8of+RAB01erXsqXBKTJM+JMxndNHHb9WUAYY9w
kXEiIuYiIG/D8jgqFVmBEZINjEtAlMhpYEj2dfEjLw+lvCpP6q7BS6y7m34uMQK3EK5OXdgVJmMh
DiHUZ84nzS+rb4HOEfOaGMHKx2CwF9FKDPPbz8hggAPdMnrTOuDRhDX92EsfZB8vu0xw4w6O615Z
PpHclJxnsWutp6esfLFTPIwrcjiIJacRD3FCrqFx3tAN8eOxrpZ4m/JwLjNm4QEGX5hPRpUAeMoY
avJzKvXrXpOFz6LTPBPUzlksqDKviDkTqDP0deWRDR7DrSieq5IlaPAVNaxLCtxeElzkic2wm9cu
r2aMGtHbHsNFEcOF1KLCphidTUlcryTFyg2l9WjmsQ76iohFcJeMHve8yTDJvruEfJ1ln974W2sI
su5RdA8g2XyA8UGH8tDLYLO8WXHFjRKomzz72nCYcJDLBzhbqfY3YuiIcuj37U1itpQIKbuNmzfa
NEpLwy4t6Wk59/mVdKRJuY8s8EbLAsO8r/fGK+WXtKCPcGlLRoiTNQZMnBqw0sZ7rNSDDz2IwLvI
z4zbJn84XH7nKjx240FJwlJxFXnvTJab5v4UQxUhHAty/aBQbh0fteah5ndd+zD7kCmCq5022ZYH
T96OYx5M1lkMeBzxXchAGaQepV+CElKzqI1uJAeNcKwLgqo9gSKd3mksf41ObeHVMg+JZ4IrdE6x
OhINqKbbzYcsDQtpb5aeZrh9Ri+JE0ssCMh/Gapa8CXRTH+WDyxDvJui/JrjJlMCXre5PSWW19JA
xU3AqEOokhx2xAtLj56Ac+lqpGFleAmidQesJFbYJCMdOiQfmWtQ9Y66FJ9yc70JKDGG+8RTD3GJ
IMnc427bZyPPjV/Vn4bhx/KjpCahp3FxRy91Len+0F61KJBXQp+vSQ3/u+s64b2SrLf6upq2ggKO
IEzFFumdIpyPPRsYEfnh5ps64XRemgeNdUacPx9G895IYT06VgV54MVPPuL8DGrL1pusrg+RwmKJ
/6CoJOfC/I5i7VrS6Dy5FuFkEOfQEWBE+1aB8PERG+SLt+ATnbBpLh4nOfrPvoCaeyxcFxZCGNg8
R+dQxPkNHl14KAw2IehF30IeRVVrT91BQVbppzJSOE9yh/mPAlK5D5sI7PCI4FaQwS+jIM58iRJ0
ZJ4I5wI+PH6d898mqIHnyJi4ivr6x6J40tVRXeVZstHZjL7a8hokjCvQ+AtYX2o4un6fxjuH+ta5
nLSGHiA3eGqrZs9Yw0E/xvq7aFyQAs94IjR/azz+usBjsDpTiLxFrxB7G7kWpmd0vtUep+Xdyv/0
b+J2noRjqgSSeMqMW1oGonDKdLsTnYT4W/0kTCepDTR8KQyAhIWzev6kB9U2HF72dHCyxH2eMVhh
2tMKJVEfIv1QCUHbvsWiZ6WvdczhQ6zUbFFyTZwQqX3xccheBab9bblXyz1t/i7YTmuptY9q9dsM
QfWciuNkly2HVTwqpi8KlxLRLM5UGgYoczhQ17hap6m30Sk1g0thZoJeUFaOY+Koio94KXEiAsaV
czsTx9K2LJ6SuF0McTxqmXJtA8k4pmRS0f7FHF3OZ0p3KhXrBoJ+b+jvHN0QrlaJmH35pVHW+v+G
AC/jggat2YqjUvkDBxbnImKw2m4lLwqwke9qnbwZfqeDgWIFkUgLv0v3BlVWsPktFDENJ3ARBCrf
K+FTGpCbeTx+q8LIci1XQmhDwXKzifYsl7JIiagTM3ovxaMEVZ0HMwZZNrBR+6D4ut58Y3q3APqs
FtLUrrejmgW17AnJIfrVpdVLTOFokoGZ3Zr1ICZHfowRxKx1F+RQmd+FFZGH+6aKAbPI1ts8i1t3
lbS/GkSEbxYEmoa5hanG5Uw2zBu1mmKK7j3kkGlU0FT0Kdhsnb5yZSIYKlIyjQ1Ev+NiDSg/tqhZ
0OxssEF8OVTl/+8ivvY2BhzNiJ3y1aNrtW3Bv5j+XiHjeuNdihDk2FLKfUFkmQvAEcFKcmhmfCNV
+UczfJPFv8HB8IJkhz2WPZhVz4j5B3H2+WvyWbzW2VkrOTb6vkaXEOV0RDe7P0BiPYvd5qIMUeDZ
0ROiEyWJP7eZ+B4YChDaJPDm7PWj4ihIUHBlQs3115mMhDKs+68McJMUehC5Z5S9BvtotxYVbE5T
fZAWbGTnLjsb4nepX0wYMnLbINYaQKlpu7VVvNeFv40OMNq6Ufa2zvScoE1Ig+0QyZi3ebGq4rEw
XMzHZTwJxh8NX6ZxxsED7t9jX8rl86ST5OSX6nXGo2Y+aZT4NpMBErsx9F79sPhBCb6eXbPJa/EO
vc8ZW1bx0ROtNlApC4EuaoXbxNu1SohdnTBcaJPwOfhmUMMyKQF88IqQShNepfF9vHZAsmDNW3HO
xvfnQpMJAHXoDeTDSLr/7xrfi8ZbwF+W7S/jUhU5mOYY5iqdYtEH/hKpCJVnjMtNU0OzOcRqwAdR
px9s9GuBt/AILsrO9FzXGo28I4cIT4h7jCrtdKub3XP6OqsdTC/i8i56QnMb1WkqPn+XC0QkDpqz
lqtj3FmG3xnewhFjGuyrz5a706rDyxFnDAmxWGeoH+WcWS/VQoXQbVJuqfU+za7cOjhxIz4RjtjP
LAs1KTQA3JRQx0xkV3EKGUIhuh7ohNEUypde3ZKNSMwaAlt5b0magQFB4AY/jLSGyy4ymVY/kMD2
u7ILtd6NkZtDGd62+E3IHKVj2nVG601LH1tt6/KpGd/6yCtUVx19VA9T67IDSZMjJoHeIBj2oNcx
HAKHxoo74HoBuv1qPgFIujtV6s2+yjEdoBJ8g1XQvqHva30PFz49xv/ffQPV0eBmiF7gXjg0jYxc
QN0rQOEl1iimQZXAmeh7tEgKlQI1JZJ1REs0ivlvHUzyDjiC1Xk1LywjoCMrpCeRyxeAZBQjfBwV
hgbgPmTyHfFPT4SDVoSJd1Q9JsdEuwDUaP0n580UszG4wnwfQeGgP2c5+irj+Y8Zk38JPNurnzWK
9YTiMNU4PGVnJJPqPKKj5GcFYsHbKH9a6m0DzCVAYJ5etfJTWSCI//FLPAlglUw3YCNzfTKla0GQ
FDSxdF0gDyyg7TGqcA4kx2J9Lyyf1wdBoVwfGs6iihwpQXmzCGFmMhschA/P+Uckg5CgCmAtEqTh
R6GwzZ2AmUMOYjTzQJBnNQnoEdC0Y0GwKsNpf8Bil89XxFHzEpg0B5Yf5eKzaoBsVeK+TrzZsGU9
rKa36kkQ4Oyaw24OVfmUGI/BuiiGo9Ej8pf+D6ZuV0CmHj3q5UpS7Xf2zDlq7GlkM3rGXsQw17hC
VEDxg5WxugWK6BPaEo1u2TeEw73SC2ylPm73Sgsy8IPGHSccv9+FRo2wl1ODjiaCpRaurj6r+oei
/Oo6++VXQuaEQLzBEWxKWzFPvfYlC8Z+QJlq2Z3qLeaVc09U7mLzqhshel0sq2XOj/RWr7Ri20kT
JNlDEEmR8RA06wxQSyBG3pQ4iPU3tkeC5EENwPd0rliHz68U/SkK1MxflnfmzXUI+R5YC6WFKeO4
yqw6J7YDUQrmzU/j41wC1dhUcFpof6vYxUKD8Yj3cy8rbBrnbPYHTmBRO0bWvieKrtoDntKBU68m
ye+Es860i6FnkluklQd5DK3eg+rtxzB5Xsk2lLYuIedzSrpIOq/rvJ61mKkNNEZhtw1U+Wo2l4ly
jYm2nScmnUSu1h3N4dtsQWn7zVeWBNWjXywHEK1L1x5H6Xn5mtdafvR8qT4wDHcRrhnUrGFCaGnp
aYMaUtprD686l17fOqPxrs2n1DpwqI5Y+ITXdArH9sT8wb6nRicxxzcbTgRcpruMeY76C8lzljEo
BbunRHg+FBEyaxd7Zw260iWbP4EtM8uDyeT69pNX5tsgw+VKRRr8EQkDVeBbWaPRGIinZfoQiBDb
oIZRKKytM5l/+zaEoEGpKxHatYaKQe4WNRyHEm109NZo55gbsb4hZ5hlx2pspDDrdC0Xl/8TZ5eG
UsH+vswc2xwpVv6w1PMY31PUaslfBKvzdFzKj2mGMWBbpxcUWY/RuWvq6ZrzXKs6b7DOwIdoCKbm
mkVMeZzNkJuVvO0N9VaPXzMuAcWeBNeUSRP3tvQ0q3904ypW/iIdqtgj3nBll9Y5i1kNbVRy6W+7
rK5oscPmw7f8FcnuQAL7GJbDz1p4knCGGUIUUM9PuZBhOvNwLhTmmkCPPN2C461fW57+zHGAb5WI
nYPwTndR0Wpxcrh94Wmx2/8PdGSJrSHLYRkSwg4x5Va9MucM6UGOPw11jx+GxMNT3r0nTBvaRdHD
p6Qgq9E4o6fkXROfgTPDJTe2EL+FtBFpg/BdPyV4H4yjFYddctj649Rfm4zXsnwZ4BK19MZUyBaP
9ULk6ks+c1zC0QTCnPxOMIDAHrJyWAs3a88x9R7Dt6bREh0/F0zmsiJyN2Gvr262/h3nTy1/SHxI
T5REOLCwbMV1jQMNdRCYfxWu4sEqgcwvceQty7mKKN3YV53TQq9KFJeB1O87/Ti1wVMF1riwiXl6
1IlU4mDe1vfNetV6OyEyzK54d8p/Q/oq53cD9XA0/yFBoZoPT80hcHsUxmJDuyx5LioROr3+si9M
r0Msg1hIsFOCi1ArqfzDYEhu2drXXsiPoyleNqTaShAJtiGexpwLik+LAGDui+VpWcip+Yavy1z0
6vwth9sTVaDbTvP44gKnTaAXAaRinRzryh6RKJACBlD0vxQTE3fEl2pbRqgWZbs3Licp/ydBqw3W
IU2QIaYHzfrUa2iUNLcTUG0D9sYqZC+O3oz8akivtfCUNlXbn2yoOXgi2ACNxcJAhhHKuqcMfyvj
ag7nJHfkZV/pzxY6uOrofxhrDY32bqB5K6HclOJfNMNjpmGSnsU40OfPhSoZ8Z613rO0b/ubEulH
RgleNCKRxRCdPYPL/AuAAompMP5i19QPTdgShLpJuPxJNpr/x0W8kgrQGcZf9MfxVSatbK8adEZ5
OIZ10o1kcyVzsBcJmCX1J5VkFivY7gIrCIBzOd8y1iVJ/4qRGfZpAJc/5u7QMeYexjrsJIhIiIDE
ALQH2EVfnaKLy/mkiWQ/Gs3RwOQ5oLSp0IJJNpTZrlHv2YrpO7BwY+FR68/tcBrAlEruNN8y3Lq0
NR5FQo2s3XwDBEyXY2yFuA/62UblWBY+PEnfOyVVJqu9RWyEe/HZnCZetZZHnOzkhkQ/Ln8F+/p3
jXIsIpuu5uKJym9mwcq86d3fBN6N3QysYpvclGGuDAs6n7rfqH9jvjVGFEUfgESJGjbNua4PwxAc
BQzvjE5Onfp9FxZV2BJQ13v5SEoz3hXjo+m6oF6fK2E8PHoL0AdVJDme2oAN9hwVXm9RC/CRiHd0
sJLwasa4T0INaXj7Xg0ndfLFzC1UX1QOeA8K4Tzkr3p0Mgh8G0OQqjV+GKa3KWhzDyv1ubKnL7iP
HmsfSNtxbj3MljzRDLBY4xiDrBr6PGxI3dHYc4/tFkgW8knPTDyN8En9fVSebAko3MC7k2ACxwNN
FBIGNPRoQWreVdlbUsyz3loH7fsU3Xr+ZU3rYI0eDRgmCM9KMPF1MjhTvNhDh9AN8An7wfQi0WtN
hMTAJhcJz2y3nVRyGyLw/5+JuSAdQx0l4uZMK5Vpbh47kFRg+8CavCgIRFHLtYmP5BQYppX87Zk8
6EbRqWaBKSi1sxEQAxRs89usnlojxAZZVb6h+FJ65lcQ2kNCSbqboeXiMc2/poiB/zhaOwG6GMGQ
H684qz2GmS4GBH0iwMvMhBPUqJ8zL2O3lgMuibzFTQdiRyqU09c8K85QXlGV1pOdL65ehWJ2wHOS
VMf+TwQs37vs7TCT0eqn9X42nVH87jMqrkLJCGPTSRMHyLgja58Lf3RTyNVlP8wULPtoZJX4AA9o
IIiA4cRM6iuGt25eIYfJ6nQ9GKNbdo5I2hmwQYTz0tnWw6xeRcDMCT3eggvmoAjH5Yk+uBEVcs+f
l1exphFSRAnji1Y7w7OB3K6Wa1UR3QFQfVVhcfj42k3xs72g/cHXBQtBJ84YvZV/IN55tfCsWYnL
VJZZDG2sitzEsKfnlhZj8zrrf6zMpdlxHk9U2RDNTELjIFbHqqJZl3daHENoqLF4UrZrEVSbs40u
8iuopTUwh32z3YTuoJBArI9HqfKkJVTR7o6YWV6w2tEIahuji+gr3s7cI3HzV2HDaefXKfnS5WvU
vlHzuGicE8EUHxiVUt2Rxg+0a21zkjUH7XUSH/jpgPMkKc982NBsRbhTCS57ntfXlOuefGkFNaqT
FjbakAjDF9+O8OJAkEKTZvqx196zxkvnT5M47oh2gsoTU1a0g9SFIkFy6598uQutw2rAfqERcJCw
BVytJ+V5xr+ncP7jtCN0td3XKZuyJzSemtyb+mPuvsj0aNiFB8eJ1Ku5+FAAEDM8xUCm0nbQ8tDZ
TPgDu0GmIbr5iFRvfFTgG1NFcKZ8oXcTCaWGijVZ6IZI5fgr7ubJa+ZHnkXYDFa2BUo0p8o8puRV
bjbHS7Y5rFRsUvq6K//JSv6q5GdL851FvuWczaSlpK4wPRfo4u/4tu9+cj5+2lXIZTbCcTwp6mlP
QHSkcGtmnJgtkEeZy7wys/SqTli4agNN0FpJ/wrTR1RCd06bHWcLbMZBqmOpO5TzQFZIFU0MsAC0
K4imXa97hWz+eF9bp6E9DjVXxT4SjzPliNud2Q8hy4RkJT508YlAIYEnS3cAR7X4VI0eX39NfOTw
I+Ds7MyKg1RCH5xWcXmY0OawXuSFpw7hHN3H5tRZ7gC+joz0DR9XqjgYO1IrXLVTZjFi3OQJIa9L
XQHWamSb83xA6pzLYaMdoHW9acUMcdpklBTpZckeYkZPyT+ck6b8/IMbul75vgUMuT+F/ndVHvOG
8hW01lfaY7dA/riIgxSTs9XlRZsIr/yCJcZCUCX7/YKdmlgcGnUpeGzcDP/Cq4J6JxHGIJt3RcZq
FbSKb6q8+1QIgEEh8NdENKVIIJTSZCad61AyfzBXQPYrwAbLhiohFFcIq4+l44AHVLccCxmmAIKy
x7NV0QaQaf/qMVTRKGi/ErGFxnIg46Wl7geClzqJZ5w9Bk2S+nejehSVc86b2x2M8Vhu+2LZiUZQ
FSzivBNUTdd/QZ6NfqeuAAUuspSieGB+Y3Jj+4TisAwkIHC/gb55fOZcvo0SAqAg6bP6a4R+nmWP
cGV8u0zY2R7xLsHmFCfUwMLYnUzHSF2IbFHFvhTyuIHMqapTd3yagdDvc94K9BWAgBQUxPwDAfMj
4JDCvx7cwws7EJq854SBisPSEe06ovqUszzFwvSBPA851d9ir4m5EzfDhgfRl5/RdAbjWzWjsFLZ
FOnvMljsFJ6urL2qvfVZjC3TD+pdkbptGxCmT/1t9IzZvaYbyU9cuABvA9O1C7QvoW3lLg5RfGU4
dLALPkVEdnRCbjT/myoLzWIsI8cDldrIti71r22Bs7syQoFAZoIzwTsJgUrTLFYf0l/XjyHjJAw2
/VKAXFEGsbWt39CIxabMZGhLpoOfQifVAED2CQi+dH8Rr+VfcQkrxfrA90pyqt8BwijCz0ixARmm
6Ef/gqMtWIob7NB6ILLIEbn+lA9q/XEdv3XpqDbIEVHh17W9kOa67btsR3SxHCNXGX18OxjWsHQS
ZuQgCETyucS3okBOACriMT6p8nFYqCaPnWK5YGkR0M0W11H6QF26fGPuIesV6yItCAW7cmx5Uvcz
0hgEMrB6mNL1is6L85Kdn26uFDCbCAYXKA/VJCSfbchvfB7oJKyPmNZwYE/pqIgXIUKldk0Ljzyr
dKM4GDSX/RNZJKb3AWEvZZphKnklWk9Efujrf/Rir7UkdOxLa29W+0RGbXhUOGHzJ6sNy4V9Vv+H
7kegjpxuy8be8FNJBxpl9KCSDtZjJhJbITObt1/diPqiLtFrytCQYRkI8j3APXYICAQvWyC1GUhO
Dfnyigzoc1TqMzuWROINccGMrn/ZdelAegEpq1f8IuEmUiVlEwtvtjbZ4WTh699EmHavBMCvyCVg
U9TuIg6OiG0BfgnYipSO2BkLm50wz/EEJgTreFmL79VViuOwhjXFfETZ9wcUedRvAjZg4+t9xgRY
KRNVFU422Z2UkCuGn7f81V956bXam6Dtc0hSeDwKyGkifmHki0UX9iGrnEy5MJWa6W+jn03F6Qaf
IRiHXP3WJ3gHIVJ28wKPyVkIoUn6CHUDfr2dxYFM0be1QglwAgZN6CYcEK/7aWl3H+SUWg3Dg/ov
WhVCxRCmgoaYD5MyYDNksUKmDRDI+6/ENuowYgz5LTgawLq0zk9JrIbv3rebjSWCErQnwsUU9gKR
hb8Llm1SbaRgublbALAzOv5CDfW8dLHWu0nPKu4Mea+TG/xRUBRJxkGVAd48oV1FC0ftahWv5brn
fAbFIbKQtbxD/ZvjpCRwy5/x9RPcLu2Md/OX+1JHW4FHkNho1jcdM/FOoX6bNpGGB5563iDLDqMe
DOz9ZE6MxGEi3icwSb2ldXGBAiBHYY8iNd/OGEBQdJi7jn0p2bW908IO80CzvED2E5CCF2Gn6NBs
0g7q8IIolbC8fPP08tBgsSTvpdj3ecCu2cWH+VYvfraFOsoC4jZkRyF8Fxm8gI2bOgNILZ9dYGPG
5e5GA1fC+7mt7KtseAbj8hlic+oeTHuZcJZpPrIsv9scsTlZK62qtsHpZni65ELYQFWI5h5VK2y7
ru8LokJODPAxVj+096KdcS8vTpoW1zmWnOFp24xeGLsR3oq9k3xye5oi1bjeFJ8AmW0Tu4fOncRo
4SMIqWBsKl9MnOFpLkTHcyb0FUWoawByoDRTHP7HuVSnx6n8sx8G8GQnAXJHxoZLnHcZylHYL8x7
mbPVfg7whNWYid9YHa4lwXCRA0QAmXhx0DJ9bC3fO6nSaK/dndzfFflg5MhZ6V7soO4RaMuRvm+Y
ACOyxHwtd/jMeDYIMK65culQOKbAK4QuIgjsSPA5bOTH9Ta3JpqjpOe3EvKzBzZgAK9WnmzHZJ8G
cBX9WvQSkbJXB8EiDvmq2km00TR7JIH1vVizk2gD1SNiNOlBJBogLTDqBcbkpISppDYTJOuQq3Og
kmCNZIKKc7qhcq8agliAIn3+8fQtuex7afyht2+dGpZ0yA2OyU0HR2DgbvbA/81XfVF/hq71i/RP
slCEFxIXAPU+k/NAziOGr9WxtotGEaV+IFQVjQa9vtAaBdI5mFRukFID5gGDZqBBMKNTBI1UHEeZ
RfzKY+TdBi3Mj51y2s8SxilhzXBhCERVY+bEiUTolKhdEEiCOvEj6+c9KuFcsp9QJSHkGg5vwuHz
KOZyBfeyMqDO1vrb1/PvM65rHNbHHMhf2cj9BUrh6gSBI2ygLk1wlpR/291K9K2IFPgFYSp3vFq6
LQ0aIkvXnj4ZXfWlJlwFspbB5UQGJvKbdH9V3KbEQnxrh292YEbG9Ql5//BKAWWjZpoLPJ8I9Kml
OJkkZk6/fEkV3WvzyFRO913MOb8McUGDFsJvUbTHdDjMybqTNhY2dckrhyzLhaix4odxvESshxiT
z0DC7qF41R0IKitBs11uN96HpHzKcJ0YxwwRcku4CR5JmjeiML9gfgHmQJHIQxlNGyXz4jvQS3w8
GI2mH2AmmSV+fIFM038hZRLNh0br7tYBz6j6Vp+eDyWl71i6nuZWClRfpncyYrzSY6F04i/lvsAy
MnHQwoU3eXJy/ch0JqfOSq4OMyEIlkAjBFPdjsVyIcAMV8C2V3AO97vWWy6WiEL3BZE27F7nkGV5
EGOdtqQ+dldssmzonLN7WQzE8hAh6TT8kScbZxjmHkw05IkfSV041N+Cp935W9S5+Ds2vmcceU9h
3/A3+4SH4GfE+4eTCapU6fyn/eoufcJkL6+x9HInlxoskf/R1CHhaiXfAtEt4G+kIq+vFbSA+pDv
cV1AVm+Hfjf+mdmFX7o7c1p6GB7jG163n9bLmDU4aZ89dez66oTpFMd87rSn6gKAUZACAVcWRlct
tmdbD9B6OMIpkphPXnI3dZU/JCOhr22+SVtC8mYwbrzQ+hniMHCqn/WmEJ3x8/SHoU7+3CSHMQYk
l3AN7tl8uOXcGuwXphsdyzcV4wNmKkRiHt1wsh01DujIsfJGEJfP9TM5z68mf8iB0CkKJa7ysSJ9
aVfb1tn4se4IftJ/iWtcUgeyI/q/f4+OPtl0GEpeNirTX+q3Pfg5qgiwVHZhtiX6HT4ILjn2v6hF
2NkX1UNw2Di513+BgYzBdskR65NV9Wmu+97ADbCT/HGiDE4qfUziXoofvb3x3KlvA/oRL79mZxLg
M9Y+SqPx07807zQ3Rz4TD2kJJZqWxV+/UDTt+Qjf1Qu6UctObeuACAiB52h3e6tywA7ImkdbhbMf
2YQt/wMUn8ag2rdHwofQwBqH4pK/AXlHRwp38Dq8MJh02lHxmr8wvDHxQs3LdJFfHd4Am9HBy4/R
hePWaZzYVi9kAF9Swopf5t/kR3zFKMAk8T3+4mDCRfmMl8Q7eMVm46SebFNzaGPdmj/r7AVIMuwO
tSt5vTsfgV++szMVbj4Vycf6deRX2qNyIz7Tic4U9FxSP3WBsdzpzsP9V/tp1xdI9ce1/Y7EncYr
+X+ZlHZZzuut/CbXHdMbWn5Qgw/TRiXH8vEbvRfeQE2S8pm88jbxk+E31h4+RO1juKiUovLNisf0
AEoS7hsfFd9+PMjvgi+E1kM/jYeZ/+b31YtOTP0sRltK+MsdH92ZD81r/PiWnySHTrYgvZLn5yj7
8RQfNgyBSC1u2Wd76vyjcOZdjK4IEy7L/8ak9tSe+hNvychvFu4Q86jsoj/Ra/T6JuoWnp7nmBzl
19zjEyLkpf3FYcEDuDHycotrNpqHiLWZ4BSHV0N/ppg9wE4WeZf1bjKTkkbiHHiSj5MM+75J6qy0
m7/iL9bZen3+mIi4Zcyl/6zmeZEcdlCzdSeBnZMLp0y51oim0CyIn8DkSsTBEL0pcciBlZVnFE9/
VuQb+MlJX6jx8joTXEtDoicWJDhJHPikCAD3Mc3zazHExWxjlxLeEWshN9QOqKfKa3VHq4KyW72Y
wEk8SjV5hiuNPm8ASPiKlt5eOh8Tx5LZlBgan/E7vgpY1lkKhuQGLWzQC8AVTTmHHCJUxWgYcsdV
JAbVL872gaMTycYb6z6762YFCaFExov2IOIGd70pv1krAvkq3oimMJ6umVIJZ4ZMHcTeSDoUXZSB
5t+Tos5O3pW05wmYOZcGB4SSvffSjsRlbAE5GRsUx97IW/SsQ35AdWRX/ojw4yX6hz0WwS0SoyPy
WA9noEd2iYfF/bCe5Dfxrfhb3+Yv7tLjei3fYRboW5ufd/1L8ath3o6fZp9nkxoUHtgqqRkO3bpa
fRzC4iEGw8c83OJDT7rXLXkkoX6rjjl6u16oSR4AyDPTRz0rpSdL830Yxw8lr3U7SaEn01a4NzFl
XimH7edwJwmN86175AcEUhxpyx4CnXNMVDwTlSZy1Q0p8WFgxPOVn+2vZdiJ24Tz6SkTeJahRw9Y
cE4vYm3QwrW3Pcfz8MOYDFTRBxRPnDEaEWlhfJcBx8ObEJ3RmGUW7oeXAVObbX7iS3XRyt2WD4nC
cWxnKZDxzjoPH9GfdbVxgzzTT9DYbWywfvFowgqvPwbbdT9+I8n5s/5bwhFI/QXHSHPGu/+ySZSi
0oi7B51GM5a8wv9ypVKUFzeBgAL/l/C899YbPpKw1WQCYUwyZaZPurag0uUX3suvw9NOvGO96r+i
Yx9gh8Ck6dV3NSQSy1/baI8z8iT/Tr7kUGL0Pb9XR/EdefdPrJr4uHmMSn27pyAiZCBSKD3j3li3
BXgm5UOOFuI1JIm0X1ENrI7ig6T4mZr/CDuPHdnRNbu+SuOORYjeCGoNIoIMBsO7dBMiLb33fHot
lkZXAtSTQqFOncww5M/P7L12CAhHx3dY6Elw8quKlVqTEAT6NDPhWOqN5ASR+MqUKpGebfVRme9N
QSwkJ8A6lohptpGkDtwwtF38DuAqyL23fKGMenJtPdZ2RHDqd26t8AzFE8NYKCmetsw0TnGFLRs5
Nvo4yKKeET4Bo7NoUyLk/OeOcxbOOy4gc8NyO0GFGBLptmbtwvUq7gesPtoSQgxb2bQZoPUEQAIx
zA+MF6HrSuK+pI5Qoczt0WuMrMpSdmJTFpYnbudWeKsYchZFbrmxtIfHBErV4lEiNdZnjd0Do6+i
bKxSRq1B+1CECm4q1Ku+NHilpr1SBQ3FBW9Uz8VhrCm31Ikn5Lofvaq74I8jQ7HFX/wjLki09VWV
QT+Fdf41ITijkptmfThRtkGVwPJzwYOJiAj+NyFPVyP7YPtRT3dReQTqI++3I297xiUmusUyQqS+
tjMCY21GOpi0dBxi8SHQ91KJWVa78UFjallmCeVLlICnvKM7KYOtgD2Insga7+N8YizkF5dmPtJk
aYBTtHUf80ltC45NYo/gXHOBLw9+ZgBsukvfTagjs1dr8PrcIYoChXyfnNrBFnVaplVznmHiFOvG
ciY0G/ONq6Tc0AT2pIpyfHHmf+On8ZVDqTtYKnT1kGQHIdzh7+4jF2UhEyPFOKjMk7ojq08BfyhT
AS13GlyWFc8N24etuaTH2v7a+qlei9eQjDJ1E/gbOAisafWGLec50GgM+x3Dvo7LQuC44NyQXVF2
ZWh0nUode6YF0mEbaEd4YJjjvJRMa2D1i85jQ17lRZWfgfUQrXeTymnykgiFyAoC74qJadi/K8qr
Ep86PKl5caBFZYVL+W4J7ow5TTtN3d4aj754kEjsWjb1MLOcRnWf3Tkgv2bAMX9FtAlBamKqB2tW
PzBvhemosgPUsIEwhwD9gquNY3mXaReWWX9ds6uaY656fbpLFXTiW6Ljqkdj4kE8W8p7XF0EfT/m
2xGgXWbnIASTY4JHjlx0EIIs/r6hAsSY9V4jLHlcgkydjTufbBKDQzvM/ZWHVvhTK3cWvrAi5acW
XyLzWvWsHVwt+Rr7hxExlLx07cmkBA5+iNgwugehMWzH6bMT1QV13Sd7kf0+6X1UrjREE+nPh0o+
CRlrSVfhID4FP2g/l2Z5owYbk3kgfCxrPCvCISofTX5OIJA0N5JtlhRvZs8BrK9/vJ3xhT0ilydu
0hWm97L0fGiC3MdOMEIQ20PMaov9KFwqoDHEC+6Yp87oF1jQwRpi6kdsPMbW1/bIONc4qucMx535
2wTYc1/k4igAC0Lflm3B4Ro5+INtQsCKdNBEZtCbgWAbyFNelLvNhAjPabQ9rb4mQ6doqFxIyzkE
p4bskmQ5sbD7c4zRpFHTFevKqcozXw/Bfb2xRzHbmmTJ7/XZUWenPpn9kok28Qhw4MJt6mP4K13E
5BhHpy5/6aKd2T51EGhcroXHx03gjjkefP2aPtPeRsNjniqcS0taG4zdJfWPlIXM8Rkv2eNReOeu
GfqXNv+kc6ghnYGeWlJXV+2R3fkJrkKFcX3ck9f+l5QrYo1KHc4NolXClrhokvJcfprmDn6Q+Tbs
sjuAmdPEScyJ9aYfCxto4IrmbgWw4USUXKj/w5Nm0Pgz3cdnQ6dabAwiH9blduR0BZ8cOD3lG40r
965i42QzGOpCaxtsI4FkbJdoZRKkoKsl2GlGdjUlx6zRC0clbqaZyMUC6oHZeN08JlREiEgYrfKM
z4dV5WqbkW+Ws5fC8IZwzlPoXCl80fzC3oW7Ll9EIWRIaA3xZh6Un/SoV4JgSwVcTUU8tZzGpOo1
NkOBFMeCchvrt7m8dmhUBbpJOnWSDGEdoQyZ3ZwZgvYdyVdcPxUd14rRH4Ohml4WiTAePdKrgVKv
WVci5qFyZPi0cBHCdf9Wk5Akr2WfspDbkinUsMjSKXUZD6eIQ1UnUzErob+xoW9l0TGrTpa1RbrN
9JG6WyDvl5scrOcW+KhagC7zVBAxDMnrLX48lq+Ziyhi+gM8iLAByYIhXaQJx9Ji3TM/F+zAeaYv
Q57oQN5TqeA9Hqx7WQOu7hQQi/zFOcDIYUPZFzPaQ+VGxQid25UWYqxGIZwFcA88/6rIuECpaOrv
qd8w2BZcZg++6rCwQk7LP3kfVM/U7M2nnm1Ujw3jybj3b7x1Vl45nEzydNE4o7I9GD/KO7IxuLEr
kroHdS09w2tyj4/KjthZ1Nkc7/RRNLo4YleY0fPhKpYIis6c7o1Bas6JZrsetyG0ByguIGYug2Sz
s1BRkPr7Cim2tZEuyj8ed9qvkvkkKvNV8BaRFKbudXPlIyiiN2Ly8oH+aNjNT/krucvcRdvqTDam
wAlHeOqSCap+8RQ8jqfikt6EPy6zapfQzuPY47JoXW54fsKMIG10rAJd0prYYUt2CGM2CqZR4CE3
Y3CfXpMcmf2644H0SkHOA8RNWG/dilcNdjSD2cLj3S57PNB2PcvExXpvDCjqfhXCuelOeXHF8hh3
ZSSZoAz9NQNZ9Z/yHpEmT0oh3vNLhPd6sFGd5x6Mf5qidnWPP2gLhB28ZvWr/V3CiD8wMdo4Gu88
5JWX/jp+UtlP5IT+EQF6g30qmRtu5wK7MKQhZgD8LuZKKEicpt0LAZggmKp2jpsZ5mOyGXqHl55/
8POv7S8ZRRxCvMvo1YdORN4CqtdqF80u7edgsFM/TGyqqTxiLNXMUvhH+ZZ/a3fxmn9TYzJ6W9rb
PyyDDL2pVBpP24Xbhk3f8pPDYRd2C7UgfvJRDXgQgOxZG+GHGwwhkESk7RqlLAcJBSw6c/p32qDl
4oIVAe4ArZS/MQz4jEyL+XZcvYLla8eUM/wXmpifbB8ehmvyIn3H2NWvXNho2DUN0YMdGNBIVtaq
fDAx0yE9Q/ih/kIGyApkxQUPBjQuESH+UF1St/KCWEDTLLP93kBeJmKZJOYlTLk/4t8BKvRVmQ6F
FdUa0yoWBRy/Ii4vjtafihEezxoTTi5FDdjBh4lHnuZ0G71qEOEQi57lkiH9CYu10tkS1xV5irwY
lE3f4kcd3Lg1+RjNY/Ain+YLP8XGjmVPu/SU3sJby6BwcsoNKZFIuIkvImoAbBbMx3VSb4CdYS5J
b7mX/1qoAVbaUw03RkgPf+LpWWoLMzPkiYjmE14T3co3o0wd7duydrMnHnugKettbZJkufK/lusI
wiZ1KPoR/K8h8jRPac9SfBrHrXAZ7vEevhHgteKtExyM7sYfSao1tM5fbkUutEJYj0fOjGzaY5Lg
yRBWF9z/lkwurBtBACFBkiuG67Yb9mP4S7neuKzflQjZqT0YTsJsT8A0ceQIVMtveUHKrbDnMQRQ
vsP6OjtlgLFFuLD4XjTRUIexKfMkrra5yqoFl8+18/eMBPzWYX8lk0pHtpm5rQwmynivgS05CLcs
to05VNE1mcXI7K2/sNjS9oHXWZmvBZtFJAhtuk2LfEPQD9lvtMszaS01xkwkQTsN/gFyE568KTgt
UMV7gYkMSV/JD0FIRByTAcIlrDIGydxJdnvjJYLPzj0FrqtzEmWXdb9SQ+HMuHRL8ErPAt3nd20l
Lh5xU73T4H+HTPx4sKkrZtJ6vquGlzqhPFjrphOgflV3LenUHGPAXHubOzwlSwrqyTuTBh1lVoQx
FzHMwS88/oSfHfDckukubBn68bCr1dcmfNf99R/yThULiuVQfvrmo5hvpr+fQObHWxWlUucUuhfo
3tSQcrc34n2VHVX9mBQ75gx87aPMZ7or2rXfO2mw8zvcfyvivCsAby/wj9FTCrFH3JWRb+AhgHAH
aws0FaEUqxJmC6IEZIZ2ADTEpsApRDJlxZ1KfsGBMpVC1EpW+UvxPj/nfz4Mti6w2SaoKsLyiBpB
LvC0DgFVMLtG6sJOf0llTwTKPeTLB1k8xJa9XKMwxJEPwWnsgY6sZ+Nk/JKzR7ORFJ7RuWi3K+ry
7GYpJ7+sV5ucSz49ljS17XkgQCDZ+yYmStcAvoKIu7QDBbGZQ/+HuoT2GQgD8uGRQdQVy1Jd4TZk
BrBB4C6jq6MQgYKibywGA+2KSp6R0A9GPJYDjeFE/h6PKldLNCOBddNtOHkhytfRawmvptWDTLGk
UW5UoGeJ7Stu27uWgPxnF/dHzL9S9G3yyPEzdslYj22+PsYDZrEJCwdLbqVuuUh4wPCDWNUMPQvL
FefD0G7Ju2UfVQS2yfaB1hPoBEyYwmXWzcJprvF97VhlcH6CZ6Gy7GRYOwiMXnVhA91PmrfpvPUt
xyhuMoonbhBgGgKTp81o2R2Q4OREZ4fmC72XCqkdELyw5zrnsxdHZBSQZ66ER8poT+N9ib+gQH6O
FO5cC1sSDQssAtKGwq+PnkJwk2o6En4yLS7UFdp4/Bo7NDuFimvCU2hEu5NBl4gyHHwnlRWg/2zL
/JwVOzfgUn/Awv6nHaP+0VkLgUuQaVO27G5TDno+sXgb9Q43e32kFJEmryk9Omua3hQlTLLn89cZ
64UhXvqrBqBcP2b6uZyu0KkJPG/M1VAyOTi0sBwLt9HokQ6R+Uh7kN2HgMpmqSnsiFuMVnnOD2V0
KUyHJ26FAwvCncA1XxzlyWVi1ocse7wWnkX+zEjciPYxQo7Am0mAaDcNR4j5SKxHLHOpXouO/vy1
Ejjh9yJwQB8AS7ufDE/QL8JEQsKa0B+58JL0WGO8ZElgwJ+9ZLSeEXyvBSkNUHfDh2hdeIyH2iZO
T/n0UKA39vFfJYg/PrdAG6CO6RjHjSJXAx8E9yXjM+s6wImYMMDJzpC/yfpRDYD/mQdtvIogEUIe
5rYobmZEit8JHnh7jph+mnF3lQukm6ZKGK1ux9wlqYumiVW9yryfiSScfcnV/5lJISMYhk0+Odht
0R2oyDcm2wrsKd+zEfUlT4gPjF8okyZnKvaYgNLOU7AMUQY3dswsR3drmPkNCRCIpLA7EAO/5epC
nMTHz/ZZxqVsuDGT+YxPAMgek+oDlJw5tEOCzNFt0PeYG9wGSfGHBaTL91aC+GSNWIKpe9gB9pbv
lkiOn01apxDZMgQg/KBwfgK7+FMw/wEYYnuqLn9XXOyBVD02Wzcjd34K4mNo1HI2Nc0+1y66ii5l
bWDnTzmqdopJOALznZqu+DQWx4C0jzram0y9peJIqFf7znespkcD7oldgAqM7TJwKayYQvNFlTFj
mC3rTcCslC4b5d3YsYAJj9UrG1C3fXI4ZKxz7f4p0mCOIzOTFTU46weUI8MIFHrGR1ag4hwbjHxt
qbbbeQ4+lDrw8i3DQpIQ+YWI9ama/NPgZud7hraLtSVny7ymQmdaWj1kx3T6k7ofnyNyIs64ZxjQ
ewa7jj0ZUS00JIzH5PC9iZzmi8eVRTrKdBA2SCmsR5AdU8yawD42vX7JEAKxQfwA40EP8dp+qMi0
VyTedjYjMHC63y0LBWb1HyPYII9XYekr+FMOrQck5dKVwcdxV0HocPAZwikVe/SXjko7wg9QiYNg
iLvCWL7lcWbCsV3MLzxzitZbVgfCZeLiQLCG9sScN1LqVdhh642BiV7EGQdP4jK3zlCzpV3xLukI
4uqfXoLMGD629ETVUEYYETfWb5pvaihXiavUTstMZEDK+PQ72+KL4YMjWarzlizVBHxeLlC9UV8W
E87aWj3NqJ99xBfWr04a1yqbKm+e1b3WF3uwBYcmEL79uEXf0diaZDh+0f8gwC13qh59RLH18hMp
HAtnWSUO8tn1L1Z3pArAnk+6EntbEy4IaOqCBXd0nsk3wGjTS/sKwIGxyNLo8rIIdxUFHVnzJGd4
MmE20GkKl2eZrCGD/Jzjn2pGArY16MS0e60G63F85Akl60nlOEnW9Wmihhe3snwyarLQLyQ8EabE
a4ZLTl0pEU1CkNzMzoMD2dFBGvANZU8LqX6FkP8QGPRX0MMZd1EThKtlUIMAT91Y3Q41oih9giTp
feiP7UXodgqTi2w10eMqO94wxgWp3+XsNULKU6YcpEQhV92CbkeCyo4hWRcCkxUn0neJxuDpqIH6
QkcgcEcvbQSF3yICxUi6UAd2qukQwDy4neGJ049fuFWATf+aWgcZek+zrdmjRm4feRyNIbCn2mPl
OjBlPg9QW3DN8XGNS3wEgxwiV3AUwkJy5ZDYkNZri5NYPkzG+PnLZHlSvcfRUAQu9tMKZPFh/q0V
p2MTKgsbIzpGwzI7rsfHLMoHICTk0oKlpyyg1rHL6NREj6G6m/1LBJIdhVRaHJh9ydmuVS8DAFRB
P6DXEKLvSiU4isnpQYFjix9LvDXpI82/IqRyjFJ3lNYlC3RUNNa1al9biB7DpSdBYfbKeq2xvvRP
if8UGbJijsDj/13U9tC9mnJ0S8zhKNXt6yiAQqwDRtQ0jyFe8pgP/ycVy3DD8A3WCYkRipsRciNI
e1xcHGsCYNd1x3po3GQ+DDvNJst83DZ3nrqE/s3WLcw+R5gYWMNp3loi8Hi5ZNUQrjIfRBWn6y6r
XHF+YcfTj8cQ+BN6nmyvLrl1DGnZ5Bmr5B69USXJoa1rNidJ0iD8WMj3QA0YuZzjWKOzgxs95xrk
rHuQZC86oVmpeC/ncYAxn70LEVLYSjVdxYIgo6U44GkFm/w1yEKqRr/mQFAEqsMQ7VhREz2g0tII
KgqRmsUj11L2VpoHXHBxyciR03R0pupN1Cc26W76Qu/1jcpz6i5W4I3b+hT9FAJCF7unmwJZuDdQ
0GhU1ogvajJQvBpEpZioqxjx3Fj+dOO9giiJFpY8tNS2kCDgSYXR3gT2YpEiLcHYh5krakSnvFsI
35csO2OeNi0oGdblKOh4wEoOnhAkviiFcwKeKAEEF1EWUTPyI05esRNS4MPm1rOzhjSUzZY7j89K
fRFLgZveNSAg9bccgUNSLvhWT2DcjNQMdVL7okFkyaPNDAOcuzzQb5F/LqoHGd2G5BXJIY2OJiwN
YuHrYkvel8W2j0c/al6M2AKvlLmysDVGu5zJktvJDznaRv5NyHYVD/DhW22WrHdc13Su/c9oXCPq
U42IoPlWax8V/evoLZiFYKUfkp3+z0fQbCxGpQqoP5rudImgKG9jfExYlx2aw5ghU3IT+Y85jgaX
1YdKvx+xF3ADssROD9q0mgDn8sKiLZxyrqq8QxhIah+JirVd6qdpuLRgcdK9huDKTv9MxQ6Qq9Lw
J8IHjMDoNWZACgo6gz7PrpQiJLarilQmuoMuuoTtiSwPq95rylktkBwp06NvxbukDPq2irjHJolg
lWh+0Tu2hK1nmdm5AjNM8QiWmxkCoW9oltGk1W4OZvQ9Pl4Z/jB2WkB5yYkpzXxnWxXJa0Nn02k3
Frh6JGt4+NwsO5fma7swebZd7aUWpDtbjDaSBTiLQEiGRfQLHo/WKYUVsWJz0wDL0JFurpSr5g27
6T6hJku3ge+0H81P8APyeIB2FzLQOOBk9DuGtmwVmMx8pLAsTNfCvltsBVBWhIJs2FFtA3gzSI70
J0Ovkml1xALoWMWPvueg/GwDj5VqRPnKyv+LW40AN5YtNJxYjfNDpLg8CKX+GnEhdXR8qxGlIHpj
C772Oi+JGTtxECHJosJl6BgxY2e2VFKGbZTiiCErR/33zTSVE8hYcnkYtjl0Szosh5+qtgMMPsgn
wXdh+CXaWjnFo8fWFAc80/cMOyX4jfZuAeTStzJPgxmV3VXHQ6NL26idXyaVBIUBfIlMhHGCVT/Q
SjglFvqroYU9J5v0d/qcriZ5YFuVAjk36/wpVZTzktiCYEN0zxyTYe5xnG1WSAxuindrXpsYIMZN
PLladShK2mmiaLBf7EVrqzcun/t0b9ELWuQnbaf08BlUZw1X1bSvcPGlCF1tMlwiBuHlxcq3AztS
pEg885C28RQMMfQxG3lXkre0PQ3yvdWpdJYMhk7dcJdxZ+iM7kt6nmMLO4hrWiNdHHEv7pLr/NWY
Ngk72TEZr5wxeLtJvYFa2bBjnJcbAY2apO4jE0AAYy4vkSnL10q5xCy2+O9gfQDhROWYeCaaDhNT
FWNkHN9rjhpvRBhjuFpxCeSDSVy3iN6Ynfeav0bEQp5fSJHMFdIGvLm5KOEja7yEXCogP+cx25Lq
KLCy0TnTtpK8K6m056NvgiTzetwdGop+u5CXIBjOZ+0pIPPic86hc9JRLqs4QXEVFKQGo08QuoYZ
IyJUMdEoWLaldSZdqtkJqxO7TphDEDzjXZSw2L8XmdP9GEj5cOr1lNMbCbmtf2xB8fknZckY3/nj
3gwBZmAEWXPqGjSh8cFvqByPou8R9aiJXgH1Ai5Uf6x4muQYEU6kCJGqBhKpNLxZwyDPN7exiBvo
3ok8Fb9DMFMN6H+vNBgcMihwZJZFmZPjoWcxxMWDLgThieTW5b6EFTs7bOOyi4XkmEl+4yo8ybie
uUYkxSkS7V1vaTz6CDp27y9AWtPyAgmP9uibkd2E/MjxGVasYVfYwwemlxMR6642bfsPCSAlYeep
TcCijX+c/TCLCp7uFHgQK6mJAD4K07YluhEtDjIPkEUR6tA101YSg4C7NxakTahJHHnylIIV77iR
s4uZatK2CliMxD0Ww15oTnkgIrMyoAzNCztUlYJvq4JCG/o41zQ6JF3GPV3zkcblUKy72ud7B/Q4
N+KfUUxOnFoIBXv9T0mE3KtHFaUYbpWCDGynLk+tXL4CycQX0WgYCSl4onZqYNs2v+XQz2zQ4F0n
/SQ4kdwCZmr2tcwo1Gfmw97X0zWCMl4KxLk6xxTy8xZ7AdJm3rEs4TXhziv0gwJtgb0Z154+49Uu
Rdsim29CCVGqXF8g+ouK6ZEwi+1xwHA5N7gL2kxIaL6lQ5jNwyWaTExy7d7qCU9OxV+TyCWAYFF0
o2qKCW6WtZdEuWTFR90+WTeZmN0eBVkIWnjM6+9OflEH9o3VsfKPxmQT/0HKJ1GlMEg0/ZEod8GC
lM0oW9wbBLI0G4lRJYd5exPoiOTyXdRvw3AvsD1S/Q3dbrBuZfnCfSLrXJ3b5KAGN1li4LcYJzpM
OjjV4684gj7MLTYJHt+9qt/0nAWZ/6kW7Cl3ofJQQcs1CkNNdzCflrYf5x1hVG0OwPSFUF25AzKx
VxlSjIYQ7VmQ0ISENBjV8BaXW5M4lb8yJvp87VPVWdJDaQ49Dqz8p4DlF+Bu9i2b+TMDjHUdaMjp
ZI+jE6HT70iCVWQGX21pWfztAZOAr36qJasRPwMob0JxpMEcmNlnNVC/js41yOSGyd8XPS9BWPBq
5OBnEMAuTsriGqUZjcik0BP+ehzGCPmokxIL1bQswiEhgUEQSpMlMd2nHO6N+aPIgOyjRiTMmKmH
/gFKc6pd2aCKTmZL20zDfSRtgXxkKyqZpuhfWsAhVKZIUkKL+EcZm/9XYz2pWOZTLz5KBBSi/xdR
5EvDjxzbYbZTwtchvojWi0SYa0NkWXjhC06bm2BdtBqXyKms75zu5IkVodcA8kHf2FXdQl6nx9Ur
+g7PNHig9vsa2V7Ats58Fyh9wO/IgxNXJl2DRlaYRThfJKPg2PfQX1quecq/XysX+L0ijCBhsU6w
HjUgs5zE4snAup0oSK8xYpbhWsuQoUXCGnWQXCybyvaSYRoaP2pAGZz9PVYM8EVvA4ZfPsIogJQ0
XJt4myinKPwO/YvJg0UqfioBM8dJUByezVH4E2knBT3tUPC/P7r6g6DcUvySl8wXhV24AFsTFYRu
fvXU7xNWaydHZ5yLj4oVVda+M8SoyodWOfLAVzi3APXsRLvkylPkto3CP6xUhZnVKzb0UZG/hlLb
ubXJNjAM2YILgFf86dXXhGPQjMBXm/P7/NdWL2WMlIjTtMTyoMnvFYhYCdyR8I3TgAWnT15EvRf0
x2Qw6d/AbdOhOIbiM5P0y1gnnK3H5n2YTn15mstfmiKFewA6ApMZFt1htu2GbVvyGHTi+DH0j2ru
cUv8pTkhJfE+r/cy0kCr+bSyUw5pQD0OFAV1Rvi7sfLZRmKpLgmG5jCNj63mSdFDviT5rVRat+Pn
Lsnx/fwFj9LSu5UmferdWYFbYyBweAvlT0t2k8HLm0MHzK/eQ1YIUUqxs+ikvcnfT6uRCJKWdQzE
vnRelcZ7hpgIIqcKk35gYfH0k+hJHOMoRHedaFntkSW3UTpK2b2RGT1/Rv4zQV7WBm85uz6QYO0j
5HtAmjJ/5KcAMWDsEp09n5JHiel44BeqB9RHC1s7w8BT7yRP6p7cDnxuMnBlqDlT8Ak/yuhuteKN
0R1VR1mSwrrOT6zedPPZQ1xCbZyVFA/MUZ0F5mTdsuSLegvBLpVLy8kZJ/e0+E78KIQYnHpGPpCI
JkAZVriTWfWycuZ6hOtoSpcwv8/SMQv2NNIZEDiF3Ui6jOTY/0y+vG65H/1mL2iXjiqLg3QU7lK5
T1FujyzaEJjicyyPIZppvTyq0VMdKEJWkuZpJH4hqVfcNN+Z0Rf5pmp2IJVdW9C2u3FNv5NmW/kn
Go5p85pr5xxvvMYevNmL8LFnsD9vk4SappNZ93c9KAAfWB3xF8pfiay9g9HIVyQrN+E3CGy81eJ+
pUMCjM2HwZc9DF4wQOicEM3wHM3fs/hDh4ydMFlm83OIadP710m5ybmjVXsNmZt2kTuMzPFWiM6m
fNdybHWV02Tv47RrqXra7qmYr2n3qYtOEgGbfvKUi5pqJxECUfpMjPr6lpnbIh0WQ26JClQKxbUJ
QLPybUum4hFDk8QNtBfRxIo2Z7rV5OBBzFy6h4p1SySQcKLANyTnlidEKM56sUL1+i7VI4dYjltM
bncBLizKUzyXkdi+tbozBHuqdwV8bnZPos9UuY7jp5weEsxhBn3zAN4UJEwmX+gUpemjmEAnO9oH
51ZdfHcRS37gwhDL1INY7lrjoutHodYYol55lqCzCF2rfiYonCSOHV+8xfWzx1igpo86BHi2UVI3
UA8pxfghaFhQIobIN1wLTADrcl3LD7aAhfKtCtcpvNRfleEELIHg5LPN2xKIWGgbkCStDuXuTZoR
q6sSJuVXa/qSqntSg+EavjXjPRlQwDjMCDvLzeVj1D5Uf5kyFPGtDY6zvi8BzYlbnfUaa3qeluWL
AYJQy15Vf5f1e6U6dIDsy98h/Zjmk1G9JA103q8894x5S9FlpAw3QCxAu4FR+NexnO5SZmJoG+iH
OxY+utvhDQwd8iMN4xSzSzfHCyccOWzIfpW/IDt03NMJ5w4ie7Q8LDXLYB3zMgr0ERSOdGFEhh9a
tOWIumVPVm2CF33fBfZP6GuymGJpk/3qQ5PPhBuaMOn1S6l8omi0co9b38h/Qyh8/qXNEEu4VfTh
w55JY/7tMG8r3wu/kpK0RFmkKGoiWxWOck39RSx4+NnX341BfWW89dkmq4+RetD8u6/+tNmfgVU+
fhXNZ4xOt6a+Xlh7u4BBNWlcmaflOniBqw/pHIswYwgB1UZ34D0wexKaQ4FxNMVIUM1IlZnJD5ns
1oWlO50OnlPoIxSY8uGfS3nI2LylVDMBAl+jvtCzhOJxHLtVqiHw0P0btP203DMebugoBE8iz45B
mY7mRahJFPbfWWDP9XMojoO/bSsY6ihFCEKiwCE+BG7GfEiSs7DJsy9JvYvZFXlpzNOTEBKLLxlU
9t8Arya8Mmk2mwq65UU/jDKHkJfG176BQq998QiJquOr1TD06ULaeVP2qZPgmrPVmzy0qrLpNgee
vogyTWp4rQ7gl/51xHAO5c4s32V8esQ42FayuH9cvzhL41MHr9g0W2V8r+ctq9VGezbCg7F5QVXL
KVFvpOmsCZgMwp4F9VXEuKv8BuqaPxykk4gcL9/wZqpgL4IShnPbM4qHf4Iy364GCGGXeiBFDD8k
IS9MUmoSAjkl/umRx+IlnWFMvRUwHItLtpObN866lTW7hnUyEA0FCOKl01w5XMb6cA+07x4f2WCS
lrke9U00eKpyKZRTyBoUtVvcQd0W4b6t1WqJHRWwdAqXNH0lTdBExuJfAiB2sbHpCzSwHmLTXLh0
EZIB+B+KN2ROLLk0iNYnL7LWBSAae8SjogkvPFwtJ7gWv+tdf2liw0vObLVb8BGYnxEFM68bTkV4
AjJqxXiObxgAy+SlL3kAa6cUc1009wyR38vuPC0rIZZK7S4TSSOFHrnLA2RuEFzxWdtcamkNNXst
5g+1svXxovpXaqRceZPZi+mnHlDEH98NH2gqe71yjRkJ/s7T+1xzm3VUmvlRxlOH9yf0goSN5iHj
LCMVJdE+yuRSmehDQH9QdUfeOHvxzPT3OonfPcEH7lSRsolucRmgyZabGuv2ms2HCaU9sUY47Nu1
SnYUbS6vNSnx68JUOnDhM8DpMSQRMDXbY88KY5VWNzmjhHypq07GqfHG3EVCAMqXMHzS54bKO/s/
ppsm07RqzVsSNIe/XRi3CVPFW6MCNdnO5DFFxCLYK9C7UUsiGAtxYCP/+o///r/+5/f4P4Lf4lKk
U1Dk/5F3GXOTvG3+81+q/K//KP/Pf979/Oe/NF2TDdVSVN1QVVGVVEPhz78/b1Ee8H9L/800WlMZ
64nktsQpTXAB6+kPz4mJbColDIe8QZB9DkySJMcsL4FuqyeYtyuG/hKBySoyhQs7qDl0Ve3ckOaQ
v5XTtvkH1CFG5x7Zu7hWctiR/8Url7V/e+WmZCqiaMqAzkVVt1TZ0P/9lfuDNiSGz74/CasKvN6S
HK51V0tbGCm9wNoBYYkfBrDkeu3gC/Dc5FlS3kQiKgql9r8GS2HRMMx0/bUlIEUy2FyJ7c3gDXZx
fe4T07i0uooyD/z8xlQCa9v0/vn//w3Ixr+/Dz52nW5DUjVFEjVD183/632YJKCUGdFJdYijWywh
ekUqOhg5zPrLYGAiChrkBHJaqNeKab9YD5dOyZqjJRvCqTJ9izqv/KqSUTiFpqOxgjikenSPTXPy
rCagUFXECrdJP6D5sFxTGoS7oef+SZpytgFha/wXX41m/b9vSbYsRVZkQ9MNRVf//S0NDJX8Qrdg
XevIbTpFv9WZ3iMMVqN94Kfiqxio20EZu3vVkC+WB918MsPmWk51+hsNFXACAyFolpxCcfW/qTuv
5rqNbN9/lSm/wxehATSq7pwH7sycREp6QZEShZwzPv39QbbHm+CuvY88T/eEmbJpebEbHVav9Q9G
r4mbv/8jjWJUeoPwU2HHD1ZcO5c//2NsNOvSv08rtB/jXrQ3LjpMy6ruPDIMbO6KLKc8aANzb1sE
QrskgPhT9dU2yys8OJP6tlRBhguYbcsxa9CDqEMYfDatNlMZ4qfcZv20AmgTtTPy0Sa/CI0J5q5R
O459r8d0hr+000ylkBefO21MMyZByT2BDfPzr2IT77Ofi+f/vNu/1c/9/C1j9IHn17O//J/HLOH/
/u/0Z/7zz7z/E/9zFXwrsyr7UR/9pzZv2fVL8lbN/6F3/2ai//nbLV/ql3d/sUpramR3zVs53L9V
TVz/dQ5N/+T/9of/evv5b3kc8rd//4bRYlpP/zaP1/Nvf/5oOrd0jXPqP+fc9O//84fTAP7920Pw
VpYv/7p8y9K3D3/s7aWq//2boqm/67au6o60LVuVjmSRIhHw80fG75wtlu3oqiWFZGv+9q80K2v/
3785vzv8D+eN1IWuSZufVFkz/cT63dE1MAHSZDc7hsMf+mv8f57Df3y4w+eyponp5P37ZJaqo/KL
SSF00xSW+eFktu2m9kSJOLEYgy+lDPXvjgORJhRZRBGtb2mmxJPRbz9JiFU2N7Bt5J+9Aq1x187M
VeP7VFJE+zpUWDmMDSoXbjSBDsJwksCuUPK1sYfWxLgrNX1TKxXiAqOP6K8LQxLLYS8uQRAUXbyC
M6QDlIac2saTeldc1DgPTKa9tUoTywc0bgTtKxUqMDAJMkZxkTxrmWOiJda+OLb6qhguOOsExJua
mfpCayZAMvst6UHThK75qeloKmqyuvPC4E5tdOrXrUAJK4lQhTBReSugFjkhjCgX7L4mVNCDhfYU
VO5DhPBA5rrmqlcz/blVVXejSon8YKOPQL4VB530sdCx2jEjib9JArrCaELIJoGW2gVYgYHGHCVo
1C91H50RRdvavkcpVpq58+IZQYhngq+DYIzssrlVZS5+jFlEX01LhvNC9XFPTxz/2vQpKg8mWiSF
59DFqYf6i6rqNNJHCVhFRm6DQZ5ukQhpfj1B/fQOaPCgf7OFloRQqSMk9YrK8Y2N54/dJg17Y7Lg
jVVtUdpV9jhYvXlviXp8LYIWDi8FZ5R7hYpdR2b28T15fQGEzdGw2dUQJS1dJSOb6mMLbUysC5Jm
yEHdBC06xlIBa1E3nXPjjXWMTLXjg7XUFYCWnTFESNiDzqkbmoRp4OMhlJiugwilPUIeIrOjxlIl
LjIlgZZ/Dz2jRWYppUTQ6Em+qisvvreMwYXtrLU6QIY42QkkUldFBBXL9JyBBkuiP9uJMB66PHJ2
OozPL47KrXJWKrV2H8a2+dRhnHWlqF0OOqTIzgKXpp8TJfYbewd1qgKb6VLweQuB9pQoVMgAoq+U
e9RVEaGNPRQssxY0RSJhx2NQEpkZ5ts+zZQqVejW2En7yAk0tXVkCOVLo006xB1o35zUjX4DTw7F
HD8lJppQZSG781AJzLWqDc26EQNQ/cBWwAq6I2q7RvwtsPtkLUKDy2uUakBfOOiM1yhW27c6cxD5
q5T8u1a0JaCAMrLPAgksaMhDOJxWbJNuiVjnnZE3KpAfO6WoUbgeKDKbzKCXiMU0BfWIzMqS21il
/NRGNBniBJs3owyKm3KUyUb0A1Ac10Q5O+btAE2oWRatqgCdq5Bi8RR0ZkwDnFQc51QSW218cH20
n4ZhkjAKAPKWJVpiOb/6dz8GZhMLtbxw3Rx9dlU1Vnbl6TeWb+fPYoCgYQe2udSEjldgXAtUxA1A
wlbYS94LsjMp7g32j7xJi7dEwy9H891mbckG9AHAjiUdDO91dFwPU1QaIG3pZOe91TrfSZY6ELVl
BGCqToeNVurlRSgc7y7KTHAK3cRQDyOd9k9o4zzglcN5rJstxkZNf9+GwWObhl8iO1rElR6Dhonk
SrdbHmoOsFKURtRVlaVomYchMs/FWLaP4QD21s9dYA0apQfd2FZRqPEOzjDOdgerCPqzSGjB3RDI
76LwcapK2sa6G0WWGVej3yn0MENH3dRhEfNF2p5lIFMbYEyi2hvP0SO4n5EKbHG0g/PB6J3bIJX9
a0Z+hqAPypUdZztvzLQEpC1a0W9yzUoeoHvx3HfG9oevRihpROpAnSwT+JfVqXHuNZQS/MEpcEGv
1ec0qcWdTLuSZlo6qSI3CTL/Sk/zV9WL80zmA+0VpbtVCpLyLCUdOqutDjVhS4Nba5ngR4c+6K8d
s4KUbo6F/VmVHHRVrOmvRdqEF4YDIjQ1jAB9Jwz5jBTNVD/P7EXnovVtdC2+vbYKaMhXhIWClKHd
FAl/G76N67zGToWw+agj9GOHKKeHcVDfGBIJ7LpAfjzIdRsnmcK7te2pr2BnDqwfM/eTc9bJQM2i
dfLHMck0hG01H8pZKtHT0mXhTO8lKzwvrETct3maYvIXx7DVTR9EZOqOaFXK0oJYZcTmXa0LbqLA
SOl7NtIvvVVZ0vrDoGHsJ4vOUL2lXKS+epGjXLHJgos0zOMXEkkoHh2X8pJcHdp5SyaEow0VCK8G
WKzHqX8ZhCq0A6cJc2rcJaWTOPzRBLhOu4KueqKdt0m0VToBjCbdJvWws9T+pq26Vx850W5iawcP
mVqcJy3gNEnpwqMahraH3181cPtCtHjN0bpyyV3TDHYzwIIo2LR6cT82La0KANe5EbxZKTWtCkHY
zn8q6Qy6NTYvxZcugYQ+1MiYtywRFYhUk4Fij72zUsPfI8IFeXCfPSBhLiZuGYIYQ4oaQu056CmE
WBzBNDcjg48PtJm7U6I819TlZQ20xVawLamKpe4Y1C0xNuomNAeO8JaO9hy/lvbVBeCd88AOTdqO
ZXbemPp5koCT5WOb8bML1SihID6QlIwafYkGuhwohZiqQAjvWqN0Q5uLbioObmW11id0OfZgpR+h
8vUpgpBftCNdP8RWiwxFgbcOU5dM4nOgINykyEtHR7dDIIlT4eY2qYBBcEvpz5bBp7DECXswjO8c
FbsYBTglALUdgYyEKpR4IUQTSS2lAx0DPkwDdT+A7W1+RCqNO/1RjjXV5PBc0/JvbW0+tH5xlwT0
1CusZUNM5GiQY84DjqXHqTq4qUKyuPDV0IeLAK+pergNKBxVmrqrIHcJ+6vDgZso9I8KIJoWNQIf
pFch412hwoBUqsFe2w432djbu4ReFk+XG6uMNapn3NXUb0LTxk+2+aEM6BRQC7G9fmHz/Uuf7g4l
thIlcMYDrK7aNRarP60Q2/PQ1SB1Mp3yB8/i4kwPSKuWUYPirmHAh27doHjtlQyRaD1HPbTIwysn
T/RvaUSxLiGPgqlVJremrBuHgpJr4crwGGx6+k/YKNk4b2OaZFTAUUBhJjGSli0o+xiUdNjBb6Bo
VfqPhdQvhAdzAlxTA8nGsHWQBwaMd9iI6eCQ1NJw8XTtQQf+gtsQMvd8alWJt8mACItx71XlKsVP
tmdlDiWtPst7Ke2XXKC/R4N/qabcDTpU2VJ5mM4ILQ8BuA9LH1BAxzpMqc1lOAkg+GCh1RChURgl
xacmqaGqsqAD66ltqidZV+uqSOQiZ2ee+fAr0qoQy8ROQa0Xa6V+SynMdeAfIjaTivlpZ8ZLPXHO
B4k0dP4j7eOdDtems+86AOUFqOdSPhc0+guQch729jwuF6LJKZTbawtHVVTsEkuyzeQZZzlQxwJh
CwXYv43QGy06kS9G0d6WXl8ulDz7rshbkVirplOvCmHcC9TDgEV09JS8cmo+fA9ABgboBTuXGio6
AIg1qHsWmHMTelLAh0KFvKimbXkvTUStNWg6zFDtFusU3RmdGsqyCcqL0kArSFo3fR9QHKocBJbB
iqNVnsXPWpcj0Akpvo5QXdTw9YXfNplL67hGVOJTKxGpSdylX4IwoKEeehgZdChVA/WxaQ7WqA7I
nmStf41GQMXOsAzgaFWyvSqt5M7TefBAShTes49QHIWtBY+sG73zACEYW08Rt7X31NK6aoyHSLuK
jYcBVLKv1qtOi+8igxGaXxQDqay8eXQxGqG+RC2YsVvh5y7tNqqp8Av3jAc9xwTamaWsI4HEMMwC
k7dVLxRYb48+usqAyykJUuTTo21Rxs9qVoGvgp/JBc+JcNtC8MqFA2wufggsRlOG8NmxJloo/ZMx
NSms/AkMwbUcMI0Nq6VSwMdL3c+GjqmgQ8HUzy5t6X/vGnjdGRjAscF2UNNN8JmWIla6UmHio6B3
Xqtacd2KzPweuAnt2G7Bou3W/mjA7s5M+akqesjWiEUYlYliBJaUMhFfa0uWF2JUyelLhAXN3q8x
vIlQ/s0RZafB9tn3Gv3aHMx7gADeIpuaXMMIEi+uIDKNWg2ZNIAzlHfO7QjOBlGyznkYO7haes9j
MrNdULHYOLgZbYuxD238SYR5FWiWildTcTeOqFTyiZRd5RTmJkQHhZZrKS/arqjPVelCEvNp/lhA
XDxB4hzwnoEaqiMlTq+/CSEk+nBNwhid21E48kEvNIClGlrdes2658GZ8IwOvuaOdi2xL6rtAfe9
tl6PPcy0ogv1TdgkYPaLbYpIPjDjcllp7aPWRY9qVMAaHr5J1/LXY0jf3IjVswCBDA2VsgajKSTQ
JOYSNQ8BUU36GGjVIaVKdgC8+l6hT+fw/LUrOq5kXQuz9TEB8stbI1NvHSdQHnR18LfSVkDKxjUi
p3gzpSVWot7w2REx+puDCPz7oDStnT66DliVNnswB4Qv2xaRE5P1iBsdx1BqAq8LPVgEba+iOeK7
3HAIC47xWCM0Z755ik5/SgKm0dX0h2YMz3ZkvbRO8dKZsMLHyDzniH4zzYZpazqrX7YF260rW9Tf
eI+aNa9g1eNuY13SbTfbew7dDvyocTOAZs8TfAh6OK/mmD137CXoyvlmjKG/Gx71cdvs1opMr+ox
W+YRfJWuIzkTIT39yfyskeQZKMvWOvXEMfrklfY1hQS09jLzsdbLSzc1nnhg8qwFEMBWWivURmzU
hg2Mm9IwQ39WbJOuB9MHwh3eRQo6My2vxMA7FoqT66F9wtaBiYO4y2vv4sdF6TT2vmQtrBEUHUPs
V3JjbB9zxYy3et4hxt6fKy49hrLlJQMnnkJTTYtg2DUSvVbbkDcmdQ3ekRjVV9MjofRDBTj3awaB
SHMho8YdnAU0mMHRmp21VpVvfdvs2hKcWc3AnM9uJjELobFumB1+JZP4bRnBpIA+bnrVIpQWhNwW
1LselNa9kSLcZE5MkAm96rf+Zew0/bJKVLQCAntnjv1VrkcbNU4e9dFGrisazrIRTKligkn40eXF
RRzQd9J751OiUwttaySWc/HCMxfBmPvR9O8opazroHkclfFSG6yYh3HzZJfZVvbRZ021dn3ZgP3L
arppAz4LcDYjhV+zj3zg/gYMH6r2JXx/8zJt9HtfWHieP5eOe1aVn4dwNBdZmz8g1IU6FTozDrI6
g6C7GuYqrScVIL/g0K4MEK81tGlTTqWEPN00qORk8ExbMdBzr0f1zGejnBVF9j2Q8W0cqp+GsXgx
WSGoI8oXIw2f8xiRxEZpkZRoFFBQUHhzvA5q+Gl6hh8ZGLTRv3Ndde15XwTZZoN0exbni0yzN3Y+
kA7QKrObp8RFS6IvbWRA8IOjp2N6oYW+XWwY52Mb2mtp2dZdHdDc8wVWSRXcBDyQbB5pOZzeAYVU
3XNbnFlT53PoceWT2DaSJqZqBjCwNL+splRBiBTIdNhDiEojPTlPckvZOEXrfDMSzEU8O9HYkEEt
5N1eBfVAp0ib9VuoRzqmoMApDEM4pmnOOkVWprWpkOF2ElIcl9WiRTKwe0MdcdeuAFFDOoNNhBDB
9fG4U/vjfRn0fdhZL4FyHzaEoHmED6pQSyoUVBwFyczc+hYnTfipySuaN2XXh5vjgaf+0bHA03zs
dcZ4X9auwrqLghiN66qp15XTYmvSQ4EL6B/UZ8fjTQP5EM/SDYrHumFQTH4fT45e6yk495m6clkn
yD0P7tfjEQ59QZO6tW5J/ouP+T4CpajAFnB1MzCdVtGhZNS8RU5w4oOdijLrywm7bZrCS7ciuTCR
xk4dhF2VE3N16NtM/TJHSlXVdDmbK5d6+Zg58GYs6ByuMzwqZJC2ggvwiOnr8VnTDgezKVPbwpaq
NjXw9hZCSI2SlxL6yAvy7GUMV99ZlDAb76ulf+9idQ/IBikRaGIkGbfHg5+KPWsOho4I0k5E2wCy
a0zZKwfJlWMrAWn8eKCDX42199cgp5be3iADM4K3YLP6BG8wzfURbK8DGryB/EcHifl3KF19H6rs
XSUpyYrzb1ge4RqOqAV6qvFFPMHu1zyvt8M2nqT5jo/wxFTO91cR6746GtF2pBQf+HcO+iMVglJG
WZ5YMCemUp9a7ntTafZB1IYwT5PC/NrT4FpoDpm9V0njxIhmneOfJ7IphBS6xRlpz09kP4+E8GB5
u7DASDNGE3ovnOpBQpMYwxPn/6HjaT/Y7BwuAVRnKc7tkGCeLNMD+mTIYHH8Ex2cub0BTT/fmznf
02j0+/E2kvGS+u5KtgHwkz7N/ss401LZi2Nyp6Q8PLYadAYfsHJWXNntH63Zd53ZfWSFdnDCOIhM
aRpSONbsjBrt0hiTMab+ip0IopsPvYY6cQsgESHBEvmidOLBHp/AUzFnS49uGTX4IUYcpHvV9AD+
vHXidD8VYZYFlKPf2LYG3rA2eGvvjOzH8REc3KV7szZbZslY+73GrCl+dBHgauSxW2sNYFn0T07W
vUCztRZYFQ2ClkS+wqdFDepbdEUjdMJy7azX/tHmsbnWVSEtzXJmVwhNDpFh30LJF0ovhfvrERbr
r08cQBLT0jVbBxYz+zCdrmVum2fbSEU5AGRpYjg/lMDbBaV8Oh7p0C61dNtQLXrkJsv7/e7RDVNX
NbI/PcqvTeqGi6FIrEVh5ye+0ME4hs2gHMlClbMrKSPLLWrkZJNBMS/LOoYfXPOybXD4O4HBObSo
rb8jObMbSUamiOjibJsQQp5WXjt9/fwP5kwAVQI8oDvgfN7P2ZAFnqkX+Xbo4S+YPqZLVpWhrQjS
9Higg0OxNXr9Nsguw5pN2uCnvscNt7Uo/PHwtB8Hr7j69RC2lLZjSYP/nidfTZ5ohVLnwAfkJWVA
RIYVmIHHYxz69vsxZgcZlc6YNYG7eh1srEi9G7HQtpEM+e+izPZMVFADaWw0pzQYDQOOGEnsgX0z
08/H4xw61PZHMzvUFDwZ8q4BNOhVz3VW3htKe5ElzYOgjvwPIjk6yCupcQ6I2ecX0rGMMivg84+v
dto/2wZAvXByO52y1uOxDn6jv2OZs13DOZR2SllsgyH/IWtSHLfRFoWKrNrxOIeWtLSlZoCvsS0x
H9NYDxSd/HRbFu19MA5YsCIN+1+FmA+lqng/DHayjYyAhlft4wrg+d2JfXNovvbGYc4SAjfTUlUk
6Xak59U17lfDa3dKk37/74Yy2zmR5RZZD7mUs6Wk7kIryDbazfEYp0Yy2zeBZrSlNJMtYIQvgKQu
U6X+BphgfTzKwe8uNdPi02vAsGZnZpXmRa97GemtdWW7GYq2xfnxCAfHIcFYqartaB9KGmaaFWBS
su0wQMa1QLc0Oh0eJ49P7P+fv+r8bQ80zBY8V1XLmh//ceP1TeLgDdWjNmStcjyM79TkKgdrkWIc
oWCkBtdIR96345FX2LiRk/eMRXUnqQra/Ynvd/BJu//7zJ6VIvelqbToI6xAZ+O7p36V6UaRW11e
wLBd24sBGjFyavkZ7MQTwY1pdRybjNkZRbHN7RNWqDpWyV0vsMdAcj94EK7xNtQh9MtKxzMx73UV
6d0ggopnC1Tez6C8tIh0VnSazprIGCe/5R7bEa0ak9dCw/L3jKtpgDET+RGGIJ1e3zdGSOG7cENj
Vai09W3PmwQKzPRTyRNVrsoktlHigO1cFEJE13SpoAzTf7KR2htqyzjLEszp9YL69/G1N03xu1nQ
NFNwgVLCsFVAfrPVbUR9awEY2Pr4O1Y9pUL+EtpguUoEphpR724o6544SbVp88+DmsIBNw2YGcOx
2dSPrhUloVTRxSa7HuL7Fq3y0KqRCEU+z2yRjPIWjhNfGBJjc9dYxKN64utr0yn34VewgFCC3bYM
MR93LCsFf2t9G8rd6DxKhGDcQV+2MEn7Em017MGVkmaGWBWY+hyf8g/bnSk3bUMzhOaomvyJKN97
9qWpa6qDiwZaM9gXZio78A2R8wzdJ/l0PNKHC/9nJPa5qllC1ZzZAWmMNN/MYmKzgPvpbqIMUayf
HkMnUuSfWf2H2XQM2wR5Zej8P7O9NyQpKrPLBOVkoNZn7S44R0vi0t6gPxKt5er4oD6eYtOoHFuT
FuelyrjeB4MEODqjL7bt2v4MjaJ8hByQfxerfos/KhQb/HZXqKwsvWVz4stpUy7xcZx/h57damOu
2kZsIxSpIVypwT+m43peed6jlmXLcdgZKRKRYQ4AwvS3x4c9bcRZaJ45koc865X7e1pVe1McAxZo
Ryr2PSAUBL9hPsE3oOpnoGGG+JJHafDURH+4+TSNboCkcKBOxYP5y6cYKheEPPYioLJ8yOsFMmL5
YwP1JlQfkJOlRTLkTyms7rD9roy7APXI44M+sIAtm3ckSbZJijffpa7nANmTKLaCBq0gUQa3qXkh
41/fJqCsOQVUQNiqnK/ess8HgKTm1nTCYSedxL4elCp8DjNLx19B7esTGZj+4dClh+GAuJWGYwtT
nZ8ARtQNWYFUa7XCxcRbFOV1CS3hNl1LuoA/HSbvIcQ++A8G7aarUr8G/ByvURI4GxHR5ga/UOWZ
sgwXx2dbO/V7TZ9jb42lhjqm9STGtYQsg5rXU/7Z+OxtkYg+x8h6YcOzO6vFo9hOfiUnYk9HxLv1
PZuT2UVkKv5YgxD5Wd7GvHvazpg7ryAXJgh3fMKI68QtNG2YDwENqve2bYBfMmYB27yu4SRl27BU
vrg2+qi5T5uv1LGJPj60U4GmWd+bVbcaAMK3PLv0CD5q19x3/XgzCPfU5zsch1oSNB6d23z6+V4c
uJYaAGPESsPkUaBfUeFQC7XmxDl0IAp7hE1pmZSQ5LyGlJp2WY1WgSzzq9XtKvu17b4cn68Px47q
WLRUVIMSLJfJ/HzXXJ5gHhHMxBvOrdDJz3WAQKdqlIfGobHZhQ71yYbz9H62XCfJ7SivUDOJUZ6p
XqXhborYWh0fy6kosx0VesJypVVu/bLfOiM2Y7Z8Tuz815/bFogavDKoh9EanY0lRcJl4LNsXbdG
jj0LG1ywXG4od/AQfekgSpzYOx/OZT4RRT64bxBqmb95Alf7Qs3jmn4QCvBpcecnYFdycZtb3ad/
MIGSCNx4pv7hbE7U1hwdv9n2FnTrykisrd758s0K8Jv4xUjcdpLa2HTXmQxvdh7IMImFlVtbwPjZ
emiVL0qD44PptP8gWXoXaHYeKBJ4n6itrbqRG3ud4SS67O+Q5VrgerIFo6qeqJV/bAFQg3GEOtVD
KS8a9mxk8G5dJUZ2DcDVMruPLvDVXUeLCokZ1T1DvGBZ/Op6xAxLZU9JmyKzacx7Dlrixo6fultD
tFButUu9FBgK1CBkLdW/O/7ZPizFWaxZSuYD5x+1xt3G4ddyfLDrH6UOCqaWJ1K/DxuZMJSzKZuy
9Hmqz1Y8f6dXBuFsq+QtiNGfnLyf0ds5PpZDqS1RJKeSKkj05kleUNdNEbbuFscvddFf1t+Lu3ip
rDDQxBUmWRrn0AC29RUYp/7EoXtokbwLPTupdM0pNK10t7JYIyux0y6iDf1yuN7jwj7XWSQAX7+f
GO6Bb+fo8E7JhaZ2wXzLNVbvh43Bt8P5GMGAa0o5V8G5uG3Pm8/d0j7PbsVz/CZPpRrTknh382sQ
7jQIcvQsKU3Pn0VjZ5WUYajkoPGNfxapFQr22/IJQZZ6q26rE7tBm9bGsXjThbd3MQe+K4KeeNFT
+Oh/B6VubMO1+gVjQh/al7NBlHDl7EDeYPhwjYXIL2c603hNy6Dio5NwqrO1GxcR8Do93wWQ3/IC
d+vxUUrrxJUwDWI+SIO6kgX70JYfakumkppmGde7CpSwX0Ha9i5PrJYPGSLDEBr3AD2f6eU3u+V6
3n3W2JY7+wGlxJWGWWN8UeGooa3KjbI0T4znwJv2fbjZhqjilgcJ4aZTEwNo2ktn0Vd3BzltjQRr
t6p+NbFieKbKG9qCy+3w4Hm/SnSvGcq+z3D8rVywaSHcIETK+i/jGNqndsChqeQ6cAzLZB/wBnkf
q7D7wa78fNd/8+7t9fDJO3fXYbLsV+0GmBmr8PinO7Q29sPNplJoZqtFXo7rcRpfAriESaHU7tPx
IB8PE+Zvb0yzWy7NLKsOGJPdVAjfJcWrblZ41bUpKkDO8/FYH28Dqn6aYZjkjZQ85pCHJHOzsEqr
XS/wHhluXeXFQ/3peIxD4+H+tMnkdR78c6AIaUpb8EjZNcjNjehxNei12Hhhil9ucrHw9gNNx+Xe
8VSYjs+NV+0s/bFHdB3o31kiTjx5D9xsBNFt1RGkp8aHopcKMHaoixoTaWuD/t8Ca2KatYtk466r
5bAEBX8efwUbfGqlH5zFvbjTz/cGFxSk39MsulfFtfIc3SF1lnwqt98SjMond5472PnkDqvj3+7n
x5mfhpKim6HyTtJY4O/Dqkpr0Vntd+rGu07Qy/2B6/AXMFtnSEg+uI/Ilqzz+6o9cz9jHLmV18Hr
8V/g4wI1qWiQxDrUbaac5X38oE91Dw2CXe+ozdei0VQst4Vz46Iz9el4pI8TTCROZK5Tg56ymG07
l8I2srTdzgVDnEQYwImwu4HL+kXLylOL6MCoeBZqwqIgpE3p7PtR6cK2TCfuuSqx3wP/qa5QnvRW
Cblst0Q0Bdj70tz98vh4fhCMnWiBjp2O0r0FNLhcR0Xa78ykEWex635DKOPV7CpE4WAFHI91cHxA
MyYZkam0ORtf6iIFUaBaXg+I2Jbh2kJF1zeS9fEoB74YI/o7ymy/t0LrzBT1CF9BfJ/dfi4VTN3a
BPerJvNPbMCDQ2L2OMaosn/IPVK9j8sMk5DWoi6Lo3BrWpeqOT4dH9LBKBNEQzVZh4gfvP9IY953
adwOuxEmjx6++WmJS1t8YigHzjDqr1IjQSf5oFg4ixIHhm8o2Hmrm+BFQ8zxOjun0n0fP1drlNdh
JlyWX9Mrea2c+GAfr0+Kn6aweEvZtviwmfPeqBMTCS5fLe+dEUi/Usr+15ceMST3GTNIoXW2jbO6
5BE1SvwTBBpzmpHWaNND7vjiRtbwxz7+JbmQ/50WyE3+liIy/fZWX73k/18IgrDZjgiCZMlLHLy8
1wLhT/yhBWJqv3NRqHxl0miABlNZ+A8pEKH+DvaIJxgZPEpJFMb+owSiafyIf1idXjOUrx3+0J9S
IIr2u8XRzwOHLEIn0ZP2L2mBTMv77zuNtHRqEVIeoVoKqsOaP4EhOApKiircXSici/DSuvO2xhbP
9nX4ZPiLcVXf+atT3Z73a//PoEifSF4u3KTzLEjPUq32MoTtKhuGBMpe/qn0Z5bo/xmCX56OpC54
c8+Wvg2PuEr/GBeO5bfxEuGA7ygQL9CjxUVH+7L3yW//mLB9ROZU3vkwjXvhZuUfK5RtOQxMo5eC
Kg0V1O7xTaKBjEXyovdMtM60X3pa/DlCklWavNTrYOa9Px69LgjILwnZuM/CezQgGxXtiRx/1sz/
EMSY4XD8Im91MUIHrpcdzkjtMtqiJ4e2x5n7gNHJEjn2h2B96m37M5P6MJ1/j82Y3ZkxTLai7fGq
wsoek6yNsS2f3TV6dkv1xjpDzW3l3p9qVhzcCXsxZzeoKhUjcRAWQIxkEnJc+fwXpgHH18msG/Nx
QmeZhxEEaTZOX22a0N7fRGjzJkskuZoX8VQs/CV0ZHSpP9vjAiuEZH3qQXpw6+2Ncvr5XuZTDX+N
smkynAjxJ0GA7vgYp4V37ONNE70XoqYuZKQWa8aOaixupOPXEMRG9TnOIWOPfqjy92r84+rKR8S4
6k/UFA4PUdL6I1GmFDTb+sjMD3ptTFNcf/bs5xhpy+MDnEEd/vqIf0eY7fa4kKNsUIA9a785N/K8
2UQb9EuTS3+rX3hL6/54uFPjmW10EMqpTS+VjV4ILE2AXaHdgrQI7rzHA83KhX+MyzEtlWSLBhqH
yvsvV45pGZD2I/xLD7O+FW+xtfHXGDFyD3TqErcM73R/8tDw6JzCMeDGswDivQ9au22h9AVBkTl+
gX5S76bSXX6hbXAAuw/HMwweThydB0PyrqGEjgAWT/H3ITsL3lXQEzLslDUKbGcODdvjc3noNJng
uH+FmE2l4tZdJYxex4kdLgC28BnSEuyLE0ifA2HgW3GN/kTefHjIVFatOuXASNAYudIrzGi0kUpy
dGplkL/M9/S7ONOM7u3pvjAL29J/rgwMg7x1grqmDmN2EaywmF0NS+ldO/EO3xH94hSo69CypJgs
VYqddA9Jh94Hl5XMC2Tg0cG9zK4pEmLNiXrturp0MeTFzGR5qph8YFb3A9qzW89ohA+cB60eoUGk
t/DM/ZFEv4QL/7nX3sWYLXvfz9oyj3rUhvBEHfRntGqPr8ADi/xdgNkiTy09kVXArAk9PI8BP7W1
tjoe4tBt9i7GbJWbajWGkclEpZf1ZYDE4Sf71cQl4m7qNHTr+gUTjOIL+CuMU8LzU2nkoSSPJr82
Ad95vqGN935hdFEWK3HIEPUNWEO5RHv6XCzzJxxK2NurdHEq4qwE9OdX24s4O/nxDgSeXhERawSQ
SlidinOM0yl6KSvrEhmx/sf4Y9DPrnFXWyxi/vfEjE8zOrtc3w15vhdiGw2y6RdQtu6de46u8EJZ
qDfxC1Y7nM6nWt0zVMtfA0bGFXQWzWh1Ohj2Nr4wa6+E7zzlK1TMi4VYCPyefwTXJILlMrgPthT9
MG1fNGtUmpFJwNgNuLZ+hsf44/ikY1WZLk7lhweXNkzhv36p2Xcf205DMYtJkHnarAINfZ3ArHcn
pnr6t3yc6r+jzL51mCDLVWos7rpY9muOOiQFt+mNkvzMf+0NxPiMg3dbb6KbU2fewRNob4Szz6z7
mRZBcufOhwMRI+cxieLnIv0H5zrL6T9j/ImN2/u8WAYoaAUxk7221M/7ZXFvbFF6sSfDZ/suI+HG
uGXRLZBIOT67Bz8hDzOVm4uEcF4VQ+/PKpLJjdZFcUGhfqSn5okQB+dwL8TsADSdRh26KUSHNIyr
X43msFSSExfwoReSQ1HvPwOZHYFpnWZ1kBLF9Ki7URR2kVFA9YZOFupNSFZcI+Jgpqvqttw0J/KY
aRV8WKF7sWe3cq6WCUMkttjg9bRut9262mGRszn+rQ4f85RLBQ8HATVrthrTrPt/nH1Zc9vIkvUv
Qgz2ZWLiPmAlKZESJVmW/YKQJQv7vuPXf6fomRZYxMeS++FGd4dvd7IKlVlZmSfPEfOGPMcaB+o3
2+ihyGzwe6kfDe5/yOAhqwfzCcivVVNyWuYy1+P8p336lMr90DTG6Uvu5B3UFRBu9XsFyLn6tbYi
ZsJN9Xb/N+gt7FF385SDji8+PT9t4y456EcwGx/5Z2KXsyAeXJvgcAd1pYXZQeZq1z0DRWkQwSKv
16iwo0YzOokZNruWf4OCseIZecHa6wUn9tMA9TX9gg8rleymeiwOslN4ILY0pQ8IONpf6NWse+E/
1nQqlwJcvJPaFtbGOX7AjIoZo6xUgffLiFJbTz6CobZLmYcECci8xPiAwUCwWG01cHEB5sy6Pldj
+ufa6fmycQDdVl3g10BQC6Bmxakyu4JgDs6x4UCc862drVA1wVfWW19wJHJwLh32czOokDTN+LLi
6SBj3h9dQK/fQFDbzO6BWWc4LeMY6VRcCv0BnE1kpQrEIaTksTdY54h8uYvFKMDPoIotkEYA/nxx
d4DnsBmzGhbw2gaHIvQy+9DmoHnlC4+YdXJUCMbJMcgl4/t/E48WlqmkJAMpcJz3sCx74btyF77n
7/E7AEKuvH0DmhWUqy3GoB9AkG+xno7r8X5hm5ywxarHHu8tPoFtyPmAK9kHQ79VFFYCL5pcyQEL
UvnTh6KMFzqstGfdcxe2qdBQhgBSlB1st26+5Z3cLVAwkp+KbWGHP1m57uoBWhijwkTtC8KUkU0W
4KhtDk2e5OH6d2RYoCfjcjmXjICEhkLsIQ0ElTiZUb9cdffPNdBjcVHBxaBNhAV+mPdd+swZNyAl
hUtAJxQczNeXs35NLaxR3p3yms/pHJ50E9Al5f3I26mr2oMbvTfv6Emj028zLK4G14VFysmjMNbi
gnyj+Da/5e7Se8UFb5OdWb2ViBh9Mn2THVnE1e+mowOB4gbIyGmkuz8gL1aiUzEgO3T8ht+BvvB7
ihOp/oZGcf3051VCtL5APexquTc/Y9xL3bDR7eTE0zEIYG/ewPizJGAI/twbJTD6hZBjRmlAaK0k
+64ZgZs0LyK0YqKxsn2J8WqXyDe8MIhuJEo74PfDqNG5wTJXZgXzz+QCgSooUhHuRtxNDhRLd609
OaLTfIygMEqc9leESm5+mO5HIN5V1ziCTvkouuWOB10nI9ivHj3M5f/fz6IrFlOr5XMDEK05ur6X
g/HXrW+Gt+YWEkUdhgoIETrjKqW0Jf4kSQLILzE9D94BdOnPd0KLxaYFFwR5Cqse9xLfG3f1bfie
8JseV4FbP843mSWb7Uf/3Nynh/5D8kAVDi09yUpeILPoXPeFtUOJch5pdqIlotD4P3GapAKcvoiN
wWwmxp2qvF43sL7HCwvkFywif2NgfCkiFuR99VFvcze2E4xPSB4k0Sx+w3Tu1RXpIFQCmhIELHSD
J8kioa0avAFJdUP+gGypLWz8LTlWImTTkJ/8mz0UgdPHCB2eNBeyAJLSiokfwGIKXBykqAwWnGt1
D+E5CjrSKDADmX2+h6HSJSqnYA8HC+qukklem4BO7nwwsyOTT63Svv7VpJXKpQHAjoEuLLC3F312
9FuMWBXIV/NU3YJQgRSZ3Fu2geqAmJr8jnfS23SbPGQb7XFw8Fnvy6dEMf+UViBKYNXgvNwOdxpk
lkvQ2zqEQ0a8ZxelV/dm8UvpV04wYutBU4uuwgsyC3QXqr1vtyikzLMFFIKV7lktr9WH3dIk/TmM
Zhh58jmQSEHpCUzbmLp78mszuoFMmQ2x0SOYj0MwG1piREoBDKdd/zjAr2vgUwS8lEqm2l7yR4l8
HB6jIFEsYNYAA2GSaqUg1b9+EEhgpgM3xjMxl4pzjQkh6qaI+obL1ZP3eki89y3eyqor3zDzQ5Yd
KkoEQ975cQkfGqzkVUS9bMz3hRd5DYCYijXu22fpNT1A1NsDw3/y6/oi10LGcpFUSp74ac4bJB/I
BP+lN4KnJMm3102sJqFLG1Tcz0q9z7OCLHBXbsHqj5kuiDI8x196Pq4ekMVXow4INwO+bpCMV1DF
TaCh6gotsoyvrDRhXKGrWydj1BNDUKhI0YCBqB6SjCNvfqOrzABs6WLBOOwsC1T2DkaVSZxBumoq
XQya4DaGznXHyE/Wg8hiGVR+Io5DWkUijPRu9QpxY5uzEvTvUJL984FY07MXi0KXEIMTRGWKqGXx
5M8Xl2LY1UBaJAY8OB4szHdNEH/72wNHTKBBiKFKiZSgqUPdTShxBaqGgghk5kzNFTblTbTVzekW
S2JjD1ZXtDBHnW9dLyGtRMw1zuDMmYV6HlikvZPQeAtWbDwq89+sm/cyElOLpA56qjWNmDSwmt8O
zxH0OnULlKzH7Nj+Au3rtqwsp42shgjCYdHMqEWi31l0JOaBwET6hDYbYH3nn5Evc64cap3scX4b
PIAr1NNtf8O/zE7lfgHgwbJHHRt+AguwWMHeAJJwNBGGPXp6lu8GYMt/QO+E2fIlh+RygSrIrdHb
vqw3q6qWzdWM/U2M8jYaStBF67Y+M2oiq2cHiAOMZKCsfVEoBXPREOQ5vKFUIFYZZKBwPTK84eLF
c/pS/5igs4RsKqR4Jg5XfUwfKbfnZ4fP7H4rbHQbxP+S1UOTIvegM0zG5dkFPcYSTxwMC4evC0mp
4gj2uzYFX/BuCP/2DsMCwcWDvBe6VRgUpTxhADF3U0YgLQaB/EEt653fs2r2F484ygQVifspkFoj
hgkwyG9lZ974t3iZOPEGI1Euq5l8+VymrFEhWZhSPekCWCMT2LO+CQ7jveq1T8YLj2Gh2EyBdtas
5Ha0fNNvnRCYB6vqUR+1eHYvnbF0miATzbxME0NCCX0X3s/bYJfeEECVAEhV5LLyy4vb+3zlNLRD
gDyWUGYw1kfRFqqISfwuNbdgQGO4HQXixVuUMkRWvTiUfaCkeuD7JI/tnoPRLme3fidoKtWGIJFm
x7qdPwxPr18o6ZLjSAcWhYxG4dmE6T56jUPjt9kAmQxcF90ztGkxeFaiEjJ4+o/OHSJzsrXn8ki6
aNcDwZofLu1SS84hNCIMPuyKQgdJzfu8+3ndAGth1JWglkFZBjlmFIPxVWp+lBjaVzjJqsCUXYuM
abpTyejaLlL3QdFBtj4PYEz2uLf+HnraxQPXmzLERNB41cxxo9o6SmmD7ZtSBZJvPBZBb/5NnN2x
cstvrILKRRZPDhTQfpiikXTpIudoqlrPZ7K7YaN+58HcV+tuOt9iesHWAjBUR1BiYuLKVj8pBFPB
5ETw6HRtCVpynKh0MFqp9Vbv+APS+dq8/lUxCL9yYAEhBnwY2GLwb1ANGT+BlA4IwhGOQP47e6M6
BXNkZWUsagP48me08ua54XaYFJ+2it/3zXfQJQtYdDbkIEHp6lpF5IRvvyaDmGwzrQ9LkIPX5WRx
RtCjGB4EYAlrTFntjLs24o0YynzcnLqTMYg/siDsIq8uSiExPCUNwWJucXLDBaLVoGkRQw8n7DK8
usUoCiAyZASJKI1QIAwbuYQ0ModPZhPeCciF9FsF2lAD78SzDnUFEc/HqrELMZ5b3jXqIRcqNxwA
aQPTRD2PgmJVTavHo630IpSDLEiuS+pgSZwoDdA4no0Jf2kFOcY7GBpiWi1YpF6SC6CxAmX6b7GR
u+ll6NHyNcy4lfVWw/hWoinNpuT5SX9BjjHy0I3JVMzQmBB+5NraKuIaPFJmQBgjoKsXRoZam74+
gZkErGB+iKc3ptEKfIWhUkac7VGKAh4quWIuVuiQQ4osxETawN0AejIlm6CHjsKDABZ7cbbBpD+L
N2oplfqdhnpw96tO6kh1RpAuo/6q6ZlaHvR4nrRffjJX/LYas7R7yKYoUcD7HLQFD820EkK83UDe
JB0HQQrAS2Qj7rACUOa2P6sgHvhtV8giISHQhKTGBHhFRGrqsrrTy0BQNmC7F1R8ckjbWFAEgzy8
UGSZ4eBAVfV3KezV8iHWoNn6Hk2xImAIWYXwUxWhKGD3TQvl4ynIqg8jnWvxIwOXnfyjhJxq+2MY
1Fly0klXWmvmOwND7o3OD9/4UMX4uzSqhXLsurGSbxu9aqY9JrRiNGhLdcbcUsyPEVBqxaDl6jse
MWO4DfLRVzbTwJfV8zBB/Q516oCHsJkZFKEPuS0kd68QKNQ+WoPjarMdMax3mxegBzzEksyNhyBR
MtmFSqFR3etZMk67dvAbWbWKvEy0LRwEwcOcNCUYJbPX5Sp1JWHO1IPG9Zx/nBRpGnIr42LoyiV5
kaepmdXlDGlshec03pKNUmzQXlYLo3c5pHvKLymWB+iYRP6gS44RV23/JJcZLz5lvsYXx4rTuwJs
UILk5RioTCBfk4D+c55n33eitvbV1gVKJhEPVSnqwVZS/DiCSJCsly8Y4gyjfVGF0ZPUTcb9oA+6
pWM4MfH8bkCnDRIRKCMcCm0Mxl091POmgggMuKDHUpqgX9GEsq7Yklo1+WR1QuyXHdhBkYWbZW9A
XAb4rSxzo0yF3FUzN7NgyXGn6Zt2EuTgLq8knBUx1oAqlPUpa1OzU4yxC27kbKpmBUwXYaG4pQDO
wR9qPkQBXn0ZhDZRBzBwPI9xLQvcb56rQJFhhl2a/CyUGOSXAhg4w7fWGGP/5yRA2TPeciIyf+NW
SvqGbzxoFSO2HLs5BUoE2khaqkCGEBRpdfk4Ga0UGQfEDPAwWXM9RHx3NDDgyoNtWRHDRnRAJ6xV
8lOrodw5b1tMF9VPXVnI3PQIlkQZL7VIQtxSIWkRyncoL8hyC1GSYIrLnZ9P44TeM4hh35MMZHEd
et9FmOT2LINQsMTc26w2T52stcIevAsiQPfipMPHPT83+BpKYGJXy49zU3JcClGipNfwdOrVSCza
uyqKRd/fh3mVoaaIDdTCjpF9XD6n0PIl9FGYP8Ech0pdInNcaj60rULIOqFo2N20vKf2rMz58j4k
RjRAgnVCRE73mboZSYHmw0jQikVqNgGvHdNx5t3rV+LltAEhBlnYoV78Kg9q69CQSMmuMPekqQMV
DzLjoHn8rWgC0/pw3eJlXnxukHriIBZXoSTDYA4sRFSOIIr/rkaDgykSxne6rNaRtWHuEOBqEMlc
tEWavoHfzzBF5g0E9KUIXlDb827hDhuJVRskOeF5GndujUrjAi2KmixRCFIX2j0gRUicwFFtAWJg
YG+DWhgbPr66l4sFUtWhOihUpKRYIMSoisqK74f9uAG3Bgpe4GHAo2r+kCzIZXlMUQ2WZerYlHlm
pABBoPkKTSFBySzwsSC0ZZYesN43LFPUgdGDOpSKEJ7gp44iAYmZHKJNdOQcX4WCHd441ZYATksm
9GvVBRe7S72UM8UY5oDsroRiRpS9ccrIOqHrJkCbCL5KVExoXhmQ5qCymBJnmNy42RqQiyQz5JZh
xc+cigIUMJYOq/Gw7vPqp1Xq+RRD8xkNMOzoYIk1UHviNwIqf5MfjWP9Oj0mtrFtWGWHyxcV8Y5P
m8R7Fq9UdRog8JmcbNa3Y2aBVlHNHe1m3oCg0morCxQUjanoFv/0b97iMI6eG6jIDUGWJco1JyGF
CtfpS8q+GSav3PCutpMlpqwK9NpZBSgAo8iAC6oXHFwdxLQnJPNwiwhBR3uB+Fh4T8Aq9XfuGQhp
MHKCGs/Ca5IBC7q8k0CrKmikaqQBFU7Xiau2idqwQxGAK0uzqGek0RA/8n9dj92XFXY8DZdmKLeP
uLjswxZmNMHUM2dyukPngWvGRbwJMpf4ocaKq+Q0nsdV2ETipgG4t9aY1eS+x0wC6bV3DthmgHOH
lKfdP8/7iB1SLz3y3Bp1VGK+FwuNh7XGgfozWAyBKQHCe7RQmEIr9Km2cq/aMLb10jnOjVJxvEoM
sBc3MNraUFzDSM6vEUVo7abYo665g3xrzQPhnv6u9/+q+L3cXeqLEs1ZYIVP6+0gduZUqH2POxTh
EFS/cmetFRfAn85jLhhcDhdNcKnzgyg1YA8Ph23m9OifJV9oKK8WHpd2qBiXd51WVDrsoDPjaVD1
c/A2Q2kFM4f+aGO0ZUZVBQJboGR88F/m3INgvfYsvxT3+Y7Ns3rpnqAWRBZyauQgDlK9ZmmOMI0i
Ic6jkOZNY271aGWIxtP1c3R5dgmBIehUVdBwQhqFuimFvByaRIEVrROyn3kcNm7EZyIryK0lOksz
1L3od0aY4TFI+iXlFm+c4UBQV5qleTWomICBYt7El8BDXI1Lk+RULW4PvGYTvJiwMuWu3WpvIMmV
nWjHWW/GXrDUENckGYVi9fdO5aDz0LM0C2Kcc7MCx8/9FCHLIdVraBwWqhkiiO8GR3xuzEY2DWBg
CP0UcLOubwoQUfvOqsatXSmfS4fXnP+GHuLKaGpjtwPUH/IOOXMTWPHNKLCm9laC+/lqKZeRMQ8f
nDTgdVDKvPJOciPcGA6QVCh8OZmN/NX7+/OKAUTSfIOCIyqN50vTgLgZ4wxflZOJOPNB1RkOsZ7p
4OpA/k+4cOlrsYACp2hwgJM0jnGHytfs5va4qeD4I4S7bRLiAvDAXV8W0yoVU4UmNRIQqZOK/IR9
Sy3xA5/N8W0ZgotOkbnQGrP+TXcKWc5isZT7l42Osc4SZtHkzCGgjcHEKmDRBq7FGEAO8SzFxD9E
zag8LghBW2mQtWE6qHAkaCji74rf13fw8j7ESiBGixYJhPt0euYiliPULMhKajF29elHiEpL/62v
rEGL3eumVtfzaYpuKQqZWEc1WU9SoRPUCKgBMur7aw4MgTvwWRjQE7tokoCDU8AIKSzgz15HZatx
/L0KAb8pZbVHLzMlbJuCLAnwTB4VbipKSnhNVGF3Cle6V6hu6RZ71FXdzDdV/yvE5aub91kJoXEj
YlY1BCSLTsEWyYMWmZmD72V3dvoavEuIyhyT5HjduRY2qdunqycO2vKwyXvw5vv+MbX92DQOmqXf
QXYeNXo7uGMBPldj46Lmo1BbK/RZVOF2J3de8ZrodnPEKJyRmGhyCVb3Di3Z3GMRE695gSGr6AOD
ZUiWVSor7DipU1UfwSueJc0Tmz5JPUUanlQxhkBjL9wUMRgoGf6wetUurVLBK0M1NfdRW4SEMrDc
SJVu687EVLonI2oalVU8AVwNWirmFq/5ydIwFb74ucsmAdV+s32ZXRBHghCRQBB7B0L1290rmfBk
UiKSy5O+4Jc2qcMkSOVUSjFsqolJuuH+1phNoF3AXwndDlYlY80/QRenSQjA0gr1bxb3UHLGB23t
2YWcLKEE781+J+2SF/bExJpzLq2RP1/kTCha1Fk0wpoR8Zaa3QJ+al6Pnetf7HM91AFVwYUFJlBY
4NsRteE+K80AZ3Ook6yxs45j3KundvLl1/q0Rx3NQh5ACjTDXv8yfaAoik6SUtvQWidIWlCkiID8
tw96YXYY2IhAoCC7rfUFAM9aNr/cWeqkir1QqxgoJ78DlT79Y2pMbdMcEie0G4Li6VoHkaL9xnys
rUeEzw2gjiuXyZPUE3xlvOWfyQQbqRYFu2RfOhg5vg9+6C7ep/t/U4sGNcZJSQDNRbo3K3DdUOQh
vAQSaOYAORi/ZJSHVk8SSA5UHkkFsC/USYrjIkkV4vsc+mJ9eOi40ZmMTS4w7uJVn1jYoU5QxgWV
mmWwkxF1Z8Npm8C97hOr9xMIrIBZx1ahy0zl636TirlETCQfJYgBCAdwsgNXuqU+irU9bGMH1K5b
htG1J9nSKJW6ozcTCm2IHEPfA2ZjKxjVDgHQr51wEyG0/KsDsVgjlQQOTaWCOBCsLJWeb5T8XuB9
m7GiVR9bmKCiV6uIhSSSbYy30pvxJueg2IxdzeH24wd62Nyu9ybm2AHLKHUMxTRukizANvqacCPw
QW3Kg3ALde6CETlX8wnMTOhoaAGVd8Hv1ytSU8jkbidAywDwfx4PBAK0HGzxFD34DbPsu3pIFjap
w29w5dwBzUquHwxgtptuxr3OWYBauX3hoTLK1qRa94aFTSpUVsmk5DV5gNW2f6wOemJzwJk5ZPAB
qsT8HfmKvjWyShQrfk50FkSN8A4Dw0Id0HCehKGucXogxBXaIjDAVuCAXtlMXwvAo8zTa9b6+yN7
ZpQ6skIhol9Qwmi3m6zsFRf8dBiAp3a0Q2XLL3WE2Z/8N3NUZuWzwiwUH8Cmh2EZGoQlhG3fQPeZ
JOHNc/FA2N4gVrQtXzGgjduP5ftrCSLsIUgTKlaFp18ZQTf4aTwPJDsUJCSIwc3gNb+jb5EVHqqn
6k687T22SNJaLQYII3D+SXgnARNNnSSua4pYq7BMfsd1XgiK1NcakW2PacOnHGsmr2ufc2d+G003
f9SSWA/71VO1+AnU9av3wLVMZKcBQ43NPGyPadbbjFO0kpKerZN6aaRBnCkjNLVRPKhejRt/20Ij
BwQYBHvNKsCshaGlMbqVHQlNo8Z//GQsQBZ/Oz2TGcrIU46itlFFmz1BeclohEE9qITJULiF3tWF
hlcMHQ/ATxESjEc8GjFEeUCZCbp8juJJqMfIDUoj0l+3R85tUq4JZFOnpjo5PDx06YADsfhA9M2O
cFdc/34rVwjh4gedL6Q9dPSAzrPuISi0AmzRuBpriEOMmzGZofLEovdYPYkLK9R9r0oxjkiEPZQy
QClCxWq4p+vrYFmgIugISEIvRVgHXjK2n9/hUDJ2aq09f7ZV1Ecp+6DvM3IQ5OMIQvrUnn9FHgBJ
VvaDZ7bnxdUwCTgFbl0IUoJ39PzDtHo/iS3gv0iRym2zke6U1CWYAMI6GIC3+k5KTX+bPnJOMOCi
wJXh1vvhV1bY/2JjF7+DuoX7AVpHNYljUToAaQEZyh6QRMbekv8I9VJC+omJFE2EkAfIpc8X29Vt
h0oyEjQl+qaVuzjnzUm/j3lm52rtuMOFVbD7Y4jtooGtTEKFuT2sZgCpQ/IQ/6h2McCqFeCqAhhC
qg6gclYYpqQOCeJZBe0bBtnQz8Xf04PP8pwo05+aXSjP730V3+tzbwOTV9yMgz7v/bJozX5QvX7q
t6HKJ7+mpGucv/+OQJYQqQ/CIXQKrYvndZE2DcTcgAZVZ/8WYnYbcWIpOq2GZzTNeSBWMQt7oUok
Ga0adREGN7LnCC7iNB5BdYcHXrSVfzngAAHyT4N0RR71EBBWEoO9/0vKQZsc//0DDAYgQ0b0Z9HO
pW5xPSzGoMthIE4za5YTsxFH1gtszdOXNqhruufUHocSNiC2hVQPLy8rRAu3dfzOExweRUnWiVzz
AgyDA74Mwm7xQsrQwPAqah6wiEkbix+flP6brr5eP29rqTSZOP/HCBU4uFbT8oRsndaZY+jgRSSr
Znecb4B4tLXJTPWX8CazA5dZJVu7C5aWqY+GXoacZ2Q+q/kQXGA3kH65vVk6BUH4lweQLh6ZWS1r
S6mP2E3iwOk1sekAIhxshsSsc1P6DkJvL38NBlP+BWmHiEl/KJKrkw6dy8VSobMRilyNyLeUj9Vr
c8AsWGx2MRRkTchI+DYIQWsTg0az2d2FDhRNCtAjjffaPaseytgAg2qOCXHIo+qM35GOj2p164/3
EzNZWf+wkNfDXSAjsaUuea7Uq7blEMO4KrByFEA75muBZYL8+SJMCnKqp2VAttPjUjeEAu/pxtUf
U3DMHyQnefxbdZY/9wN45f9ZFtnahU3QSxbVFMJmW4jvUzts+7z2rnvj+tf5NEE5Y+iL3BBo2Ln2
pIXXPAEm+zMWM+e6mdVkebkUyvVKPea6mWzftANVqwL6FlD8uBCGJQW/3ivuARDbsZzv/+MDn6uj
nI8DUCvD0A9wt0cAxHq73Y5PKFKU0JMCMr+yhFvBPM0XvdSYkTQ8kD5Kuj1D05LlBcwNoNyxNnJw
5fn4KdJjj/KZ6BEiCMNq3PRVK8E0+ZUxv5WBVFyDEORAIw0I3As9LS7R5Gyc0EhTf6LMjId8/6S8
gN7EI00fSzrOA8jUpWeg7u8wyr69/s1Xj9bCOOUxSRbOQor5P1OWjG0nQTh6TBwlY6Xfa2agFob3
O9j5ARqhfD/l9U7PeJwscIJZqnzkxfdIZRmhMhjS9CQ3FihqRLTfRUwxn7tiWftxXQYqj5qTfgwa
M9oQwB/Y00No5JAqDOsqppoEJ4tQtgM5D/4HsgN6XX1Zz2E1gGcGMlcnFbY8tFsMcum2YEeIPa2p
Yo7J8p+i7eRG90ABALJSeiwfOjWOP++R0+/AaBD4idD6RQvvxLO3CEJ4COrJDEoRTO3PNl+IuYms
1TDBWWyH0oC8pMoqM+R4y29HLx5lxgvg/PP+MY+0lGgdg6ToIrTzTd3Gxazp4HuSzJmLrJobzFli
QmTOyxWXdqjT2kppPxoThJtRaYvM2c7tZETCVVnJN/5b5GgP6uNsBZBtNaNH3+lHzAUxKVGpl+Sf
H4F4BMEIICAVQ6eicR2o9VjwHUZwPMkVdBMH+ofiELsQqI1co2RsLhWV/hjE3D+a7ETf4iIxr3PM
cEgNDpm+173/I2Xs3PSAVAUYSDYr8/k1ejKIkITXHFG7lGDy3I/mtkrrEYHQlPvWFDBU5icsLaLz
tBkmVBAMCAokWfAX5APkRC0OrJZUCQSWOg44yx4sTg1mc6FY7IGCBdjccMfEy18sCZ1tGeQnUIjD
V5PpV5xozGWKIRoFpeFyWx2g0Agu3RoCeHg4Puk3X4DLX64QWiOyCMImUYLmB41dKZrOSCPon5nB
q+bflaDqim3DmXcz9BzQKQQG0L4eyukgANTqSToQ3ALgPYTeK3WRhk3ht7yclziY7Va6Ce3ezLaq
G++YlTzK3y8sUffknHW6GvINuHPeBlTVUNq3sTgrzrzs1jiSUS6cy/AbzzuMJZ7nywQ6ip2EjhQW
iGL7hTRqoxV8LCV+eeoqCHbmRA6ENj3Cy8f/Yi2TqgLDGkZuZEI+BrgYYbqiDqksiC0KeXyJKnD8
HgQmcLJggTYOqWammGIPn4UPDF8SOiXNnkFK2zK5vyiCVNTXgbBBRwOXGYQGwbtG/YQQQ5ti3MSQ
S3JGG1HP7nGQMKO7le3kt2wDERJYvJncGfcq9KdYkYeKtxfWqVA39emoyi1mdJJnoBABggw8/oXU
TdlXKR1WL2xRyecUyyWARtAyxXXVjzcteBbajXSU+D2Puzv/y7Huy52lvCWZy3wIR9jrBtHS4n2L
k8w4rVQI+LMkSC2gfQEKP1yQ50FOScqE0xqZqDygNqC5lWegSzohchMs4Beek6vfa2GQuh/HPObS
PI7QeYrM5qZ1JwcFCZxZL38MOhRzZLO6DSMkk+kGW7qvvnNb1pmheMz/d18Xv4E6sYqo1rya4zcM
ln+swZr5wdem8ZY8AE3a20JoRzNIr5QbwvCbfue3yRYDBFHoga+uTTb1Q/+KzWGDete/Be4aTYb2
Eqbpzr9FwMtRr0oKGhsvwlsNMHjm4aGtfeP2nAcJc5tn1dNIDFykZH8+PiSDIKsGnY8LUrksbtAV
rPDxCWV0A+GSwZXdLyyMDomIEKiuomCHmqiiYtjzfGFyGzUg0cHCiNJqv8X8YoaBuhHkf93dtAkZ
T1E64yXLgjlQeyE8QsFTovZRSkAEj8oUMNC2BloStB12GUbPUsFKGyvY55vgaT4A1DSZCMkbSLFq
klm1JgsNRBWoTsfs7HdQV1CuxC1adKff4XtIAT0f583ObxRvsitXslrPsBNWOZ3EO+qbLo2eJv4X
WYuSZRWn9BIeoKXuO4UCtC2ny5hqMuQt1HtT1nVHZS30ZsvE3xf2xgCZ9dzCXu/29pBuJCRJmGBS
TNCd6y/9MbH9v9S+/LOxRPEMGGaklRClPLc5Y3Yecl44t0ppRLd90cs3etFD1tqX+sfrAZIio7i0
RQXIMqlHUP+LgG5uug+omz4aL/JOecMsLwAK2kP/vTVbJ/gxov4gP1bbeAPoY/CCNjNjo9e+63LN
VNycul72wx5rzgvdinwJT6R4N6CPkeosWN7aJ12aosJjF6PJAE4j4j/hkwCAJ6b9joFT3gCu7U63
OvDaDiuRWbtbMajx+U2pezyUm7pHbYPEovCdAAHxLiWktfFpkoFVRiEhgPaSpTXqJm8VY/K1BEsc
m00zpiBJ6h1Z+zmjglvJuhkbDSMo0Q//k58sLVJBKZETzIjM+H6DNbsZqNZHyOpVt6ND8tAvKCmt
XCZn+0kFnybAIGWP5B/7Gasg1UpdsFI7SQONcJO3ATthlqZExhGleWejJIJMW4BPGOlWwjn1S9lZ
QgPSB3N+SqAIZOlgxMldUjPucJDs2rAU1I7nvTi54evoEMIlFsiH5b8aFZ+itE7w0EMQbsDLK2MG
2Th07mzPW7RXT9xxg03eOolL0rdm1zm8XVvsEiLxmSsHTqNCFvgIxCrpcODEnLvBQOSLpqJkLg4q
C+mzcqeD2hSjs0SzV0V0PI+NPcRQytyHocaJ/TuiBEFKPINgB6nb+6gBgMVk023A19XV5vELAk1r
l72Mnhmg9yI0mmi8nxY1TTVAPwoHfbQ1aL4ARDzdzbjs5/Er+HfiqvTO4v0BjTIUuiFhSR10Tgcv
c1/DngB1huE1t0MMX8noV88IyVC9xaw5gUqzsozVgIUJKBQKwe6GjINyaH0OuDICLM9sxdGZFcy3
lts68nLhu6I9S1JrjbLkqSnncM23Opw21++ltRiNSgFQt1DhIBUt6jN3WapkCa4lNUlfOUF8SADf
uG5ibWMVFAX0E2oT4KZzE8acgYFGgOeIsuqNDXSjshSDE0KlQFgMBMRp837d4JqPLA1SV5xSKX0m
BzAIku9jHvd3Q9F8n6P4+boZ1rqorQNFiRgP4EIy67nxighd3VFJHV6v9r0mflNGljDWalxcrou6
2rpOHMA8AoNENqmrMBXC/xxbJ63u6gYcH7ci0D7I9WU72wqofjpC/0vjwNSy6fHqaMBbDvpAEKqy
I/baLbj8YWSnFrnbUCVpXBU8flhSPgZqcRuGeEi3sbgZFM1LRwzaGkXnXN/+tQC1NEr5TSRjOyYZ
CWOUfMzi+5gbpgTN9nz4SHzhZ1H7zwhrjKi46i0C5EWIsjgp7J0v1J+guq1yM3TAuJ95BGEKqDlf
X9XqVi4sUM4iZ8WkVKKOrewEzE3lUXFXFJwna/29JBXxrksndGbk9u262dWzvDBLuYwvxWDfiRGE
+PlO9H/DhczEB9gkVqwsFRhrPIER6FCLcAM+XEzzI4RTodZPlLHwKxLybMEl+e8wAM3ZbmTwUgNI
sNG2kplb4Z5VGl1d5UkfGH0TBURl558vFcJoEhucUyAldBTthUOjcHu5mbegN/LSghXbVwORjmFs
PI15EWXgc3u9n3RyX6CJF4Z95E4dRkv1YLr35frX9c9HYUf/vC6UhSU6NDRCpIDnjFyW0SHI7brb
8c9/KpVggJQsxIHsCVxgbHr3tbId1D0xd45CLOkMURV0MFMks6adTPuZI7hRvM2Sje+VLlH5DI1H
qNcBlaxMDqmmRS4rBV/zyaV9KjGTh6CdDTCpmVpdgX0qsdte/csS/inpXtqg/L6vpaGMatjoX3hI
Gj0TlR1Cmq/Xmwlg4C9M4xE/p11kaZGKA3obyWkrYFdlbwYmBXSiCYA2YmH6L6QKyo7ha2cVxBqo
GKGtdjlDFQZ5DLDzgHdhJx0DodgaWu+Neb+9flLXcvulGSrQRM0Mfq0ZLjGJx2xCpjzUZgietjF7
uG6ItR7K92KljLlJgaEsgCyUvBdAyVbOrIbV6uFb7Brld2qMCmSbw0qggNdC5lxFZkZLlg3qdlWT
luurETYIFJDAOZOfYWLpdo8UnLcLt/vCJNZapFx+JupynTA4CfZCnAYy0lDeTwc+vUnfiJ6V4mX3
wuuI8ua34lFEG8C7/t1WQ9nSNBWkyxb4gB5EzuTh8SRb9d2MxzWoe8g4heTEgSVhZp790F3dZRHZ
P+I0QeBTu6wNcSJEEzkvTW7LvP+tHXjWdMrq4V/YoHYVzIqCNvbEx7LuZ6MrpjLkj6D0MHtjsk7b
+F9v438Hv4v7P6Gi+c//4J/finKqoyBsqX/8zz56q4um+Gj/h/xr//zfzv+l/9yVv/PH/8fdtSy3
jSzZX2F4c+9EDHTxIh6LvhHmQ2/Ksinb3b1hQCIa71fhRWBifmF+YlazmN0sZ9c/NqdIwc0CaUk2
aq51W4uOlkgXCllVmVmZJ08WxLaLhZX2v8n8Q4z/+PyZVVjML/O48IrmfWmT5oOdl2GxfQhmSr/5
0g9H9naUuya1f3rzkJRxQUdzvCR+8/jRxfqnNwj/7u0oOv7jhzdWhH83z2sLvRG9g39iW3nx0xtF
PpEAKzXRjkSWFOTWoMpre/uJeAJoCqriUTyENBjuRG9G4NIs3J/egCH1REczWKTFEF9GTyANuydP
yt1n+omC6nC4gyrK3WEG5TfdyzPL9MeyjeIyusWFoMh/eiOJrOZHwwpRNGnKHZORZBOl+qzToDgI
uqablQAaJwASMxk3pvNWRgJ2gsqt+EIgVT0BJWUwyaqolCeGA1a/qRSXzqQUpNX9qsjM38SxX52N
hdqPLpXY1GZe3QYXddTm+Locz4sx2nwjuBtMyra4D8qqmWqpu5mUpSFf506ATpMrs5hqpDDBoto4
t02VL4kry9NGdBPtIgMHjPlJSsQ0uPMjebUmnoQz6qlg3FxqievJ1wkoZxfjsPUnojB2ULZTixkc
E8A4Nx4pbkXSAv7XOv44flc5aWTUU8GJxGghI9/qrYH0T5JLuulRsiCAMXMChithjLLwylyRGaBn
0iJxpey60FZCORMDxVN+aQrHd868QKaaPnXEeB75geGi/ci4XrQgMVUmJFXq1UwZt4lw3kpmVt7I
Xpsr8yqv41uT5PWHSNX801UJtjWSa2Pg91a4qoIZZCJWOsIfopCf601SXsZte5pswnSWxemtkBDz
Qs1cAgdWlxFplKPlBj1Q3teZrl4pinDRagXakLvyXK/a9gxMPQDOgtj91MOv75XERHRFVSJ/sjED
E7ot0uR4VkALp1MA7oj02SCCGX0ENazogwtFgEhvhFhVsuA71MY/n0LAEfpbd+YOFMKvVnTvWaw6
wD94VAfKCXBU0AfIegN2gsR3pw5k+URE9RdyIIiKwK1VceQ7dWCcAO4A9BV+FARu0L7pD3UgGSdI
28toeYCSCBiTsfYt6kA1qWv5hyOILBf6EatU7aCdLQjI+sHQIm2EUlBRYk7CSs3PXUXxwtPSrVsl
RjsfY9w6E10TxLUkV4kqgiq1UCtlZsSSvLr0jdjJLs1IFDcSOg3rspOh85ATuTdFpIXqNCbByvjo
mSsjD2eV3nrRb54ZjdNrVcnN5JxEftOcVzXIV0Gt7MkgdNazEMnWVI6kWVopujsHd5CD0LeRhKu5
4YRR1qIEWNXAZ1AroLWdOch0k6u4El3/VFxh0uDcihMzWuZhnJv3qOpLMLhGony+ys0qXtQFePon
ceB4nzelIlezphSF+CLJ1aQ6JeUKTeLlihj1+3oc6WRKyroBR7EUbtBKyPDFAqfDEL3qqk2JH0fv
m4RQLvNV00bk/UqvghztdKESs/gsCOsKeGdJdg21ODWDugRDGED643taOFCfA3mehTfxWBOyuaGV
6Wq+0fTcnWotoUTEpjqGZyKKrvjOyQKCQDSYoiem7BfNxHeQZJkIGDCb4fqrLOrMD43zrE0zcoWs
U/mrj5rt960ax/pU8FFhfFG1YmVM0rgKDLisQfCL7JaJdCqVRIxutKxWWmjmLPEu5dwL9GvVQ8ey
c9dPDXJZJTBr07qNkl/01lXFcgK24rxGi+cWmOpVnAC9lTYGbQBQl/KUNGGonOuJ5Ikz7P4YFIEa
kYx6UoplXc9iVxd/aYx8Bc5rR4r0i7zxRee95qbISAVSlZDLOIl892NjpCv/ptSidjVViJA6KFZp
1EI+LQTVSacSivraG6cs6k+14lVjcF+XQTRRpZUWPaw8qreTSKzyaSgbaNLkqXJM5qlba8G5KUQp
7qxQheodpGqgFRBBqcxkU9elfymhZXVx46/MMl8QU3ScaRQIpq0b4EKc+HETIfkehKkOur5QTy/G
Shps5pHuFRvwn/tJjG0fm7CcqdR65sTU4iJCrl5Nk4WW5npxGbjjUJ76zsYMA3ho8gZZqjA1rhJN
iGcgrxx/SMralcD/L8ny3PGc0JuutHiFtnRivCkvpDEg0vNi4/vOqQs3JM0mdVRtyKStgDj2cWqF
QpjIq8YEbi+LlM1pqufN+KNepa6MPg2up502MDnBWa6EoXwZreoQjOV1LZGf5ZXsNGdJFbSQpwYT
Y+VgyBZO3VXibs5SL07KGbrnoC6uHgsKOkVtImMeNH6tXJikAAxVJpEBnISmZTpY8KMGDA8+/BGQ
uTlZSu6zQK4j9MMJpTK7qVovHlcLwaxBk2caEdAMbiBtCjQoNRpj7po1/PQz0a3K7HaMMxHO6jFR
zHmQJkFyqzumtwEZeCFtcM9rA1drP4N6V9lMg8oPi3sXdOTlJPbUOp0aoZAiwYPXVWeqq5ZwRYQS
i7ApMDXMWfLbyw3El7+TVpEPOrDKUXIkhxBbaq/UREvqKYjlhXzS5kFSLQxHEqpTB3lzYSbVuVfO
6wK/nDpCE0Xo+rSR8/NmbCJJpyRj2S48ZyVOyrQOnTMJKFeAutpmVbkLmOhSnGZRIghToc5LsHkb
4ir+FVVJIjiQ/UCsAFMGfXs1z4w6aeaSlIv3UemaOILeRt5MAkGQ1mLhCuFCL0Hu+i7Q/SaYS4HW
gr8e2A10LyzK0MsabMfCB03hhmzuDTHRyrtNGFfhTE0V03cmoZtW4jkwx9E7tRbBWyz5uny5CovW
nzdkHEdXEUi037e61kAfZOZ5Y0auN/eTFZZYclEC6vriREsFuZnHYl4COiFGcfkO1S95Hv2CZEtK
3Uq1QX9LE0N9yIDtTyf5ylzlU6mWW+xYzXf0mTN2N3dB7SriJMOFBj3sI7dCGFRx5XF+il7E418q
vxTQ+gQesD9VHD1G7xghTcRzqQXB/tStfLBfb6Jx6X1wTaexg3w1RgWK6IPnCO3CDeXBzdJEn3pg
WWkBlNn4ya2qtypI7/PAEIEJcz1RPfVqKUoXJZp0GLeBq6IqNFQdUOqsGqEVpnJTS8ksJlkTnmfj
ps0mGycJvLUbEDd45xK9vtV9aQMK/MiPPqFz0+bXcEw89UpywBR+RQwRYIANpTm+FlJ9c5dkkbY5
hf+gtBeoei3CM6NBdHq6yVtZnm0yWUquctjUJYla9O8FO3mA/vCCoOXIPtfG6jJTUl3FPtRctGDa
yGp9ZiJ6DE55H7m32bgwnQnUgpFOBb1tfnUCGtXHJcGHUklX7YVKamzmzSqFZIMNlmmCGI5RXYiV
ksKkiB46DxXuynPmcjpWlLkepdl1mIuhsoCtR2vRxIDzawmVOiY3rVGv1FuhAWE52PgVBahGJ2pS
81KTQZ8+85uNFp1KbRKVi1I2c+3CE3ID2PIaHSsWWCBCLoUik+qfCxhH20SHOOki9R2vnLauFm2u
I02kzrZQFT7owzVs18xrhWAmiSYQ4x6s0K3uJvl4WtdxPs9Q7KdO1HHikft808rqXA6iMUyhkS5S
N0iLm8SvvXpqrkpFu8Ne34DaYIUKm9mqTMBI0+DW0sCKjMEBJ2RYmkXtKA1agoIurp0YuMbJ5xHa
UJIFmkRGKNiEWmgmGwkJ+vkKl371IstaEw250FZGnlfjpEBm23AS9J8VFV+fuZsmkM5bBBl1+Oux
hD0pyDIaUhgAvl6rQgHlEcZx+vMGoYUVGium48YSmtTfnAmBmsNbU81sfK6Uquucqa7ip59CUxXU
dRkmlX5fNKtcuQrQWSGaa2NplaEoPSPJJFIyo3ImDZqy6Ij4y8oqRpzAn+OYB9DQaoXpIK9X+RM1
3OThXYCV3QRQzlFSItiqirA5+SkmD/ogF81rxjVsaqbnQnkdhFVuB0GzEm6EEPiPc1JIEOSqCV2g
LOUMTq82EcIorpap6wTCjPip235eEXGctui+6wIVShKxRVNao45A8WTgC8o7v6lKJ4CjCWt5VjYl
DK6UZYY50RLVS7QPElEzoHtkOZTnG8Qb1U+KuNFQu+A4ofrRAeU/GhVlOlmviEJysKuhFwVowDxR
uHckR/k5gin3T8skkCWg/lJXnMAHIPpV3hq5e55VRri6DeqqIjdNDtZCZ7JSlObz2Ajq/OdIVYvo
tHGbVL5sWwGqRPfqDQzdqsxOa5WaIpJuNvVd47WuP92UaZ4tGw9dOX5zHaXO5krWluXFP1uQZi+e
cxCl2YWTHmM423jFXfJ9X9q/mx0O9LKwD609YC5524G2EaenBggRDCrKNQJDknKC0DY8dwSQtj9I
FIQJeg3tPhak8QkA0EDOU4A+nrQnmsM5Hwa5vu87T019Fw2jIS/Aage+vCCZJ6iglRVcXI+9vaKe
UAJvQD12T3pFL69inYYt/PgEwFRUENM+hPSHXXhIhkbtADnH7nj8+HUtP+CJQ0VwApuPQAKz4xEK
RcMmDR4ZQo70ZxdGeUVLD+KdoS+OcC99M5x8c/fDiECQsO/xORJ8r+7QqwhFDdr3KrY9cNJY48dX
x9HeU3jQh6heQ42ihlTHK9vwQ9WdeUKjKlDlIFTa/mAf7b06Nv4Y9B241z5+vFMxr2jnQ1EPXH3j
RDewscEF8fiOON17IpCg9FCEC1jCqxXBox3eZbxoWPebLT5CuOALBLabVXyCdKIZBkK3aA2y+3l1
60+hKYMOP6LQiE/TPP7j4Uf4em/5IQJxuz3MV2fvoa8HvruETB68PBlFnb2XxgeUtY5m8jpr8Lo0
n0Tp1wYtvKSdUEdGQVriy97eX3joPlg8uBTYEK/s3Wnd6LB31090tIdB6SSz7nB9kdZFSX738+qO
O1JIA1/dPKG6DC/fmTRWBPoJ3e80h/0og1e3+siYDRQBfDkVVc+oGmetPXXyVPgDoL3vPKGXb/0X
+ARf7slT1wvX2xuyZ+d7WIhnv9Ddjw8HeLwfbnEPQAN8SSVuv0mBEruxd1dF+vvfGdzE9hK79yGF
i+z9ynw3P/jy47vvP2v/T8ybHn2F7o/nnk0s8uAitExhIo8vtcNrvP3Nca3YywuLQXnQDO3X0SBf
tMSTI7c2ubc8nx0Y52LwwCSyYzalDK09dNSJFTuhtbZztxtru+ocBLForDiyCDMsjwm7ZX/RoFUG
i4GUse1141ARUCjW0FGnAAEka3bN6K166LhL4o2urTiwuqHohFX47kMHxqGL2UE5bNxzhLtGV/Q/
y7cfujnSGQPB2P16FH31ovN2Ea+T2M5ZIaM6jMvI/VE5HItLK2VVA9K1w+d61RCnafvqDNiS4UPf
UDQa1o/YzM6QFA4iXlI027GxOWyMK6u1AvdQJBzO9bWV5J1gtxuZxi+Hnr2F9WAlB0dkzEHKC5y9
JOzt5TEHES+scO1VNisLSsU6XBah1fTPNI0YDR34xk6tsBtmu3Q6h6W7tYj1YIejizy04jUrDoPL
+MGBqwKm0u49vl953sJ39FIANNg1BKp0+NhL1J5ZKdRGNxQVN0Ke3a/fP+s71/KooLuRtgPLHHbH
neWjzLevMnCj7540YM6Wh+rNbpztjHl4GHcl8GBwCw/mzEMjfWzv7SPiUDlI+pNnF7EVMfLgoere
5QVJqtFFUZIy3R9dAlSaw7wfx78qY0CcPMa5pbwnHPyDZUqsImyO6RIgwHn4NQtvvQ7t0RzI9H0J
oer5ydGh1l7kkD2KaOl6QdLz1HERBqYVQcahahyGx2qs0RVAZeFf8oD+/xlprDXjoSDoBkA7buVD
n3bnRQkRroHXZ3SZTqkkafpq6PhLG658UHZL/reZZyXAKVje6H0Zr62kewLVGqA712Uashr60FkS
rJPR30Z3VoDLnxcxokOIHnxYHBbqyio94gXddOkbSGCnRXk/B/fj1hJCT3hwPUvI8/LIMzis/RL3
4yMjc1Al11ZauD1nZCeaZ83NsXjIF+jA9CvxoC4s8u2fP+613eKhQgVZjMEhof1XoFYVEaX9P81p
FKaLZx2deffHJ2MxpLxn9jUHt+YtZuaU1gj+x2hikfuSVToc7nJvY6f0wpCdOAe3ic7WWvduLs/u
tV0i7Ckp37k2JOFakQUTsVNLW/+GgyimVhNZcacY90fn4YRMe7sDRRMc1GqEMrAHZvF4uAVApW/H
jUcf7LS8D72Hbq5U1jzuXGfEjnsW1ORwXs5KRBfDpEwZ20khFkMt2LkFFdENs1NOHOziJfZxb/0k
2o586GwXFqEFglnJyAFkbxyGTlDUZxP4jd1YW2lQcMnQWd+itrJIRh+8B8YLQaOX4WMvLRQjjq68
osi32vTGrjxWg/Dw2HdPuS4f2PgHWnAMf4M7ghVdW+vt9O+Se8thpUSpF4auAL3h7eQzxb5M8mPK
EO1Thj9oJ6hPXvyAKW/fqIBi32mFgwCBykF6E4Lzm7ujTx5xvKNKXuZxOj4un3wCh408SWLL68U5
aIXv0KUHhxWNCXYDbY0qD9d/abFeEdCZ3TO+P8CBcE8xmpcIRBReyR5jmmYeKovd7oQLU7i//1do
R003JJXKmGZxBz+BvsDCwhNsJk5DATsc3P3dC+yswOivp8TCOfuXbtb0JWiVJQer+Pt/4G6/tkeh
NbqxKivPbVzydv9nPeqO0V9nXp6WhQ3Fhaj+6OPyrXD+9uLugpkPoGoamimbqEVFUbi5I+d4WsjH
PPgn/HoWzjzoXiIDXiMNvpS8vjz11Or7ZDzCJ1DqdtyPoFKGtKeX9/mrwMLe9DwFQH2HD7s7O7fI
5xN7a5kW1I8CvqgbeqsaeZyej7FHj8USWqwXEqeV2EPFM8UAxApHbyOb9HxMGdGqp0wGNOqLom9T
i3j39zYbaga4bXdr//ob7Mb/cQeYEvi/LKqA+3cMOR7gRtjDmzxABs9853UAUfo7AfDh/k57fOUX
bgFEKAB7KXobjOKxB47bS8iBdnTgiPOSJOy9UBJBVTRsmrt89bEjtrURvSPwjaKFf4MD3LtK4OgO
FMQuD35kzmh4c3hV/rY5v6MngZ2xhkYyqoFekmM0hUJLGc08cHC+7Rm3wEk7Sf8pKpq/g9YLhPTA
vpoyCn36K1v+QbbzUgWHPWP1NiLYKgzaFRNcFTKaBaERyYHD+W2vs7DzBE0lrYgVm466BrRXQmdM
uEQU8knZYb9qE176QgvLcYl9341ETRkaHaEuCEujY2WAn3w6H/vSB30xDaMbG1c7cpCrBljVRP9X
cIzI8EVBJEI7yD3zfj/OYuzyVV0YeOs9PgaSWUvAaPkDi7A///+3ODSiowTBjk6YdIkpO+VXRftC
RT9tUsJetXikbM6Am4EDRDw2f8oj4nOBW0/32lshUBq2oVK4yIlls5gOHsLFXLNuctu5yk8d9heu
2GVC1j0RUL7doSK4KmvEQrtxtrNVOAx7bd9bMetkwxx1j/n+UME7xPS7UbaTpcRmQ2XwHiaIdMNs
Rz00auUf5uaFC7a0yrU3ekusPpnToYn5jsFBoGftT1nmAQV8vMLQOY/mkYeocO8mwyOa/RnJcCR9
YiazC/PYvc33b45fbOBZumHoOqLBV/fr9496lsDajc7tLWHhaFnerwGZgefNHBrU7fFQoHdlfH8s
Sou0N5rj8MipvL0vR4syZ/bO4+gHd4dv35b/9mG+nH/4NJ/9+4gus03i0bK/U+EKgaUM7cFACq2B
avhp32572PYt7Rz+GE3v/oOCQ9u79T+Hp2CHXmt3+327/TnoxmmCsCxN4jA7hgcCdB6OllZYIa3M
6F4e0W8kDgs7AtBnXxqHd9hv39/Ao6/pJWJ/XJye7tfvVzI3EDCxAA7ohtqaoSfDOi80Q7cIA7II
HQRku6d8bcI/7sBtYw1Dz9sTXvyPKho6GlhB7dcrXoltPOVPuBQhXFPWeXp2FZ4PX79FLQnS6N1y
0uPLIc/5lgaN2LnSDrQ2tYHN1w7v85Od2CG4rVgIrcRh2CSHYLdR9nObtLaTVL2aIB5ZbUze6t1d
D4OJ367aJ2XoIADOrKDCwSmd2bSUjXF2eXilFwRiYHHslHNn6M6Y50U/FkcJXIcOO23tB2Atu4Ho
6eCR2T31DlJROofgyKlFEvuYG/5k0O6F9niXvt2XhMHhRJ959wgu966xPMo8zoDiiXO72Z/w8/7D
8yrozCa4yrPD8pAD0pMPjBNM+SIGb1+SAJrAbF+0nhk+7nmJOhfCCAGMgsPHvUBFUU85oI83h3EL
K2RnywMKdWmT3gYD++/wyV7i1r6wGjYisG3SPHQ7XFtF1dsNPEpzr73CLfuuCTj6h4tiCV5GK+hP
mYOMrz3odYBecNXvxagpF85gOZcbG1XQJXG6sba3Ih743UUSriETZtzxs9ei59Ua6iUtFu8oUa71
oZJA0UrBTpYHMPgruRxJ5+API5VaW6yu4GGa0aCir9h4RMVuUahcOr2KCh6olg8JrBx78MBfNXxD
0BPdp3RAUp3DwFutCXAqix3kcetYpr1EFlKFHCZcWbjQkXU3ElURssxDxLW9Zo2HzCOPs6y9Ajwf
/W0MpsvuDb7/XvcxoLlCxv1BYpvDuDto0xXKctcJe208RJyU35wp+QTn6gH7bopLbTfZ7TI+mUR+
ob8NjQwDZTuE3dA8bjVLm/RzOzoHaaMU3B4lv8F5YZIZ0hiN5DvxfP8e2WFcwBhgg/yC1Uxgr+Th
z12hhVPFSNsEVeu2P+3TdvDHRR0pcOrPGOlyABZk/AYOVyzUmMEIdxuRnlMON5ZJUqANFksgQxs3
Pr1hnvfHJjCSzCniUZA/QYV4vPa62VER8KiZn7oWY8V4aO6u4ovqE1qTMaV8HvsTVzmYnZkdJQ9I
FnsPXyrMvv48DjsQ3Eg2SVh0wZMAsReaimmCYm22yJFHFckX6O5vFK95vAqPR/p7aqX26JNN1owD
QPkZh56ime/hGsZWzNFWwkPHnTtNWnTD0GPEo1piniH7l0DvhaOzEt4Qo6o0DjpljuKjHqMRD7M/
L1wvSVl1rXM4nbTG9uygpRhlpx+6fGfWPXsIKX3p4EFBrscs2SFAtvxmD/NwI2xJW4fOdfr7/xSo
mPnLRYVWH8ypk3gYrys7bhhRHEFNf7ssrr37vleAztbDFw4kF0nhMsYFXh+Hcb37nhR4VBAuUK/s
WDmy7t0Mqf6ReJgRBB2TguX7AG9595jv99wpc0nNeB3oAsBl2N6gHE7xAob0oR8I46B7F1YJ7dsP
qUg8jNEiaamW7FdZ88iq3XhwxLuV2u4zHop9OyprL7a0vEO12k5ZChO00LJKZtaH9QTfrn4+wM3v
8V7w4HJc2s2Da4dhD7DII0vzWGGx9d72xSHzSNWAwMfuBR63xMJDF3FJK96s0bUNhktm0hIHTbRE
VLNfycIDj70EIwp7W+NhRu8S9sqzbVUwWL6//2cyukui3/9ri3e4Jb//d/zgsRVJssJB1oCEer2i
FVnhcIm6s+K2r0dlHhDtj87BAeeRHcOlOwCaZHRq5YyPIfPINIHZ2euH8rhgHL/a23sggudrPYKH
DutF99Z9zWoMHhD7nQ49PN88Uk1v7xuWfxm9FAzw15oqSscAM0aq/lnP48eFHtHv5KDUbWgocv9t
qL/5FFj6H4ej/lOSwVOAXt8W8sjDIUz/WxIGjyikfQuOlooyeNRMTUNU3dg2B+k+/trdYn8/zP+h
+PldEerQ/Yw47x/2mm0Y8KPwvMShM2IjFU9yYL4wBjkB23IPXMIj6zMhVusxlW60X9MfQv3pDVPr
+MLJ0spJxlbwuO9PkzDBPYwJfPDgd50/gE6MrTXgQTBxCu6zB5eGGntxKx6m7dQKA5opPgZG1J81
as+nR9DUtDdrUGwO3xdLXNJRdcBsDYkHeJKyZaNIoummuL1L02ZZQ3fyrU3KbpTdoByCIB9J2Z+s
zOOEfMKdsQWJCXNEUHvdvcDrMwPHWAP+hEZhx82CmjcrSpjF4QG+nAAx22cM5QFzoeo2OcqhxqMF
xCQpK7s44sbwqDKeJpTV7q9XNkrfYudfjmlJHrHiLWSC1jKCgotq+WPP4QEenCZJ5/Dl3VmmyogH
gvDSIqBIPLIOPG53p57v7U+YR2OEU6CvaAFyx6i0RcR4D+SwYwsohQfr/0crDnhhc9ARhkcV3gRU
2eSI9A0OEaLHuW+v2HSXUn/hC5EPbfbDtpXgYS5RYMnAwHjUy5/bQPE9imj7DouHGdC0Yfc35kiA
7Gf4op8n9Z5z1Y23Nf886EM7kkq0GYLWGG3JdEZ3CMt6SE+zLgwPeOVl4gKHDU3+tkhCxtWXeDS4
oOA/YFmB8LB/Y0TF4yJxBab3ewBI2IE5nI2pS1CtD3rpI2dP4lHedWuFUYNA+6HQebC+7dJdPVJM
SeOg8G7sejS1wiMgQB7IyBuvx1XMAyDxyYqB7GDddB70ozfIKbKj8rAoVMC/2kjZskV6Eg+Nf+sV
D6CNPeq0gcSqO0Vfuwc8fy+8tVLw1NNXOIKc4NN/IeznFjkodPhnOfoiHO+mxKP+f8cmeW6H4Dv/
19HbHHzHuQeVS00uGJ1pK53R2hpNy9hl/H9wiw1flLskwJ2P2akyDxf9DphAdrY8+rPdlQDm9ybL
YWd+xvLCj6UCPy0L9NLp5ErNNujVul+/f+9/hqt2xFqgAfvwsQ8uhjIP1hh05UGtzeOcGTcJJSE8
oD1T2umLsrl3GqeTxPZ2AsI3XQf7G1pUgwtDHT9f5/Pj4tHH+P7+fIGIMzsBLzpzNHj0kvtQ5v1M
NI8eRne//y9Su429v6lAytz9+rWT/OM20TEyx6GbaP9t6Bv/+JTdMSbJP99bHiOufGVvub815o/Z
O7ZZN/3GQ4j789//DwAA//8=</cx:binary>
              </cx:geoCache>
            </cx:geography>
          </cx:layoutPr>
        </cx:series>
      </cx:plotAreaRegion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D$3:$D$18</cx:f>
        <cx:lvl ptCount="16" formatCode="General">
          <cx:pt idx="0">2014</cx:pt>
          <cx:pt idx="2">1</cx:pt>
          <cx:pt idx="4">1</cx:pt>
          <cx:pt idx="5">1</cx:pt>
          <cx:pt idx="9">1</cx:pt>
          <cx:pt idx="11">1</cx:pt>
          <cx:pt idx="12">1</cx:pt>
          <cx:pt idx="13">1</cx:pt>
          <cx:pt idx="14">1</cx:pt>
        </cx:lvl>
      </cx:numDim>
    </cx:data>
  </cx:chartData>
  <cx:chart>
    <cx:title pos="t" align="ctr" overlay="0">
      <cx:tx>
        <cx:txData>
          <cx:v>2014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4</a:t>
          </a:r>
        </a:p>
      </cx:txPr>
    </cx:title>
    <cx:plotArea>
      <cx:plotAreaRegion>
        <cx:plotSurface>
          <cx:spPr>
            <a:effectLst>
              <a:outerShdw blurRad="50800" dist="50800" dir="5400000" algn="ctr" rotWithShape="0">
                <a:schemeClr val="accent1"/>
              </a:outerShdw>
            </a:effectLst>
          </cx:spPr>
        </cx:plotSurface>
        <cx:series layoutId="regionMap" uniqueId="{550A0B04-480E-4EC6-B289-38B4DADE9090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E$3:$E$18</cx:f>
        <cx:lvl ptCount="16" formatCode="General">
          <cx:pt idx="0">2015</cx:pt>
          <cx:pt idx="2">1</cx:pt>
          <cx:pt idx="4">1</cx:pt>
          <cx:pt idx="5">1</cx:pt>
          <cx:pt idx="6">1</cx:pt>
          <cx:pt idx="7">1</cx:pt>
          <cx:pt idx="9">1</cx:pt>
          <cx:pt idx="11">1</cx:pt>
          <cx:pt idx="12">1</cx:pt>
          <cx:pt idx="13">1</cx:pt>
        </cx:lvl>
      </cx:numDim>
    </cx:data>
  </cx:chartData>
  <cx:chart>
    <cx:title pos="t" align="ctr" overlay="0">
      <cx:tx>
        <cx:txData>
          <cx:v>2015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5</a:t>
          </a:r>
        </a:p>
      </cx:txPr>
    </cx:title>
    <cx:plotArea>
      <cx:plotAreaRegion>
        <cx:series layoutId="regionMap" uniqueId="{573ED133-927D-423A-B402-77628BCB8FB5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F$3:$F$18</cx:f>
        <cx:lvl ptCount="16" formatCode="General">
          <cx:pt idx="0">2016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1">1</cx:pt>
          <cx:pt idx="12">1</cx:pt>
          <cx:pt idx="13">1</cx:pt>
          <cx:pt idx="14">1</cx:pt>
        </cx:lvl>
      </cx:numDim>
    </cx:data>
  </cx:chartData>
  <cx:chart>
    <cx:title pos="t" align="ctr" overlay="0">
      <cx:tx>
        <cx:txData>
          <cx:v>2016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6</a:t>
          </a:r>
        </a:p>
      </cx:txPr>
    </cx:title>
    <cx:plotArea>
      <cx:plotAreaRegion>
        <cx:series layoutId="regionMap" uniqueId="{6C38AE10-6F17-448D-99F1-CBCECA406533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6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G$3:$G$18</cx:f>
        <cx:lvl ptCount="16" formatCode="General">
          <cx:pt idx="0">2017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1">1</cx:pt>
          <cx:pt idx="12">1</cx:pt>
          <cx:pt idx="13">1</cx:pt>
          <cx:pt idx="14">1</cx:pt>
        </cx:lvl>
      </cx:numDim>
    </cx:data>
  </cx:chartData>
  <cx:chart>
    <cx:title pos="t" align="ctr" overlay="0">
      <cx:tx>
        <cx:txData>
          <cx:v>2017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7</a:t>
          </a:r>
        </a:p>
      </cx:txPr>
    </cx:title>
    <cx:plotArea>
      <cx:plotAreaRegion>
        <cx:series layoutId="regionMap" uniqueId="{6A8BF1B6-9FFA-426C-A856-EAB0E9C3F281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7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H$3:$H$18</cx:f>
        <cx:lvl ptCount="16" formatCode="General">
          <cx:pt idx="0">2018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1">1</cx:pt>
          <cx:pt idx="12">1</cx:pt>
          <cx:pt idx="14">1</cx:pt>
        </cx:lvl>
      </cx:numDim>
    </cx:data>
  </cx:chartData>
  <cx:chart>
    <cx:title pos="t" align="ctr" overlay="0">
      <cx:tx>
        <cx:txData>
          <cx:v>2018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8</a:t>
          </a:r>
        </a:p>
      </cx:txPr>
    </cx:title>
    <cx:plotArea>
      <cx:plotAreaRegion>
        <cx:series layoutId="regionMap" uniqueId="{0F1B6B43-B51C-43CA-B004-69A44C7B2E8A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8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I$3:$I$18</cx:f>
        <cx:lvl ptCount="16" formatCode="General">
          <cx:pt idx="0">2019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1">1</cx:pt>
          <cx:pt idx="12">1</cx:pt>
          <cx:pt idx="13">1</cx:pt>
          <cx:pt idx="14">1</cx:pt>
        </cx:lvl>
      </cx:numDim>
    </cx:data>
  </cx:chartData>
  <cx:chart>
    <cx:title pos="t" align="ctr" overlay="0">
      <cx:tx>
        <cx:txData>
          <cx:v>2019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19</a:t>
          </a:r>
        </a:p>
      </cx:txPr>
    </cx:title>
    <cx:plotArea>
      <cx:plotAreaRegion>
        <cx:series layoutId="regionMap" uniqueId="{694F3F5A-07CF-434A-AAB7-72627C71E1C5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hartEx9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ime lapse'!$A$3:$A$18</cx:f>
        <cx:lvl ptCount="16">
          <cx:pt idx="0">Country</cx:pt>
          <cx:pt idx="1">Benin</cx:pt>
          <cx:pt idx="2">Burkina Faso</cx:pt>
          <cx:pt idx="3">Cameroon</cx:pt>
          <cx:pt idx="4">Chad</cx:pt>
          <cx:pt idx="5">Gambia</cx:pt>
          <cx:pt idx="6">Ghana</cx:pt>
          <cx:pt idx="7">Guinea</cx:pt>
          <cx:pt idx="8">Guinea Bissau</cx:pt>
          <cx:pt idx="9">Mali</cx:pt>
          <cx:pt idx="10">Mozambique</cx:pt>
          <cx:pt idx="11">Niger</cx:pt>
          <cx:pt idx="12">Nigeria</cx:pt>
          <cx:pt idx="13">Senegal</cx:pt>
          <cx:pt idx="14">Togo</cx:pt>
          <cx:pt idx="15">Uganda</cx:pt>
        </cx:lvl>
      </cx:strDim>
      <cx:numDim type="colorVal">
        <cx:f>'Time lapse'!$J$3:$J$18</cx:f>
        <cx:lvl ptCount="16" formatCode="General">
          <cx:pt idx="0">2020</cx:pt>
          <cx:pt idx="1">1</cx:pt>
          <cx:pt idx="2">1</cx:pt>
          <cx:pt idx="3">1</cx:pt>
          <cx:pt idx="4">1</cx:pt>
          <cx:pt idx="5">1</cx:pt>
          <cx:pt idx="6">1</cx:pt>
          <cx:pt idx="7">1</cx:pt>
          <cx:pt idx="8">1</cx:pt>
          <cx:pt idx="9">1</cx:pt>
          <cx:pt idx="11">1</cx:pt>
          <cx:pt idx="12">1</cx:pt>
          <cx:pt idx="13">1</cx:pt>
          <cx:pt idx="14">1</cx:pt>
        </cx:lvl>
      </cx:numDim>
    </cx:data>
  </cx:chartData>
  <cx:chart>
    <cx:title pos="t" align="ctr" overlay="0">
      <cx:tx>
        <cx:txData>
          <cx:v>2020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>
              <a:solidFill>
                <a:schemeClr val="bg1"/>
              </a:solidFill>
            </a:defRPr>
          </a:pPr>
          <a:r>
            <a:rPr lang="en-US" sz="1400" b="0" i="0" u="none" strike="noStrike" baseline="0">
              <a:solidFill>
                <a:schemeClr val="bg1"/>
              </a:solidFill>
              <a:latin typeface="Calibri" panose="020F0502020204030204"/>
            </a:rPr>
            <a:t>2020</a:t>
          </a:r>
        </a:p>
      </cx:txPr>
    </cx:title>
    <cx:plotArea>
      <cx:plotAreaRegion>
        <cx:series layoutId="regionMap" uniqueId="{5FA5305C-A885-4407-AA89-8034C7D81272}">
          <cx:dataId val="0"/>
          <cx:layoutPr>
            <cx:geography cultureLanguage="en-US" cultureRegion="CH" attribution="Powered by Bing">
              <cx:geoCache provider="{E9337A44-BEBE-4D9F-B70C-5C5E7DAFC167}">
                <cx:binary>7HzZc9tI8ua/0tHPCzWqAFQVJqZ/D1U4eFO3ZL0gKInGfRfOv36Tlu2hYFqc2fFGd8SuXzqGEJhV
X2Z+eXL++dL/4yXZ76rf+jTJ6n+89H/+HkhZ/OOPP+qXYJ/u6os0fKnyOv8sL17y9I/88+fwZf/H
a7Xrwsz/A6tI/+Ml2FVy3//+P/+Eb/P3+Sp/2ckwz66afTVc7+smkfUHz04++u0lbzJ5eN2Hb/rz
d7FL91WeZ7//ts9kKIfbodj/+fu7P/r9tz+mX/WD2N8SOJlsXuFd/YIgbBgYEfPtH/v9tyTP/K+P
kXaBDM1gKqHfZG7gDP/eSb6cY/f6Wu3r+rev/z1+8925jx+EdS7eLi7ywyHF+sut/ngP7P/8c/IB
3HPyyRH2U1DOPfoB+rcDfUPhZ8j/3zsA32fhL1S8eWFgU9OpjtW3f+Sd4vEFNpiuqyb9+hh9u/mb
/s+e5rTyv7420fzXT6dq54u/Xu28qeIw2/3m7Or8GwI/0/178/zI6xC+UKmhqZQZ71BX0AVhTNVU
k/wE9n/zOD9B/93bUyW8e/iDLpy/Xhci2L3+Qh0YQH2ajjSG3rAGCz9mPvNCRQZBVPvqARMHOHeY
0xp4e2uC/NuHU8Rvrb8ecTfYZbtfBzm7ANNWMdO0r8FGfwc5WL/K4DkxIQi9Bbg3sjl7jNNgf31t
gvbXT6dwu7O/Ady79Dn8hXhD9NbBegnGX+nkvYkryLjQTVWFIAA0dAz4bbD/zT17mNOoH787gf74
0Q/4/w1ivNuE2f5X4q9eUMAeYwbZ0xG3KAgeqAzyKmp89YT3+J8/yGnsv703wf3bxz9gvvkb2PwX
zH/jYV3vmm8o/JIIe6B1SHDU7wi/04B+AZavYmRMTP8NK+X8eT7SwPfXTyri+9Mf9PHw1+tjvUvC
X6gGcnGIn5qB/hVFj9UAaSaoAesqRIJjAjp3itPgv701wfztwynU69XfAOp8PHBs2ey/Xf6/t3sF
mReairGGqX4qrdHA7pGum1SbxNj1v3WYn+B+9O4U/aNHP+jg6a/XwSb099Wvgx/RC6oZBKvAKkd2
DjrBGtMh+fn6DwLxsbmfPcVp3L++NoH866dTtDf23wTtX5nhmBeHzAYQ/0ovE9zpxYH8KWLfHk9o
5gtUH5/nA+QPL57C/vD5D+i7fz36N/ts7++Sb6b335MN0iG/NFSi6u+bB8rhAbQXCNSx36Pvsb3/
Gyc5jfv3Fye4f/98ivvN3yDFuc39X9g7YBf0S5EEzZm3f9o7qoEaCoHJE/VbX2dCNecOcxr3t7cm
oL99OEX89m9g6Xf+LnsFL3yzuV9g6BeGpmmHVPGI1DVIXhAhhmkY3xVxbOTnD3Ea62/vTdD+9vEU
77u/Ad7/dtL8nzWnoU32/5P4yQzhi81MxwvTMHRcaP8yH/h/rpnw817+996utZM7+8so5mie8PHT
bwqcvPoRV72pcP765++IQNr+fcBz+Ip3eeSPSfz3l/a7WsK4R71gmgk1F0GMmURnkBB1+8MTTQU2
OxRjCHqeuoYIPMnySgZ//n5oV0AdzaCS1oiBNf1QO9R58+UZJheMMAQjMJgmMCgtjO8TsMs8Gfw8
+w7H1//9W9akl3mYyfrP3yFvKN7+6nBQg0AzlmIoULDONMRMSuH5y+4ahmzwx+h/ocyIDaNTFG54
4ywpYl7XyJV5IiKpvzXw3prwJ0TBfT4UBXc6FoUxVoxBAVHRgBJOSFNz1o/LI/hPCEGHA08vpKnQ
RcbQ79dVBtH4WIoXNFkuC6rwIhpuSCJfGxIIjZiC4v5KGbq5Hik3pJGfWtVcJnlqKfkQckWPN7Ei
ZzhETtFo68FrIdp9t4sTBzt1e001wJ4ophgKwsm5alIooecpnCVylUi8jUn3Fmh+CjDCJ+/+XYah
vpdRN3GAxhBkSEsVo5VYkSNntWO6ueM72uV/dSFjArTOMmkkpqnwNGxzXpfVOvfo48cy0OHEP2qT
QcJLVQTKnKCWD0HVmxJu1GMiKrMRfkC5kizqLuB6lFm5zhyJ3UR5/VjwaW19l4snSJp+MgwNArlY
U+7MzrxMSXrGUiGX+ehqeIIfTEIUNAwggsa1yLLKjut0VvT0bS70c6M4J+dgNEceXuGm7mUOcuL7
wc6suuRhbGeFHeVWKzrLF5WLIksPt17NPwYRHTz6B+0hQ6cEiI8aBiTOx6JjVjZRmTDQnkMq3ls1
r0XqczTzLLRpDS5THs+RqESrcxrxpnirqP/Dux8d4KDmo7sbXZXHagAH6K6yFXH7VbH1rJazrXrZ
OXQhRbiNzjnhuUsf9HEkU7aVVPIMZNZ2bw0bbxGI2g1usm0qJO9FRHh1Hdh+xmuVR+IM4ift9ujC
B7o/Et6huoiDGISrrrSae12QfR3zyFEEcus5Du3Y8c6BfE7mJIQk2Wj4sQmM2wnk+MvULoUiQrey
Tbd0CtffnrvlF9f4yK4mkaQco7SOQ7hlME/vk5YXxRbb8VUqqGhnse1ZoWhtVApV2n4rNLsSikWt
M1CfpCbNNDDTCTgrnlCTVPDgsZCAcQ/oASHFabJ2Puq0E7k2OrSiuUh186FnptUb5G0Y81PLPom5
ATEOa4eaX52QR5yBkuNCAwT8dJb5paC9d8aWzomY8kZgeGUUgAiU5g5GM61Bs48hPBWqdQ1jqJ4N
E6tk4imajGA7qB0VPno7KjFHckXYFWtmo+efoaLDV00tBpZqoG9CYAINmdh7v2gRlm2TgSiD9VYk
b2QbCtKfiYjowGcfSDEnUSNVRp+aCUjR3cTj2B5npkg+UxdbwSJ1FOucI6CDmj8SODED06yUyItB
oLR6i9xHVir8FXU1e3g+y2sHiD6SNbGHIavbWglBVtEIMti1Tbl6Xz5hO3KY1TkN5kUosvu85YNV
idA5d9kzKjSnwUQN+sGsQD7S9mOhCJrdNJBHfmySp4RAg5MQrFOKYRnnvZ0UOUOByiSQt3IZ+p9L
uZD+OVs85VjHMibsxcJsZNRsFF4WseWRO2NkZ25xyrGOJUysnUpvlJSAhKryhREvPeS2aWlRas5V
w/0YsZO3QZTpUKYQzdQmiJGCVkEka7D5dNORu5aaZy5zqkKBCum7gAlcQaS1ipaASpRCvcuZDIAn
iuWYtLbaBXcfX+ZkxnIsbIJci5kX+wUII3fFKgp5k3C/5qp9CCq+62U8uE/pLJ8zJ1trl/7Dx+LP
YKlP+GP0m4DlGmBZlFcZinkW/JcCJnxBxhAb8iAgQjXH5h0JizPaOncF/N6BvKFEbGhAQozTA6H7
fn5GwkmWPdKRPiGCnBS46g0QkczDGSSUT8HWW9GnfKXZhasZAn36WCsHA5sS37G8w5WPcqqSBnma
miDPDBhn6eC2pmeNveRtrQpPkRwD930sEp3kIWgPUKZhFUPd+F4mKge1CBnIbB22IKK4GZ8Lydlt
ZY92amWdnQhlRd5a8T9NKvBBOT/c9EjqJHuMkczIUILUaD7YkLYKQ3LT0ZZ+z/PCyZQlhiTd6e3S
wUs14LGlsis/4GZkp/IMAidzPHJ0lgmvGKRuGvNgSIeskt03+yDjbAHJZQl4W8SK54poBXagtPVX
7ZqEjn8+vp6KeYdQAP0RU4eV3ImpZbqPK3OsgA4K4c8a17PMSqCUk1tt5CqA4dujQCKxzTmJ+Vjw
PJvJTnxsDKdt4V+HmNhfrBuVH/dwiEjxeNW/dhoR1I/OAH5OysTioGsRsBQdpPQlV7zCamuPe+SM
L52kB8yQAUtn1FT1CQHFoVrrQwtSFMgTGHlW6zMMd/oa/xJwMPEjZ/UU349UBGaDmpL3qjNCvTnq
b3uvP3WUg+396Cf/EjIxC6XRxryMQQirXiLtTu+3kImsomFdZuYZUecAmyjfUKHTkR5ENXk/75uG
0+Zcon8OsonmFb3uws4AnXTdXZQ/NvTOT4wz1nWyLUeOFD+hlg4VndpHcA8l4+mGiDzmcWy3M8m/
pMd291DeYCexzyfJ5xCcEEmka7qsDyZHJRIh83nenOHNUwCa0KuFVi7GsNk/kZAYKCEDhbsVucFL
hXCdDTyvszOmgE7d5FjOJBMq2z4c/EMg6oQqsAAWePasWBAe3xKnchNX/y8vNsmG/KZJ9MgDgaQa
+JhqDtMSHijyDMGdjHZHF5t229oEKar0Ievyd41oLfXeSBxsh5BztWIo1+WtL+KzjZpTTnwsdEJF
DVJk7R+Yosb5htHcpiRxy1q1g6C04Kcl9scsfkZ5X2LvETFFRVh5HQZxYSx5N2ykmZ2D8VRHwkQw
Nz20BGDXceLILOiNjmUHCp97bub0M+SWc+n6VnPGm0/e5UjQxJmTPMiTvAJBra86uo55rp0LRye0
YzLo3+vQPUTQXJn6VBCEnjHkHs/9x5akXMU3lUx4mZo8lJ8/Vs0J/30na+JXBmn0DGcHWekDznZ6
cUu9s8o5YDKJGe+ETHwJGty4V0oQIq3Rye3R0SG/SrY9j0UCJsh9Edm+9X/A7UdSYR3qfTgkid+1
bQBSKY25ZCNPISy2XfufG8Q7MRNfQmM5GloBYnp8SePHAvq5H6voY/Rg3+79PXzse6lGQUDYU2Em
iU0VwyasErGP3Y9FfWwNmjoJ7mzoRwkrAZBqVVdqqPGBzTp8Lr09VWiaDH7tA6M/aEep2kQKzC3S
ssgyj7N1Z4+W6SRW2tlZ6/guWlS73CpEp3KYDAyz5El52638af5yoqJ5J/zg30dchHzFQJUJwnvt
PvVvkAFpBdp6mpvV6ybpzujuJKAEftWmYRiC4mnO1/p6QfIg9biJkchZwtvgUWnmH2sNnbSQIykT
C2mNOC/SBKRkq0DaWmDJS8gxPOvQ6Sc5R6MY76tFeXO+SvgSnn5wbWpgSpFBEf1SsB7B6TNPj0wU
eRwhngSW55Z2EfKiWiMrtlNXc0NyrUHzv/PtZNdD/Rae7UbDsunBYo5PoZsMVr8w1RCUi8aXXxgc
K9UIo2hsaeeDewR+tusJU0zuayXrbpK89oBDNaqYpj2wEmkFl0EXZE5Uxr7nmi3VqaiSADoeRZsV
RBhePWAb66k/8iiOi0SkSHq1W2FDQ0JrmkwuEoWS8RY2vr1HJc1rqIOHIkhvFXAezZZDqKt2juou
63lJoxpXNgoaj5SzAMbkoc4LVrSVZrXEiPAOBuMNWqjaKI1rcxzSkVllV6Vtwg1UDPmLpwe4hjRE
qd2adF1na6OfxbxKIsW87AsadgU3w6AInHYkWiwKLCm1aZ1i0IrMoEiH3GlYKF5mam4HPxOYK0jL
fNH1/dWooMdSga6mmRtb+AFT6w7IMx0lS9jKzDoi2jR+bQMi7SaNVScvm8FRJLSou5HUAvXto0xo
yf1KeTAr00JlXvIM431stPNizO4ShF0oMOdQFF1WYb0NjCrmRtQ9UUatsCJuzIY7rcqXQxNYaR65
nkevVMUUsRYvCwOvMjDkQX+ozLuwjaD8RKs0lsJXWosOkpPY3DVFzjMlc3EaO93Q8zpwa+Mmjp5J
qVyhRsIw/D6giTUYyOpIW3IjbK2sb3segub42CjLCt9mBV6nRM670ORNndphU86bgA/ZBpWQJgWD
KGJzNmiWX/S8RToP+p1nXpXmNQtCqMqFqdwjr+dV7WjGBqmObBD4xBzhpUmFVnIJPlleKXRVdi/t
mHCls/16PtJbKZ903PKsd/vY0qt1lrp98xwmDQ87EQ+fZVlzr0DWMNYw/bXGwRPJOIihZdANjOd6
tk6quyoORApU1sXQF1ArnqJ7L4a6nd7F+ozgVdjWotZXHdvp4eVYSzEaC69fjqOrRHNEV2HhwxSy
4gQtTX1mjBkf0no2diP3vOsyGvnof1INj3eJyr1qMdBZ3AROxJaeuS5INtPQVjaFo4w5j4ySx4NQ
g6XZuwa0BhLT45q0FHWbd8E8rj+13nWkFqJXKa+8Ztl7K1Y1rlpKQdpHr/9MCqgpRZlHgpUzGcxS
Nm9y6IDgHP5ASLZq6HParBXqCS3ogcidvn5WZG6HeWMP/YZ4mV0RyodwiTG0bi6ZUgojfymCJYxz
PLTO0DOtFypMQ/RZl7g+BJtkMUB+KgPHq+dKtK17R8HLrIEn+LJKV7l3HaYijS6H9qlNP0e6W2Nn
jJCFg9cuevLHR9Le9MMrqkTHSt5596yKOCsGMKadoScw5oG24DjaRn1LoXlSJWuqSRiI3qF8nrfz
GpxoiFXuey0gXvBgxLyF3YzUn0VVZbXAqSWD/gqyY5WKQrnStNgCtxZGC62xNrNGquVcrevVELph
JsziDoewnpCIOnvuPZtEltZDN8mgIqhvfPmp06wOiMgIHB8D3Wxo/ZRVe9VYpAMTo8/TKOBlfKni
jY6XiBUckPdCiC2tGAuX4rveDME6F7JcZkPLkYc4MXLRZAsGNGhc9p4iSFzwqr3uFGYVRBO1NsCo
fYfhR+ztptIfEunUde2EkAAa7bpsue55bootb8A8LmZduM2TbYJfo3ErE1unPARQZJALLDeK4oDD
YO92VD/3qi/85plCOl4/d/VaCe6U6hb3qzRyOnWmGasigE0Xl6kClSGn5QwH6zB0FbkK8luNRQIa
NjyPV4cE2+winmlPfbYknWDSpbVDcyfKXOmD8PAWcqM82pBEhBGG1ZqrQGrXFUrEKN0UeLuZSX8T
FaAAFG481Wk8XeNmven8eag/kPIaaCUZocFUuaV87nHFvfQZ1kn2BbEpDHZGtpGwUWKWEUdAJWlh
isJ/aoraUrxx4fewAJJeEj9yCxhDVfVzQl6NPBbpiG0apa5RzFpT5SF+0oZMaOpdPIJu/Fz4qS6y
oHRQvaYV5iy6V4OrwLvpkgQSLWr7aF3gBOx2PRDDzbTK0jxfpFUBJ8pFSak1RIlVm0CacSoqktoZ
WXX9ugDKC+POyvKEM0ja6nI+sNTS+54PyUYx7QRy1iSA5kMybkeDbHx1E9XpTao1kJNr8WXm3SM/
Wio+s1LAq4sjeyRYQCPL1lEuAvIIA5CrSu8WyjCIADREI1oJ+F3EdTfeaxAkdZk4Uedt+r4RXlqK
uH9s1EH4QJctMJquzVn/UI1ABzi5H5XrqH/ITMZpENqEbrC307VEkBw/mv5r7c2jUj7QfNkn/pWh
BLwK1urgcRVdNm3AUwKNh+RTwFSemlrzwKLKmwG79LbemzgGUu+TeW0o0BhWynrgzNP0e60zoKpv
xmDJFCwzrg/xdaPcdGm6CEv1iuSUG1X70sh2nWMsail5YJCee2pWLkhcLtoR3cRqt2Ee21ZteadI
7LC2nJXSf1I0/1WawFN9G6bWWCaNSJQR9IyoYEoHQTYpNoapLeFFRZhttdO60Q06f0uCbBF5KrFK
HZi+zxfQAmixLlgneaVll2l+iHTD6NtZPgI199GqLEdeNeZSN+vXrvFdIwN+izC0S3O79KrdCLh2
YyaUXnsYcbFAWrRqlUWrZW45bjFaxql3hyTgQpOZNxAY8uigod5/jVVtGZECkofRX1T1qg43sgQI
oo2qFjwud3WGRRV+yvCdLOxYcZIytXDDGzaD9R6B20VOJVerWlTUzmDRo9kXWseL9BlYzzQuR+0h
2yvBnOkBDE/3GK08cl8EnIbPJoVr3/eNwfVSSGLD/12Emu3G1jEbJzCgBmoYNwdLMa70R1pHPEo6
MRjXCruBgFe0kKks8u6uvlLCK6W4QeE2Hlz8kj11hggVJ8xH0OYdBJYxdU2yDKhjDm6aOsn9kFoM
eAdam6GF6WUyOg2ovgIIDeFl18i4DHQrvmHQio6fMrrUGQ9gEaxfFmwbNYuciHimuwq1dYNX2ALz
axsHw8pLkcNikwe+yYNqQWwtduNMDI8447TiNeNECoPd+OXag273fejxRLVH4NCBS6iQw2iW5gtK
7FELOco5hHDoWFa80Asbsmpk2Bm+NpK7kUDJFoiw5Cl0xQJ05emvQcOJZicW+B9W4ag3GC2G3m6r
VESGBRm90DPYftwrOu9qUaJPQXGV0V1eLUu/4FH3qajuuj61ZPZcgJ1713o6j2o7UpjddsDYEOPG
JoRgGnIDOBF38lNdGo4SzhjM2ooY7AdOCp9KQBLhu0h3aAQ7IgUkLba6BgYpOk69vd/sOk80wyou
oVsJo9VhF2Uws2sErW+wdNrmsk8Rh4W0cLjB45PZzDplmdSPpVRFRvd5EIqEZKKBGSJJB+Ak38qj
WJQR+LIJqZQf2ASPXPFh8owgmWqXNRVGc4X1RZf5ltJCM7gJLUiGIfWrI7dHwkBOmXBz6RlOtyZP
bV3wRnHL3Gliy8jt7p7ktjdaTEuhLiAc0ZDLwT94D88ZhDUo12VjWNRMucIwxynlMUxqdP2WVRAA
WGnFEXRbgsbOjWuWqsDuOhAq5GaNkzXPKmTKEFKDtOUpZDfVaEObba5S11fWQYdm5dZvHb1ydWRH
5rIf3f5hiDkKNgV0KsdVrFu1HsBVGHR/bT/KedtboASdubjVRMAupfLKogXUpzET3sADlyz1akYq
K+qsFGqyHqoiKwV6hJ2ta+0puNGTSzlaVBUBtczintFZ+aqOL20iUMvhO6HiDEqud05yBylnBn4O
3eHKrltHpXYJrRKVNz2w2uWYQk61hp076nPIIfP+iqafi8wugquu2KbmLN6CPjzwhi63MuU+gTYR
bJC1ThAGHAZsCUyeeOtZXgPIiqC1Qki1xo0PPi90xVYw8OW9qmzSDoaCQskeJYSKAgslBVd00ROC
TUONxzf5Zy+AmV2TO/q4aT4FAScliJ0No9OSJVm1xjUYtZlxNZv5CceffYO3Lcfj3HzsNvGdh/bm
yAm1WWzrzELFVtZrH81he9lYZcgOfdvAt0kNQYsHDyEUWlCFphDbHKVeaKEbxbyDrUPyGKQ7AxJ5
4m1y02aNHfWWbqVXYIdhsao6t0xmfiEkXetoibV5a666YZVkVpLZkSrCfA59kki9BEfpyuteF33A
k8IKPwfykQFhUXAcF2CHeAPrMmsS2DqAp97m0YMRwhE2mX8ZhqK7zjootjbeJyyfMqCcpyDiwU1S
b7xwGRWLKodQygfzk667Dd7qyWJMbA2qvEADeeNGXdIVzNyhjKoh6qi8CHQnSW6RYoW9GDoOf1kW
t6V0a7WxjHEN7Fi9at0yv6bxGudO+BAR4eeLyBdjftleFRHXs2UIASJeqpVIGsscFuUyjR4wRLbb
rgdrdxG2KtWp/XmVzRp4fV3vh89NPkfKvAVer+yhvo0b6NWuA53HxqLuV3p8E+AbzbdpKnC4hy/H
i1IHyhaBZkWuCaOFIeLg8dCp1G3Nm8XqDAItDJmNcat7M1W9RBsvX6nzNp6z7JESp01thje0t+vV
Iaj5g6jj26jVeV4RIYsdKd0E4iD0m0YCDq5yVH9OiwacbDua24Su6s+HRZ+056rG+xoyBRvDQmwB
E2a7HhQRoWVVzQk0KqAJ181isLHUgXSga5wyEK2S2GU2Q7o1IF2M1B7BIao05bCy7JpKxNMd86FR
4vqdlQfrgIA3RA0Er/mYP+F+UXbcH4WeiwzKZChuXqNirsJqqFxi3fLuFWTlFU8uW3Ul9TsJXWPI
1rCFkJDKLYasPLGU+I4p+yaYj93nXN41zYvebIFn0VONe24M26pwM3AkJoVKr8PSGYrLpHeZ8aSo
Vt3uWnWT6Hu9ciofbFOMdz6waR5a0oA5jBTlcyZdmQLDOKrkvvpawncRaLgSKLDt/rreJ9GqHq16
0d0XGfc3QLBSbrXkmiULpdlqqebmIwTiOoXSf0a9mRZGwvcemtoZymtZrQPgg+EW+aWTDfekuDO6
fVjfxc2nNrhVulHk0TJJ15ryqSRWVN+G/kOkuGbyFLEZzgeYIN+i1o7LGwoMmgc8Y6/1uuhee2WZ
p9e6tDx/IRH4GuQAjZmKAUJI6TbQQVHqnqetZaqXJjhGzXu2N7ur2tuUGWQ2M/2GDlZruEpu62DA
LLANXyTxS53CrK18yIaK41kFFNOwF6Ldj13C03GpxNZgOqHhNsQCE0bmc0FnJNhW6iq3VQMKarvH
Hc/v1ZEb8QandxoEY3STh4DqJwJV0JDP4nqpwoJTOloKhW2jJRktOWxb6mj93B+uovaeYcjRoLkx
4FXd3WRmY8WYl60I/cgahpoPZGH4kkMKDNos/XmUz6KOa8regJkkqZZxsTRH2zO5TlZGcd9uIgY1
1DYlB1K9YlCmDtA1CIt5VQmZwfZT3HF9bT6WFCw6jTeeC50OmV+nQO8AROo75Fr3YKQwa5urEQrc
eO3pjkl12B1xfT8QEGvDUUSh1UDJYUPRHUOUf4XioAntNJujyhpvIggnzxLSrJWX2gHwqm5lpSBs
BhWzFs2MhDejVZnA/BDjVAtn9tgtC/+lrBNeqMtIHiKAUQD91XPZutprBV9YiijdwnzJTkeR+TPU
bmFJJfDduF0Rg/sYFoR5FVmtKqAQNTZ6smoaNwrAiHmi3B4y7vSpIXuvEU3k9OUm23X1Iq9vE0jf
uv6yhd6UaYUxJNsbZth95RxWQqBN1kO00qAb14oWubmc0Qb8xufhrvRv62Sd9pfQjsq1GW4H+PvH
gTE3wA/mcFk3oZPnEbSZYm6SeV7ZEM9htbkZXZ0sFfkYxNdG5Bw6V2EMgc3U7FafG7CUxrLnpL/U
IYIdGqb6a+R7IsPQOSlhOUcXJXbBX/43Z1e2HDmOJH9oaUYCvPDKMw/dV6n0QquSqkgCvC8Q/Pp1
asa2JSpNab0vPWZdNR0JMBCI8PBwkDHi+ZtUoUqu6LDrSDhyHHZcdK/VhEgUiDJAZK9e5qdlAV7m
9SwSVgTwytxlP1pQ1mEJKXJmHjTtRyGDfNph5/Q5ZqPyqnaIOuyo3fqpHdQiWNKAsFuzudZukAh1
oIaKkKIs6g55tW8AF92XBLnStGsB62l7QY7u5FuZjy106MNYBemLcsneHi5HQKG0ecqz2EUBzy5M
gJWFcSznZD91j/2BSMfX2r17tDDw0nsZwTa/pMa9S5XXpddtghsVCFGvXdKsQ958ZbXAU8fQ4jut
82l/p1jMixubBVzn+NgWOAq44dKD6O9XHHglfnmdFdhdXCdxMwXSHX1gcVhTDYpU7SMhskg0PyVp
MGe7Zgnz12k0PaQvCbnt08vCjspkT+Fas8dJxJdDYd1W4gbgF8iFyHkB1VnHqQiNMSzNfZ8HCX5H
6U3OvuYP0y/zxkR1XkZ97k16vGT7vjjWQF59VPs20tl8p3hQO4AsPVt6jIER5VMLdA5fZPEITL8V
V0aKy/ZqqZ4BgrLpbdFj1j5J0ydaQOrAztdziQXlbTjbV3kfqM4npZ8YTxJVFcA6VVpe+aYxA+Mq
T6qP5XIsu0uN0HBZQMQFzuYkrrcAK0UQ6tRPCyAe0HmEmb/D9MKXXdbejCgsceySvyAf5lY4/LGq
EBeLhoTaDN0qXsvb7Eoi4XsQyNOSwZ9z7IMZZg4PEuRb/ejpuEjH8sEABOaORxRURrl4OYZnyE7+
gPvMTTS21YVroWJ6nurdmKIyRyRD2XdZlwCVYvnSTd7SBgZSzztDhMs1d1+15CHXRw/ouyf+1rpH
X1lzjdg0irhoAwRUq7ucmqMmg1k8lX2oT/Gkhea9ycM+C7oiQHcg7W4N1FpyX+rgmvjZLZggeuEj
erUsUnXQdnsTPuiEklwrK3aQoKX4ChGK0Aq8EevNnu+U8SpagE6NgxLBCjiib5aZfj4IfwGiu9DK
m0QVcMCbDb8mqN571IZp+jTXBO5bevOYAe0yqodxyne0QfJIVAmsoYsWbQgrk18ZfP5tdkOQjvON
xL939aUM2rz9la4tnw4iAzuztw5MOL/Rw5H+OGBvLTkmsSWmx9zlTkgc3Y6seuT+ZOVED3S7XDJf
iMXY56IrY8U7flenBaqCSW8A5Vq6O6Uer/TyOleaOlQDx/+LoX1SjShRCs3UD10ns8vF4ul1n5go
zUxhqgW/Pq/6PdX7CagQT2RkWVwcTFnvLX0CVJ/eY87PvRLFtCNpeQON0SmuDZscTR2IfYIRcwR0
7cGq2qBmk8/NWgsGqYdWrUK9aCNhKw/j/VedpRzPrN1HB+fFmbLDXOb3mkP2RdkFguI6IEDz+xJ+
2Qn9UtMqkP0AzfepvSvERKJS8IfSEMNFudjXGN78OVLzkff9oaLJvqvZ7bgApBQL8l4u95ntHnPd
+TPQNZsQnRWV2VwFhgPy3UC11zGd/uZai3CV5oDomX5gSsefJ0O5m+fudWRdEZVMoknN0munH/sf
DmuLZ7O1qwsjQ0Upp8qNMFLG7/oSF1HHE1RdUtk7jr/4mGnwCjuX8poOjZYFzdiOD25uGus9gfZh
UCq9lp7b1wV/raWWpxcyXaRzKKnNzSdMU9TT3Twb+E4GcHsEJpLg16pCEuO+EuOcxDMr0vFYa3pj
PIJiVozUL8y2q29Ep1CfJFKoFGMr7vQbLYIRl75mpLCYzeLQOUmn+0UhutwD8bFkvs6F+XsqOEGd
YvS4rBi01n7XDtXGY6rXeR6VfQZkdXKsBk2SJe8vhnwqnvNyZPNuGfRK7SdIgxUetSrwJ83aEvrf
rqg4+indkqJe0kUtD71NtDFk6EnWYB7Vo7yW6dxXcMY1jlaGBNhVGKIxcLNMY4NWSCLdOGfYJ+Rc
iQOwP5+pdViHU4ujTLvFLMNRdR2AybEeUnv2F6rXa62eNJLcUJJV8imrqhLVlsPmkl13xTwle2eB
q+yEo5I7t81I/hvDdHOBnp10bG9AuzbzOEM7E4TkeTQbkOOrbDL8TOXdHBaM1msakiT4ErikGgGQ
JWt0sPCAyc60bAFuFEtp7J2EVVoalporUE9ptLSyn0aTV/OdzEnS/UgdMyk61EZN37thlfTdW90J
I4mzvAawWuWDbHcln/rXZSr6Oe4qM/8zGXz62085OoTg9qgKh2zWK5RaU17zPWWaxrk3aC6rATbS
YerfjCWj0z4ZjIS+OURYWsDmRrOjRs8aHqcj06Jhpk7ua1Nujr4kpnT9wtEdiYy7c/LInDXeHGlt
mb1XTFpt7TvbaHZGV6TXU44RpMhxB7AabYksTJegV0duP9hZ6ZGcAVBQ8OgqMjDFuPiqbqbEb1Ns
EHBqlamgMOEJYVVOcxYvg1TVkQ0L4Q/W7DAz6kpOcK31nOSRnfPkpcwN6gStspIXVx+Nt1ZauPnL
vCJzVJQ9evCN4VI3nrOENzs66C25rqrePdAB9/esauLX5ZwfxjJn/JjkQitD0hYSrYByGHJ/0SYH
eV6SkzFs7CQBaURKJPB8NlUTTjVJAoDp+XNb0fR3Q1Uxe0xP8tqf0sImb7Jyh/ZX0xA0CqBDXCc+
TwfQZPUJ/xuyaamKWzZyVbwyuiC9XkyOmJ45hvarrhCqATBo+l3PRW76RUetfFfmRWYFZSvLDpRo
maNxU7btj16NxXSs7BmIqj33s4prLKgPazhgfTPSauHY2lGkQbWMJRgLBeZ5WmMAfJviZ2A8vDBQ
goyJUQyeNjQDC6y0ANDScW2Yo6zN7ddkpL3plb20jJ2s9SQDwlojLtLBmZ71rCuboCl4crDnmqLe
7LoFvc7MKrGgrsYMCRp3w17YU3c5Z8q4QodLmkFX02YM53YBsGuVLfy65mAdxH2pVBeUnbE0fjHl
isbdwoDjGQgg9KYwe57uHNLPS2ApM3+wtNJG5tVOQJW1sata3DqmVUIJT7e4n+hlp/kIW40KSF+u
Le+G5c+Fhh42wHVQzx+INjVjPBjiQOps2tOxGZedmMHEeOqWlgAS6lWBjr4D4epqMgJbCO2W8US9
pDxbrkCjGpI/bs8w5V7OlBqxk4pM963ZMptAmZMxRKzC1b4zK3Mkt3Y/V9WtVbtz2wZ2YS1teTAX
ZWk/007p898+xW1wPQiaNJ2H5hrOkyhtS6K3yOzfM3Xr+QKTfu1ajKfLYHhtOyKNrc3ObcF1M50Z
paiFv2XfsDJryx1GlPLxxcK8vnVntzTXA6vUmRbmODvTs5OOfX6c0l50Uc9oUsNzF2mE1ugYdVDY
nD+QSTiAS7CdtkfMATnC0rASl3WR1Kioy1lL51AnbAYjkszjyiatkz/DoFi9q2xdGf4k6qn2u2oG
TDEmesF8wmc0I0a9kaCBTnnheC21mPKKYSjnUDNIoUJeCQa8iSYO3VFXAnQ1tIVXgN8YNXa13erz
Lh0S6gINL+WtSM1eHBTN0zyca2epI9A/jAZs5BJhUVGWg9bAFUi21SjLVB1dV1gu8LBy5WmoFATJ
tyF1y4F6rcLfA2QxUgdXQEpapV1gWn11Ygxa52/Y1nT45do8nd46B3nkruKMlDWIf1Wi/sgEbS3p
O8oR1W1tJbO+RKWWu+a+bhfcTxeEqtx67WQBOLoqSeukgSU6nrZo0mRu/7Oy2kmBdAEGkHzJtKZ+
S4WtL7d8GSZ0fsTMmzAdhs4JZloNg89knetPJqd8vk2THLCXaF3Ko7rq0ApvHTKyn2hMGnCMFAQm
7tW1VgKMLyyuvLJLbBX0aT9y1EYlVdFgmDYH92Hq5bOdV+yHPs6A6JgumBX2cDMd/ceiqe6lyxp0
jnQBRhMFAaWu8ln5ttM3aVRhehhjI/gFWWA7EMTxWUrR+DIkLRJ/bl27CkfLaX43i6MTr5TzUqAD
USRWoBtqUr5mWgNKyKFjYi8zOfWxmSxAowfVch5UFe2HIyWuqu6Glgq2L2iduh7nOPcXlcvVECbZ
TBbfHvFx/FqJyQ0Wu+BFCG9Esw6kLS0LQSpyl0PW65KF2pyNoIyyBU2XKSvn6QLs2MqKXZU5ZQjy
/qx7+jDMHSC1FrDPkoPFdd1qNW930q1b7b5ZhOn6biVdF8QGI8vQvh+YMaJQt7sDSSQ8HyRLx1fu
lKEpxSvtcXSzCWvQJzb+rnqtTqOlAJ7bpFmHrru+9EHKCfgdycDXBAAx7zrvOpr+7Y0xkciFHBCD
g0SISkaaMWpVSETm1MHiWjKPOlb36XjhUDlqgEIqoacy7PN5MEjYp7yXb46+aFZ/y9SSzMYFZnhn
AK9LI/NAgx5Eep2TVKIHMnWuvLV5oyeP9TC7LhrD0jbgMak+3I9DNdO7fsidJtShBYJWnEg5ajnX
tpvywbWpPoXISUp2J8xCuj/I0ju3vLG0K6dMzA45gzL45ZLxpnltWMs6NFYxXxlgWsorKE7wXeMS
TDd7qkEylUZp3VlOOA6NKcJx1iiKRd3Up4AvpDL3Lg5Yf0hTiEvs4cYqOSrNMhlI56mbF4AVVFLs
DaFmHglcAn28NDwxrhtdDNr16MyTsW9MqjVeIw3zrknd5k2hJlMgF5h/OZH3i+KWn+UDWN8EqAcS
r6gYLd3aYZbKEP7YpqmzG3k9PrCilgbYL3k7/M0EcsmoVtOIHrhIWjsc0yxDoZnNmvksEWHEDhPA
S32Jasvp4mXU8yGo0w5uY1E87RBiLCBb9rVrdfauVAYg4dHOhwpVnkNvlEar7uhAFUXF89IgXdLw
mc1j7ha2c2G4gwAdSDomBD3SCQU3Q65L96Mu0EllzJ1ViFG5DgCWgV/rwbnNxmcc6TRgOLN7lU7D
0W7uOWhoeW+Rbq+Po4MiBge0C4w5EyM+em/97KfWJDGRmuW+kLJoKLhvSlSAhYe+GGIQpXUWdG4/
N0gHjKI6IIVi+Y6V3MZ1VlEu2lCVuci8WRTK+o3sH0vXrBFcmQXHD6W5EEWlZgCxhWmr3WiWMxLY
ZNDyIW4sNbLCF+1CAO8vS9a9NkXPy5cZrJvurk+bZUy9ltf58CBsowUcjRrB1p7HSRume+pS/Gd8
0UlteqyY3QBVNDo6Au7U7creu5lRJf5UJS47CCYADTcTA7TIOauXa6URfYzqYoTYR50rPt2pvuH1
PRyvaWO91hvxoNcOn1FeJBlpgt4aFVJt2+1B/yD6jMrnfxqkZYlYuwprQFch1qySvata96LT8Vdj
VzMVuf0f3PFJ1wGG8ODULUMP3sahLWVZDP5klpT5ed7Yk5cjtmrBGSbwVyIsmLAQgbYRYvHUxiq1
/ZEIm0s6SlFg+nl6dmOg4L2fhuusYE68/IEEIgJM8v8xCakmB7JMxLG34j7FrDC4u05pFWAaR7Zf
dbHmJ9HiQ2PkFh2LP+eG4bcTGCa8ftWG+q/BrdIPAioqlQYGwSlNheO3k+afWdN2muTdhEUdy9Ad
g5lbyQTDMHpqr4RA7jjA8qFrbgKbropRIanJtXvMPI0aoC/TuCId3jfx2op0P0erFEv0/U/ZUrsh
b2Ga+AHQ2WBQULI2dPUBnJiinJDmL+BdaYn62Q42yjTlUk8H0HfuY2739t2cDUUP27RWOc0NNV81
Og77ag78zBWAgHqDD3Z+PAG8hsFYBQDgo3OTGietOgzCqcCkoFOx8VpZTmIa5hpWAVJL45jYb9/v
4pfxsfd1fbCwbvMHmnqPBNKSemN6sxXmZfPb0DNM32VgdqXcCZayRGTl468uya5S0l8sPd1TbT+A
USzzc3u8DoR8JqvDf/9xrq1SxlgsPZMZnEs/5Lv6BWx9z4rZARoSsX33/bq3ww7wY6ZDm9lYX5eA
XMpm8IbXOq1axEwPzb66aQ4Y1bxiWRVrGt3LNjkQ95wG2XZ26T8WcZvhuQtdx3sWnzdaNjPXkCZD
PKoYAgZeitIvF7DD6JO9tGfOxvtwwWYnsbx/jG2Gl8CFp/pswBh6RRdJTGbMHCSgMoxBC5omuliR
E3y/oVtP3S5vs6GLCYIuMCqwd5rpohrA+5T/dlgO+p4g2luYjHHXT2ZsdjDnqrZYzkEX7h1nT4Uo
L3Bpd2cGKrffabUC8R7XNHQTcwvbi0LOdB6LaoRSy2K8JOpXrj9nRKBexEQl+tXf79p2CmZrbHP6
SG0AgGAwJkE9yIFdp8A8JRrD35v5opi2tbPZumFwAbso2JmI5vcE9HAdYI209hWIK+hF6PYdVPfi
bJDnPPHcCree2NSGctAn8LI+1K4B1/s8WHWnQK5x7w0/9dEQvtbPqal8ES3AgglzcUcRqP3Z7w/8
fAxrSdV07diCOLKK3q1WQfVYduAXZ11Yx2YAzYb1HCQPk69HJLDN/co92587Fev3+3gOtz9j832p
IzKuC5mgjd9j5LxykzfdGfTYrIQRpInhxGc+9Inths6hi9YJkg4XT7x8jjI6ikNLK7DuPqTPdobB
Lc+JWuQdhYdByd4KuR0h4wG75nvD21OzXiNQuzddHQrrDi7Iz3aBRuUd/gaYPW55PxfJgz51f5zM
l0O17+nj98a+jAa/W8Nglem4DF/X2qyyREKQdL1uevzCDe04hwgD5oLfpoOKsl3n68fz81zb+LY1
uf75h3tSM12ZpTlMJv3sdwAjSWOcSa5OmnAxo2W5aAW51uaQKmY2VsEXE/oyoA0ttgnqYX3//dZt
77336/5D1rTZOdNaTKE1g4l0vmqQdRfsIEkZiQlNfSR8s5/I6q602Jmlbc/Bu9kPWcZmadNgcequ
eQzGqsH9vGmHn8zCdJJ7ZoaRblOId0NwCTgjcm5s4+fP1Dd5wsYRaVpaBjIsrwhwiMvy6NwnMQZp
Dt0DeElohQYAuffa5dD6Te+VwJ3wOJQKADQnRjCHGCwPKv9cLkdO7L2N2XJDp/i2tr0deRQF6t9O
S6hX/qWv7kG92H+d5z5UIQnVn+zV2KHjFs5/wYgs7kA3b64Aw4SgCSOzzMIkVGeO7DZUYKscHRcc
TpGFYdPtMPWwqDkbJvC4q777nbg8GCVqx9I0z+gFfLl8toY2V0CdJK7hCBgaWszvC36oKbvmFb13
s+5Y2myHxi/oTy2zPddwz1k/cao+LXMTmdK1jVhjENlTBxlCGigGIyj9A6E3bxXNAXuLBc7D94fs
e5OACj87YYIqCZ0jmOzITW796LXlTKb8NdoSFD0Og9gvhRLNNsqr3DYTDRUDtDKBLIKZMGE6MwPh
oTag+IbBmu/X89VT8HIVulzMRPm8vlL5eT1LmhncxUimN6f6LhViZw3cs4CN/3szOBwOHh4D5oMx
6M9myq5DxYguK5g1sVP2UUJ+61kWfG/kRMGzYgDUdiDJoZvM3iwGBWU2MjJZ3tJhpApsg5+j3R9b
dC+1cqmOpiBFYGD0iU3kRy4Z0P7idanzmybnf2s2//r+53wNjJ9/Dfm85mEwhaAuRixm8CCFM3tg
Z0RkwoAHhr++N/VlGBqPEXxa+Sb2z7lld8DysL/gnsUg2fqrJifdgasd1Hv+i/plkEbuma/69TAQ
20bTFePHxIUWyuartkKrxtZqsMJJpJgh6R4c4p6TGjixjWCXINezgewg49t8VAwko9s64EAIYR3J
5GBAAOT/ObvW1DmZn1OmiMsMF1aAA28zHXO2Ge0sEC5rU8cM4ezT+nWYLoz85vvP9fWMI52ydUoA
c+Au+3IahiqxitQy0YVuDtMAyCoxCFqjI+j0ORLmpQRD+XuTX5QjV3OYGDcwro6vRbYZyGChwZ5O
FDbNZ6U9Ne4Tr0Cw0i5mGrpooqssRfFVR1T+/N7yVyehSNeB5RjrS5Du9vtxW5lDJUzTowkashiJ
qzxiafOZ9ZETe/qeFqwIGeRQtr7oaINZ90yZXjAEINvvIXaAEdx0Z0UdKC+eu6exdXCf0aoeLyxf
7c1je1MGTZxAKvbtjNLz6vcfSwPsNWQkdHgLRILwj81p7Lgu5ULwW+YGAy2kwuTiCFoseum1LxVI
5XLkO+m0GPlM7X8ryLcaJwZDH8vGPgBy+Rx2+jSlWeO2SNcxtqkNv5Lh/vsP+kXK4t2CiVcm8TIN
BbN3vVM+5MvzYDUlBuXMlXQMoQBMYJPMB0/YX4VBMSHWBu1z2wV6RKH0fF764B0M2G4v4sH/2V+P
8Qf7MqeVIAIrpCO6Xz5aA9XeiVbp8yqLROGTVxaDSx/mAdu3uzOLP+FnCERQ3cEHhjNv/WwwFEJH
ViDnQHex8/JdEWTRcHRlPB/FJeYjAsPHMMC9pu0wqPS98a+XNe42wzHhUgQvAmzvN3RCpZlyi3hU
QXXl2hkf3XM6w19DIMIe6HyoVbA+ONBmb4u+cQS4AV5lgqbL4ML2gfTdYTD5mdv6pCUoV5BV9Mf+
8hDBMPKsNXRYEovlc9bsQUOCYsZLa9Mz2skn8gK6bhsUXt/FhfSNwxInaaYuXbBv97o/ByBz8SCD
ZjRmsKAc4EEyIDinmHTiU0GqmUB42EDZDETr8z62OJfzNOGi11MMexraLkfdXJwrK0/s4Scr5LMV
VyLNthtYAYHip6OrqMVU02QXAUNL7F/73idTm5gGoZG5dFOYshTDzGXnWeQX0cr4eytfIyeYbDhV
SKMZjtcWFIceiVlqrCSY5Duo6pDpF1LMe2tG9cavaXOpun+/hatF3PiQUXEt1DOftxDgNxHlUhDc
xdCltp3LzuGxudyBMHHG4b/IxthApZHYWwZDkUC/ACkVEQUfkYQCuc0eCowLPCeP7HrY937tG+ON
G2C4M1Ia+Mse2khXQ3wOyfl6FX/6Ac6meCkqy15bcmA4LDQuIA6vQ7nk+w94Is/4bGOzn6RylF6s
i+zDCcTaaJXERq/IidGkDs+qhn2tu50VETBshpMNUHATrjoAvbltYKxPlH/t7gaxwxfVI0iggQFS
EJqo55b39cStX9BFhe9aeN5lW1lXmt67YDqBpwwVE5DSdj1EIHSJxCY/VtD0yNek7sq2qz+OdesU
GBUe8wcHQgQTOJsjM86cly/dAPgUwjWakNACAri0BR5AIpr6YQEX0IxpxITvQqQlYv4KL9ig50Oo
4Kz+/6ktoHjfATAsopuzfUEGvjNBCm6dsnXq3wugpnTs3pYJdER0489409cwiq8KwoCDrgCSx/dU
4ONVz6ZeCQt8zeTRPEA1S/MBeIbkWrt0vfTnHAPMab2zd/w5qxtUw6k0bTQcWCXxHKDlurMgNYBa
St1Y8Yprmz84ZnDPNpW/bqyLUtzE9wRp7mte1VuFbPoUZs3YPrDJ0zFvgmna62nXhXMIMuwAZerM
0y/Of9Ovcfez6fWnfdjnonLdKpWQizPjYW/s7P2KtjZxfy57Wm+Jz6mbq0MKFh1mG48QfVEshCCi
kRvG6jtxukNmzgPm29cw5fvV5blwd2pRH41tFgWJC7MCSvbfRR3zeAjtSN+dM3MiH14XBTdlwP6g
37wJeXhyJO2zCXaUv0TVBfnb/Kxvs8gOoFgeDPEIls9+8EFggX5s+P0BOb3Ef0xvEoAejaxSQkXr
fT/FIY9lBLWcyNl/b+brxfF5hZvLf7QhblGZMONCsmeqj6Lvzp30cybWP//ggU0nJIYLYGKKaJT5
6hH5vb3HJRlS342mS/mbnEunT1zIn5e1xoEPNjHeUNBRwWYbGtF0IzC0p/ZrgAFp3ydBcVWg4yDu
50f0uPqb8v6c/vbJNVN0qymgWmpvsb65kWXOl3XNGL1Qxo2Y/37/3b4GMizwg4HNphZOb8xiXeDc
a7fdXO26AXoxIPZ/b+ZEgv3ZzmYj7YpmktuwI57mAHOGcXpYpVyXtQfomxGGbs8EknM7tznaXHQY
EnxfGEUOj9Y3ZiPPrOlrofd5Teuff3COtiplv1CsaQ1V+mV+a3WQ58KEgvcfp+Sh9jPBkGzvS8cD
aPq9+ZMH+8OX21xBdp2CrpbA+qgqTAhkF2X1RFCS1ZiNNOgtHeCtL9+bPLGnrmUBqLFXRtNXGhWo
09TI5sVjzmUOTQ+CIZnvLZxwx08WNl9NzHhOAuxMzO+JdAoK8PSjjpvusSLSPgNSrP+pzUWD6hUQ
DBqWwL229ZcBKT3d0frFS00MBLq5X7aXA6YKJuPctX1q2z5a2oTgolskt/iAWeDmTdB75p4BC090
RFEIfVjKNvhKpEhuBgNdoN2nuyrAqwT6nkel3wYywLjb7EHk2j7j/6c3EGEJ3wSRaYtzWMpNIPCJ
DUzaN1IA14HI4kj/GHlzxilOeLprG+ikoFOFB3e3Jd9Kb8BE0CqyNNuYc6aPs57cOhgyxVS19UjG
CfBdNgS2LB++90a6fpkvPmI4roNHF/BM37b00xNzBIu9gcNDQxDzNQzvfqjHaV/t19d10EjETQDm
1CWAgkgG9Mk9kp0Wm9fVMXtCgbE+rXXnBPrxXDg9EXlcB09MERPAN07jJpoWS65sqIkvnuRC2+mV
29yX0Al7VdZQXWcZKKaQZKkW//vtOPXBIdaqo+u0Pl25xWlTAGqgdWa4K5g93DJDa6+WXk6Xjatj
6Fm6GNP93uAawrbbD8VnaqKWgpdt1aungTUy1aE3mlsMahoYfGUQEnIwWmFHYBtfYS4j+t7iqY1F
2YbSG88JE7zh9Tmkp7Y+Z6kOny65AjV9yZzjMOvDVV+Z+t+MmvKiI+gX/z+MoiOFFTLgC9tLfiop
eqP2uHjGBFkqqCF25nGEuo+JyU8B+Ot7ayejhfvB3BquPlxbEBnT9KmGuVUzfglsfybv76NBAWKF
Y/lL8ZhdngsWpwK7i511Kd54YCCXfzaKcUWrNTA+Bd0DCTG/1vFSOU6xOUEo4Pv1nfTSD5bWP/+w
vGGxiGwILK1SUA2ZwwU9vbF4KeTt94bes/ate+IVV5DfEP7wwv0m7Oa5ZTVjgejgXrZP+a4NxVWd
o7HGIxauvQTtwIBp5D7FaNQ7zn2OVHDqYvn4AzZfsgNvPrfX8MQhGpe6u1zaZzbzBJIOgPLDGjff
zaQS56+ECeceahz0WdxBoMzXQigxmgEElMPhFhVv2J1Fok666UfLm++Id8yy5H13h8BAul9E05H8
HDwPEjko0bQAY5HnUqpTTvrR5Cahy8Qy1lqDxRaQFNCgJDdYFeTF3773m7Mr22RurKHpUrQwI/Gy
AeRyfHEAZ0ULJ9/1Eo/vmkNzeZaQfuoSXV8CQHMPfQG02D8fC1Fh+qlY19aR9ucIVDt1+qfWKV8x
lxcl0Dsu3BKypedU2k+FcLY23HHmKfqKmzOSjiCHy9VFm0wL0/pxyvmtVT3xkhxTMOPzcw/efuH+
2QCFPxrcnImmWpZyVDA4RS1YBJlvH2zXZ68WiHBZ0Abjc3LN/g42AFT5rN2Wb2gvnOXDnopBH3/E
5tTQfFGDmPEjMmXt7CELMrWHelfrnOlbnPyoH3Z3c0amFIwKuS4WUOpFFZXxuD5heraWOlW9YVMx
mQ0MFfT3LX4xLTzvi+rdjgGhtrAFPVv4GHOJ6S/rMYFEnv9vxxn+8x3/MUk++2s+dk2iNMhEMhPq
j2rHBTlz7Z4+hx9WtfFNYy4Hl/ZY1XoR0izsHqYbekSvzisgkgzlIKjQ+lD1Dc6c/9UFv9wbH+xu
XBRDpxAlXe+Nlemu135xz+7SGGN2UXPFj1kIqbC2PmOUnHaVf/Zz45LpaOUd72DUjBXUqZjf35nh
BF3BPxb0C9CWhUZb7Q1X0HtcAZW1LVv4Km4u7SO50G7bh/kFCg3nPsG5rdg4MOlVwgAQr7+qvVob
4O8+PDw1V/QJ0gF44+UcG/r00fxnHzYxHr04PgsHfjVqPyrnkjjThRinkOfdmR0/AbyvkegfS5sw
PypMMcvVg5NL+yCO+YGFZE9vyXPnDX5xCSj1jF+d+8SbEO/asqYFBrvwUmHyAp3lWOyWPVi5kNgL
ocZ6QS/rC+OvdoAEVBqwt++tnzSOZq1lmEA6Ad1+Pq8geEDFpYTxaaqzqKIW2WHk8CGVy/+SdmbL
kSNHl34Vme6hwb6M/dIFkDt3FslabmAsFgv7vuPp50OpR52JTCNU/ZupzdRWXXRGwMPDw/34OY9B
W37vLCbBququ8OuFGChPx/TsOE3PA3CflCbmuBVf6Sk8At8iCEJC4eR3/h0skDt4EyApSr74t+Iq
WgkrJoNgfNoBgLrTniDtWyo4XUA68r2Pfo/Z9x6RV5Blg99D3UL8iZAVjZ4NXBBbf2HFlx4px4Zm
3xnaB7mJRAyNfgf3jDc+9g2YoEhCqWgUhZ1cLKmDXA6Vf65Nn/UFkSVv/GTa4/ZL9lr/iFfwRzjl
WvsmHbRDeBVt4htxCbs5RfgPvuvZW8yU0yaQsVny1p6k6721vq82wjZedztl/7H7Xj6tRyuc3Tej
nMkmKdDU0fGoBZHmZo66hxq2W7m29hws5giXLaIRMjV7QcgZs+tHHxO3C2Iswm61mqYUCie7ScDq
T2q9+fNSzeBC35VMnrcXvWwm885w822kBLqRxyNTEdImv1d2EICJd+NB31CmGJai34XIbokkmhrt
R/qv81nBIazA/sFYw6nsV+4BZocpEAlOjzhi95TAe3n4bdlxcgYq5SKjiSBU4IqaxaC8kaqonuoF
7SZ6lOzvPVpyPYKQa43eCmMPC7fXhefCibmZy2gMRadJSj0kT8oHy+t2jfs+Cktit9KFc3BiZuYn
KmhiH90BHrSNZCcuvKI6QiDZTW9uRPHW778axpcYLQUJ05G1JDV54b6cug/MvBNarbMqn+tXMRPT
eI2EkEmKzJJWlI4uAVmBMnPhDF5c6TS9QktCk2jZn94heRZJRjrpy8hbijtraWesk2tYgslGfl8H
65ez/GlsDnWopJDrmeBpc1RcNo5qQVgBuNe0rx8v6+JJODI080pZ7gIDbDPhugrXaENACrVw2C46
4pGFmSOObWl0VYQFGJogAOkgeL4avU//u2XM3LDz1CGFp2mwO+jGdQk+8IUQfKmewuzOdImzlnNc
ohXEmeLFLCP4KSPh4a2hw42j60G4139qu2QLCQCpk7GKec9B/jw4oXwQM7TF40Oz+3ixv2pus8vn
5HeZXeZDr/qaNm2pARRMXuXw8a7UbtVuIGo7GCBIw/xO1TaTDPT0i40/M8RYkLFy2p/1i8cYO1IR
MJ3exq9NS7oXbZZHSi5/9T+3a3Za9HbwhnL6IH6BMgpFpor+J6PKC6fysvv+x4w6u/rh9opQ92Mn
Cuj+/ezdGl4/3uuLBgxSRhrj1CZ+5R5HBTtfNsAlJ8EIzwuDx0ESfPb7bCGZuBjFjmzM3hkTx1+Y
R9gYpO4arrF1LSW/qHxrc6lovWRq9sAwMijIzApTgpZ81nVG8ZJo65k/3bJ7+99t3MxHw6YYYlPG
EpxyN1kQ3db9UlI7/YizY3C0bzMfg6N+0JsCEx1tYVWs1jW8QVpUbVpYFAsZsjZp4eRdqjWAiLRk
CFK4eJjCPb0EzNioYQ3DrTVUI+werEnipFfynW5rBzieHoz7JSTmpez2xOTMOwAr9ypPtYG8QWa+
ZRNvGJe29bv4VgbmIq6UZ3+9WAW45CfH65z5SVpbbSBORhkmeAEI50Y7oML07CgYPzSJw8Qm5AKM
ZSxiNS4VdU/WO3Octo6b0mqn9arrcp9u2l1wDbfN7SSMl9/mL6DiSZjC53JxxmAKFnN/Ol70zJ94
xAWJFGM5CpJvjMpBgB1CGUf7dZ1VMfw/5TtE3l8Ena7a+Bf6VxOuUtegsFNBZ81uMKUKLLgJMe5V
pdPQ5g1G5J6EO2GpM3Ax1T62NIW8o5BmSFD2mAE0cBqiPH6TXpcjEHjvWoTNt0MUHIJveNBbaVwl
krF0gC7dC8fGZwdoLJAcS0yMu5Etahv1Z/GIENYu/Sy/yd42fZXWsOz8hUkfoH5Hmzs7Q/6YdoM1
Hds+mGiKH1p4gT8Od5ceTBYW4G2wNEvjO57uqtkjvxF4mNDl7puQ1RulSva6CH9+TLu1VlcQyBzy
yNyGQfQpDlkjRFkOhA6/P0DBWjXQhhbzDVOcOv1FUrPsoHiDPX30tK9p0O5HMXz+K4tlcoKKClk3
7npqg3Miio3KYmFtXvfX7X6CpPP+paFvvMi7pUB/2WWP7M1igj7KFbM/2Av3zWu+gUgbcM74Avnx
4rj4hVm0X7BQS4V+g4fvvK+bKDAUWQa2prdh85g9tHcRg/kA/XhtSy/STfwtf14KuBfjrcEY4x9G
Zw7ai/4IEgOjfZQhyRCvivTO9b6b3RIkddqpsxh3ZGj25WDQcsPSI2GChvMgg9J0g2415odQfkrk
1NGGBc6Kiw9EULb/Wdns01mRWTLahUHBSJ9KiHQH+OUt6TCio6LF2xImLat5LaQBbmZrZ1V3C656
KYE7tj87DkkpBrE8fc7+joR8DaL5AU3Re7JiJ9yF63S7hIq7fGH/ueI5V4wf1kwehb8cyN0ic/Ls
PdiCU9tfU6anzU16szhYc/l8mLC0MiHCGLc2Cz65KpgxdE7DL7BXdpj6H1PjU90tT4ZcqiQyYqhi
jWrqVCE6PfsGHHst+poQL29hl+d6rjbFfrIU/aWQemRp9nIsSsny4NxBeuwGdQRl02yjZ1SEHOPB
u8/u/1pX92RpsztYKBgyHKYvp267teqEX6aaEIoadn47ZVoRQrjy44J/XjyQR4uc3cadqQZimGMz
GGyjsfN9vvHW5o/60B/c696BvXA90YAMBFV9KYxfjDpHtmduI4m1ViTTpxR5Df7wGeXfKjt31X31
b/UvMKTzeF3Xt9Fmsdo3beRZFDoyPAt3LNetqwDD9fRydVKUEpn37Zlo0pz2vfrsbz/e5SmqfWRv
FvWGWq0tf1poAzSgMT6nCSxORmKX8Hsm7RLibToBH1mbhbzUVyRAT1gL98ljsnb3b80qfoRNZnFM
a8l5ZsENtIyvxSmWqvJRjWu40pGLMop1qA7bDqb2zo32H+/k5ehmgrSCYm2aIZkd/1TKrDDWSOBE
dCfUNYKa10S4tcy4Chof+Exgay/QyX3tlvDOF01DKcD0L8BIJu5mXzGOxrSFoASVjBUKokwb8XRd
c4MxtFioDM5QiaszSBOs3cdrvrTLKm89Xv9MTzPddRrxgPdJyARAvG+W3JvoZSiptuot/7YHdRKg
yaG7CxO408Gbe5ABwRMjuDLDOnNonylEcR+2GvlVnabIkyX00e2waJiYbGTDXH28vktXJLwuMEtR
Cz+fIUu8VrJy6GbtURZQ2PDcKz9CqeZjIxcTZFOB+otKLWM/c5CVK1dxoAd8PfGAailSG/Di/AJZ
az+bvft5uX97aRNBdDHqo6kK45Ozz4Y2RmPkMgoBZuGu1ZE0J0a6MVgidrkURDkJ000IrRn58Kl3
tH4lC8huctotJNPVp9Z8GqIKyuKFTOrSckAZKoyKSSDk5g+MSohVT7dgr81TtNE1M9knef5JGZaS
+/P10IgRmSTkNcPU6bzzA/wuhwwWO6GrI6TW5E9u6rX3vdKpr0aWbhbc4jxYYg4eBnrRIviNOW5z
cF0mFl1ESaE/d8CpbZVb62Hie/DXv8/3gCnow2gXMHYHw8bpl5I8JZLgAsWUL+6GWEHbUPj+8XLO
j5IlU40Ec2yqMn43u1GrTGvdfkRy1y/HvT+Mh7psF6LRhe+DCRwbtlBdBzV1ugqZgQu9bWEgcGUq
zp4BQ7WIBlClQ3MNM3Xs/P6K9KlxzlA14Jp5KApR7kjMBI32oGj2Zqffw6VZL8SG8+sZKAIBiA69
xarmR6iMkjptIP2Bf+m72D5EMXo9urkS2+cx/QsfaJrHw9l0GW+Y7V4DNa2lF7CYKOpPa/hZ9EtO
dqFEyGKOLMwSulwuBylJsTC9H1P4AzYj2sjEugpqNxFxOWu9PAB3ISs/tTpzvEyTmjyd2FnofD1k
8i5p8qtJlCiu4RKK3IOYAiEqP6Ez+LF7LC53ctejalJkJLXLkwCxTQafTGXjMge8jbZTLoc4H4pN
2jtMJIsVgfNoeLreWS4gK3VTKeEfuzwwVCKDE/q3WaBRygvCudARL2dcF1316OtOucLRctN80FBe
QVcy85Lrtm2RzU0QtxzWGcIGSq4vsIZdeD6zzonwUVcV5mPnx68UDN+DPwYZx194aDgKTTuCHNgC
aDCIiwN5F6ofp/bk0/Xp49gbhdf0cPI56kGeZEtH/VCam7epN+7BNm/72XVuwCi7VAP5VTw/zXpO
bc/OZhUFZmTp2IYDe9OZV4jwtZTXf4go2aFMtUaFZWpoTdOkVrzrgTYzCo4cZ8XV61S0mQxmtJd+
q8sOfvQFZudZjc1K6A2+wOTgJcpd5n2p76Vf85jSejTvA/31vzA7LfajzZgd6BROc9i32YyJhk1C
Sz5ygvU0Y9+vYTs3gOQuA94u3MUnzjY7y2mZ525tstR4H+zQIPPWgE32xaZ/T52lOHnpGgN8MVUo
JUNmFPvU0UJVqmW5zPjYkRysIoSlGtsyK3lbF0187bUIAS1Eqsl1ZzuqQKxFMihBgXJ2lIoApiIp
QT+13EykeyllRP8zWgzbdrvszJcOLtY4ujwbFP43D1CdPMKOhpRNaHrvrWc+BGHpSKmCZKOJcC96
m20e/fDIvFeykGurSBCfBiQCP170hTDJcKbGW4kZoXPQQpZBBKP1IYAoAQn3vPTFVZ5AOoOIT72w
v5dMMQAFdEeFxVycI92URhsqBbE25ugzE0GV5FmX/GcAP0sF7gshGM6VPw3NQnBF+mu6LoY0yF2M
ynMqs7lukeOttM6RjXQhObnw7LSmIR9yb5F/zhNiqe2qofUYU/tmWTaCkeV9dDXuxHv3Ew1+lFai
H7yYDurjx5/uUuBRyCS1X3NUMDHNwmEeN2mehQGpCkV2wYajKLr3N1PhEszX+2Aclm+3C4dSARMF
Ow/5v3pG6t2OEQNystDZrdDeyREEzZGJELg2POdVry4kshdy5WlxMKVPg2L44WkESLNAmOTLyF9T
EcJFdCvDqgv+glfy3mRwCWC4fJbvlYpUlKmEwJKWak9KkxyUVrGrZAH0eMn3MTHRVeomw2+zYJYG
khlDN9HZeV3acstIT4cerB4/fOwSC2bmqKCRHlMclCymiVC4F+1S7J0CnfOPrUznZx4njxZjTLfE
UYrTBzmUqAFW+vJLVL0IlXprBTXQnUcv+NwtlnUu+ZyuEJ+oPBi4w2zv0G50vazROlvw4RksBbtH
kLCNsy2Xw4IzXPI4mnQMQ/GeYUhwZkpLqlgpS5JG1zSh6EFAUbFWH2/epU90ZGJe/EdGSu90EROW
gAxtdMNjw4akZ/OxlYWFzItwHcpnjVGTHPgmKHEp3zaasJTYn3fDLeV4JdN1euQGHi/QuGxZCfJd
W7Vpv41ieseA4Tav9I0ZEXf1unozunxf59mC8Us+cWx7FvrGRi8bC5USiAUPEY4uKKVTktKnSruw
kxejuwUX2a96JlOVs3u6LNKyqGFOhqJFix1pozrJTroSnI5C8Zv+Vj0Vd97Gevor3+9Po7MrTC+1
VAgTEi23t9Ap3sETsxBcLyXy1PJgomJQ9Nf9dfr5mk7rEwNtRlt8qFfKl/i+QqzLLn3IIW3zR3Td
r5nQ1RE8kZxFKpgL7nlie+Y6DTRCY59OtpGzSfvXbFgCfl76bCcmZh4iQ7JVthkmJjRmv0LNeZIR
sBz3U//TBOv2ACrz0++PZ1gnRqd1Hx0JqfEFSU+mnA5lIl+lYVM96hUqbeLC3X9xAwmG1ETgETsr
I8mBizKgSYqD6OCq06+Bvy4E+csbeGRiOoJHa0GnFriChol6BevLfXDlv03IonTXbYZV8ia9d1d/
5SlFLvrnsmZnLdLgwK78iCKF9gVVvNfaK997Qb4Zxuxq0MGh0P/xUQJQqts+S7eZ/tzJJcrfwvq3
jx+/B/Q9Os/q8xJaKBhlMmSsXbLeLPLTuP36sYHpIpldoScGZo4i1GPe6sNkABUs+JDtqAXqnQT7
TKxWSo3abf3TVJegYpe8Bj2uCaIKldgZS7Eb1XFUN0jTdT6sgKhBu78/hMqTxqBxp8C5PJVrZzdo
7leR2eZQFGcuGgUdnQPaad73UUv9BQc9WwyWqHZrPNdU5sF/jYwd+WeDICCdrRqh6SZBJlHOEft2
zaePv9N52Qz+BIqbvFYgDoBEbxZGDIvKs25mwFgi9VOoCY5c/GxFOXd0xLD7Tll3Q0evgke+r6wW
bE8/+8RJsE3HhSIuZFKiPs9GpNxIES1Fp7xTN+pBXdP2XZXDqnsz7dJOD94m+/yxxbPEDlgZsDV4
qpUJvjg3KHqIg3lhodl++Bpo3wzhpvDfB8+Y1BHtwlxIVs/OADZMDTIwUmIGguZ1alUtIQjKIqjl
kKLbBF6nwjlWrVLdfW4845C26E8OQc5okAZE+OOVSufG0cileUFbgcLyWbNpHJHyS/LBhCG4u5fQ
7OpHH0ndZpfE3kFoZZbLKKNurI2o3qZw1MD7t1Lcx9rItkaO+HhVroK6XSfeleQuufbZAxb4qAVN
5DQUNpGlz5xOGEzNq5LetAtf8Q9iniPwIaCeXKiluzF7r91KutEsxLyzlEpGAgMWuqlnAEXG/ONH
Sjh6qhZRPayzH7LoHtCkO/QeqrV9bBXOx/t/lgVPxngp66ZG8eOsV5WXSt7SJTHsspHSjVqJLtqg
kbJL0ENdOMIXNnPiWGEvFYViwhki10y8CCYMVE8Lv/cPNEmHdaDGsW9bedvUTqMzO8VIqWouIYvk
+fllYE5FxwXlBJnZ47nlNkShOYdHEabicLSerSi3sj192+LRgpYL4mRLGBF0SJI2R8cyAeFU9WiR
OIEuRLmjjVoGVT2iKOJCSiufZe6TWjd85lM8k8+paYHPTkpziWK3FnyqqtDutER6cv2wd4I8EG1F
q2AQoCtRqEB7GWu5Axxx6ELGvPLskPrWSioMfetHxrc2EBw/9r4YUbTy2rFfyFLPnfL0N53lwbVu
hYE28ptW8lMYq8gUarwv0MKp9WBhVy6b4r6ny0QAnHfmEPBEbyHElCcL/boPx63mIhkw6cYOWrHQ
q70QfuBAJL8nySD/nvdq1XhIBAiCIXuXA/JrP6ZHMAwHpXBVOxXaTeiLAE96YZt12cKWnpuGD5Zm
tK4RJLjTZq93OqyVL/eAM6TEv+t0HxU4rbhOZW3TiuHnIiuuhqK8A8Xx6eMjf/7goE7FYAzMO0iX
KWdcpo2uyXjYoNlpEVKTb75JuvKodf1t7JYrsxGdMrSumopOpfEjNaunlgY9kygFQqz9fUNgkoyF
5sn5J5/4aqFAIQxRMZyjVJEkjEWTSWeYeb61zAUpKhyUXuyApli4b86SlUleaHpEMsLIlO88uI49
pbq0K9FejT7nwpcg/fLx5p7//ImzlYxLYYB5avyeJuuK4ket4ibA/l1FIpoVStPsJSn8C7fEqaEp
5h1lXSOoE1caeCKSlvsrqxlum757ljMtXCu9uHAlnd8SGEM7kI8EaJrvdGqsi4a4TdFGtRNJi69G
SXfvaxh6tkaqLjEMnBdTEdhEs4CcgF4a9fDZDjZ+aQ1BB19RuO9eJOZ1odt4dldvGuOs2tRMWZq/
PL+XECShwg8vmD7Rc80u+VJrcxR+c9kWdNUp6ty31d7PbCqce1WAQUF1+yXOiClaniSUv+I+XNCU
GhErmWdciZ6kQdaQceWBdavl7X0OGgIgf36tpfq7j6RfUpVLYLfzQ0YIBxklQfTFe3W+zjYwddDL
xFVjyDtbrYu1mpYr34MFOh/lvV9E0FH7j2GkrnMV+eY4SdcqqUCbpk4r8hRqLf1OUOuFXPfctwwN
QmHyaoVjwwc/9a0hcMt+kuBGNSgEJSEKmyxx840ku9VCrD9/SbPtk1Ijwk6gxKgQnJoyG8UbkGZW
7BVBFzMHZdXvIggzvB+iv64d0c7fF0lbL67vyOj0WY4OahEMXF0xRt1v0hf54O2m8kfgiJYd3koO
tJXCavH5fp7wnC50tqfaGGdBL2OzXhm2+EINxFtHkMupm2rSgVqyd8mzpvECpE2hzTmrzBlaj+jH
5FliJT+qXlo4RYrSvZn0ijPk+rD5OMaeT3hO3/HI3iwZ6QavQIQDe9Xavwew3o+bLHfcfqcE63gj
rGFfXIee3WdrK1ppcPSMjjSu04flNsyFaDX9KowfcKAmbNTMpaTAlPI6QKVhYo2oJ+aRibDBtNvX
5r64jx+ERTnA8xvm1OLMn/Q2kesuxqKYM6xNtCrK308QTk3M3CcOK0+oE0xIwsa8pdG7zymMrCdq
KUB62uDUP8d1sfEPi3Djy57053bOvmwg501ZFlieOK18d1vWD5PdwJEOyk9F2eTKoXYGO31eugSW
dnV2w8mqNrSyS0RWEwTVaZ1QMFl97LaXTMAHCPu/OF2h8y6hW+VdKEyBoAla3079PrJ9SSzXH1s5
b2dzOI7NTL/GUbyJi0hUsukwgvp/QCvtoK/6Q7cSV/+NRMrkCfOLbGIbJJdhGA7ky6kxn0JrNY5s
m9cwrtVpSGPe5KNva+61PmoL07eXIumxsdnKxKLV1GjAWNa+RsN9FLxPQl8fb9+ZA1KCp8JEwWci
Sj4rRxhNrKFDSX+w41V8W4eR++ZqvbLXIMA+eKPhmgsGzxb1yyCRU0Xzko7ubAc9npXKkGLQNNqd
Cco9rGJH/O23xszKbOskP7GSKseKui33E+pL2U6UMouX3fTbnvjDzM4sHCaiNgQFFJ4TpC6wFeYF
I4c66kHe/FsPcQmbcnamZvZmwbBRuwgFZuxJZn0lIHtZeIsUJGfJ2mRDJp2lcDDBOGdrImH02tbH
hvfSrLNHP3Gk1YSIFl603Bl+ZNfiSt65jvSjXEweLjrHRJkBAlJFCmEWlejuDlYGIZNtKsL4HFh+
cuWpTR46Sh57vvOx61/cS0NiGpFkbFJBOz3LXuMO7RCouH4a2Kiv+sDzPrZwPjHMVqLLBy8HrzwY
k2fOrkMzkIaIVnFn2WFrF68jmiTtVfxdTTc6Sr7Ay6/yCDCg8tV9/dj2pYNNcZNpSyAGPLdnz4o0
jfpO1KkRD40qB3utLj1HMI2y2kQJ1VEbutEg+/0d5Z1JYVwF0YPK0ezzNS7cPJHMme7U0lvJWqxu
LWS59h+v7IKTUNwi/QArO+X1s5VVYiqMUQBdh5gLB2BKj3ow7kcrff7YzAX3UKmRTCzGcD+eoZnH
UQ6EPkDKDZzGa9sld7w1lsj5Lxw1bBC1wYGAMpj7OxocfL+M10la6XnjeFKY2ErXwmKZA7kM4CgH
3lCaWXsnpTmY2Y9XeGkjeXtOxD/8c8ZRw3xO0Ate3NlZwYTFWJdP1Vij/KpF4VIZ4rwGg5AML56J
B5kK4Jn6ZuDFvgdGu2UulzHucaWup+Hq8jPXGlQ11k/oJFfubb9Ubr+wRKYfJJoowLfPe+itBQVj
CXGgHbTZWiyKdW9ojtIuQdHP0gJWJzN6CPqdZOQs1clSaVDkAjOmxJAsrD++8D2UFRvrq3FJ5PDi
Xh5bm11u1EhbyqFYazfltexEu+YhOUg7Yd18kVBXkG7Sh+Tuj6vu/7z1/9d7z+7/falV//of/v0t
y4cy8Px69q//ugneyqzKftb/M/21//xnp3/pX3f5e/qpLt/f65vXfP5fnvxFfv4f9lev9evJv6zT
OqiHh+a9HB7fqyaufxnhN53+y//2D//2/uunPA35+z///pY1aT39NC/I0r//8Uf7H//8O7nu0bmZ
fv4ff3j7mvD37KaMgvT1b5vXKjv7a++vVc1P+AfymWgWofYqTcp9IsG4e5/+RND+MfUZJh0RdEQp
uej8UZqVtf/Pv0vaPyhKoGPIH0xXkC7//W9V1kx/ZP1jKgYZTLswv0PljiLB/1//yZf688v9LW2S
+yxI6+qffwcid5KmGBw4YuWEDedGoACjzTwmjvxEagrZMbosdoI4TsRb1695KQaWmtwGDfcIqKPe
ku1YQ//BUeSJYNoIe5rBZuy/NpWlX5lSlAHZ56whatmq1TqxuilR7CvJKanp0qUcWg1lncS660Zd
/iLlsubZgpAr/Ky+qEMKvqW8L7WmEJ0MirraYbRCe1CULNxDEp70DoJPfWKbtardpQPwRlSIQhq4
qpcITluq8teK6cytGZdeTfeuCZuVHmdxjIRpIUL8MbbF97ZVDWkVNZX+ILVKfDC1vkXKvo9k1FUS
NCcEP/9i9QUTrYrYuivPSxQkLfPE+5qB8vVsJU+Nx0SVvHvfzSKq4U0qbpMuZwqEgXH3taR9Z2ue
oewrzeyK+0G3svqlVIowyxjjbIV6oyq55SK+l5q601SQ9zpK2vF/hUYoARIE0jfDh2riReoK8bqq
PJKrqhDv2EWhhxVWZ3zRLV292tdej0xSOeRfe9lDjQvYTHIQu8i716SiP3h1MN7JdebndqGkFLTp
u9hCkQyH0TNejA5ltANMD/GqjCTByYtOWrkK2YBaVQQqKRuLqz6Rkq2bmdZzGY3615qW0neNPlDM
Y03ogeaExrCR0zS4jl1RI8fVwuy+EWIGKbva24eyFN3FuWBuxjSVr8JSdQ/ookuOEVTFZ29kjNeR
u8H9rmhd82L0kr/387puGf8w5X3fa8UuH2SLHxGnNVuTyiu1yMP7Xvf8nx2KxgN4lq4p92GTaS+q
b+S6ukGFM3PkNog2PY8aJ/Jj806ThNK1G8/qqx9DMYhVakOkZz0OfW/p676T5S8y5BqbJBBSCFwE
/y4SYNsDTyqa1E/8RpMp+BX6tTRWiFJlbXFduG6HRm3ZX+VJaG7CEYxyLJcwIMlB+6VopcxBtrpx
wG5DaSXL7mMnpLADevlovIddFNxQvGgf1LDLN40RMx8QWNFVVXT9W1h2yY9QULn21IgBCq0WHFeh
+SaFivCpy4PsuhZdca2WqbZOtbZGbr3XXitNQRVtsGrjtUSo5asGzvI67CxvHw+GvBJ9L9hGsWZ+
zYoo3ZSCKu77pPSddMjqbStH8kZExtTJyyFaa1XQfi/BYtmZkojf69QcbuVCTz6HWu3eD1EprppM
LQ5W5CrvY1JJj6OalKtMN+OdDxSXuavYTa4hHC6uzVGQbkqLvXAzWd+VVpith8Jork1B/km+X3D/
lsr30vejOzXXuoM7aCBrK1ldEwPBNIRatA6VNrjKWQKjHVq7zd1Q2hbiKG0CUqgnIYqov8cM14Z6
F659Q0k3sVA3Twk1KUhi1HAfebn2U8CRVrAZNvsgzq2NHjOhIBpV7tRjmN+E6RivhS5gXMHz8nux
ybqbLFbbuzYf3bUu+sVnreyEXWI0FMKNPNsr4FpvaqvpDn5WqUCOXcn96mW6OIZO20n9jZXrWbfx
lDCL17LqKiuqg8EP2UyatVmZ1ios9XQ7kEvuu1op37zUGld16BnvtLvDl64Whxt1dIONJIbZndAq
FPLStghvc6u0dqbWAFFoikiDva1F5RB6mCRKlVtV0NxNVkXVrWUNyW1cy9Wmaur40PNEXAEpVhJC
I1KqWdmF34JCy9ZjVkvXgmyNb20yIslk9GJzUyRjBe0+JJ4IcQiNKMGGESTZyhNVxt49Ofvc5n7e
chek3W0UKs2dGklqsGvKLAV5WzVeYXtS6QcrqXG7bF1R0pKusywSu2KbRkKTWbsw6xtzJZem730e
+0QmBTToSu0aK+9f9Tq2QE9G3qPVmcn3vGujxB7SjomZxoXOkD5iZIfdUGy83Cre08LS9qZcjggg
8SQEwspboLa1vDCoLLeGl62hfZRaFPr0kK6tD44F3R3JyB01FvSdrKBLyauhx4prpb1vS546wNAW
q/qmi5J830kgofo4rHd6GOTqbT3kfeYYuh7qK0GL20eria2nLJGrx0rRhXQ90SInjlh4YWOLTRxU
tt8r+g4eAYGOuiX4dswf7hqPy6cMfG0r+Lr2qiVu8U3gyVSCxo1NsKpFXX4uDJcajJ1VAVWEPIkr
B3EC13MGSwr2vReGCu35hL5BkWa+skHS/qVoS7SCrVAu+o3vW+FXbxQ5IIbhMi7lMK0uSG+mHEbi
HghJCGd0ZmglbQ6hFfxrMRRlRFq4TKT8BudLPd76ptv1e5d51JjY0ovMNJXS2DpiOEoU8gqjN8rb
eIBubB+Pht5/Chstlt59BvmMd81tlPFa7JJUeK6FsXJgqOuukWxnLAGEIgGi7zunL81gJ6SiD7fy
OIbipo09gHZiqRcr16xcdZvWYexutdosA7ugv/FmBG3zNUjNhnMYhjdmlMnPppUV915jtV/qsBNe
ZJGNX+vFkK1dP/d4RNXRiDJANOS3o1fKP6xIGEunRe/8e0ZfFr3BsMqFx1ovxhia47G8KjXFd51Y
lsdh6ymZKdhDrYWSHcV++ZinfR2vVMUPXoa+tJ56bfRu+IcHrwbmmdZko/jbCuDrIUcq5GsuSVQW
+oha2n7Uhhotht7rN4YYepuIJDHepvJYPNIRYujXDYdPoeu6/sosRh2mq94rNzpdjX064AZa4Qdf
AirVV20fkzdXFFJVsTOgMfTqAjDHKCi3nVjIj3FcQO6CevxOHP3+EFud96kIzOxG8OPii1R0zZc4
MuKHESrkaCVVbfy9RmjpoUg7OXB6KamQ+ox7qbYjSkSVnQzhcNCTJEdnoUKt1vGyRF33bl5fi4hm
ZY7SBNKW+F5otNC67iHLC/Qyy9pi4CVQ/PQTWWtSOH7WJ6vKiBDSTKQcBqpxGGM8QUS7FNF2+VMU
l9YXy0S5PZQy75Nbl1biqF1lmXbDzb3XjKpGOUdNPxuhZxEjWmqwSeCG1mpwe+/VqgZqfOjFrEPS
mzfWCLurZvrak1Tr6caUPEGxTct3H1OKu29ZygOIu9rUaPYLkrDvu7GFTUkZ83hrlOgUXIVe3jyG
RQJwUak89Wtt6PWnqFf1a63zk+JzzcYRnSEjQ6AQwtnczhpKMXah9QBG09rvnjtDjt6TJnE/SVbp
2Wqh+muYCPyfgeqajzTL4w2Z8HAld6XsyFzC6zYymidRyzyUAiLTc+SBS8aQUv3F7ZJmV3CKDoo+
KptIGcp9U+rJs6bFys0o9eZ7L6nlyrACQ7ZNwfT3VR8OTsLHOnieqX6irCbaKf+hrce4RdW1zVMs
V+ajOEbVXVT5iF7V/4+9M9vN28ja9a00+pzZnIfDzY/fpHmyLOmEsGSZxanI4kxe/X7oJB1bdlud
/z/aQKOBoBHHokgWq9Z61zss6WbJ7fnCcFQM8FY7ZIGP2s4ZvOIQB037kRwp9ZHWVjup+kQcpOtk
URloBjJHJ94kwkH2OOjBMzVIcSFKke8yxpA7wI104xBCTHfs2Cd1qiEU9SENJNN4UsbWYW7TCznY
couZ7T1J6JTowE1+FMtU7d08g4c7UbHazexcOENRvJpxp39caPuKXRakTBu9qUzD2VfNs99r/nnG
QfHqK5Oytdcb/1TVZv5QVPP8Cu0SAac/iWbbyJgiH98QrzmQfqdvR6PrmLqTcnDWu4bbh5a5uK+F
hIEQWUZTiqOlJdaz3QZ2hvnmOJ7oWuJ+TmQVc/FacSJopn2XuXH55FYBnvytbiXQ9lvtU9JQFUV2
5VWPxmLIjLcUDJeBlfTVRgw++42vdy6noDMeS7chsAVc8dDN0/I6SzZSdxFzz7wmHVW49Mgt1Zj1
l3Mn68geBBZSBWzBbFzGE7w7q8s5q5tzg0L+gnjz8iE29ZqPw+5wQJ7x6C5r4V6Wusq3gVNrZ16g
zc90hP5rBYNj3+bGfEY+FuVZC/KlZV1AiTBg3sJxkZ5RicoXDOfIb+R739qul11mJgkwIznrIWN5
ug4ts/brKODSrWqfIsK1xc5oDX/vyNK7l3M5f6B7yr50bA5R0vrp3u4cynE7yJ1bL9aqc4wR9GuM
C6qLcpbOydwIGKEOAAgUfjX3H0pHDXsvsbrHIW7Uzqvi4T4I6iANA9UHB0fr0yujL4Z7MyE2HEJc
M9gbC3jysaEO3dppO23NxCFKsciK3RIHMzpxPf2ACUUQel2m3zHDYOOeR2iwc+N/qDSz3bccp2c+
vnp001RGu3ZY2tOkStA+E/2z6TMj2elzpZ2W1M2PQdAax5lErm1iox4KVJ6GYuxuqat0uixzuoYK
JD976ehftoOvPcUUltuhMOu9w63srcYxt05RFKeVh1GIJbs5ctEjRf3keI96YepVZBaGm4SlcLtX
s9Hw+ZtK/QEh0XiL1Wn74JuivNdmwuAZllFhDm4qHqQpmmstdpeTITWC20Ua6C3A79pzarj0tgim
fJezHrwwRbf6WHqpdZtljXPjybZ5suKpuRKdtKOKAuRAy+I+qqbn7c1mx31ZwjU2beyPD/MUzCex
reOZWfUNX52WP3bFMh4WzSUITljtplk6cVmZfbtNyr4/TMJs7yfas49jnLi094UpBbuSp58BliAz
9Av3VkjRz1FS11CxpbO4kWVmMgcWsNRtrTABnSgTH3NNE7jVWfkNDEdilfVR6lvJJrD1ZxWz1Q1B
Acs19hI7HGdyAPBpldqxlHEHA9Gfgnu3NWsG3ErzXRhiY3bfaZ52ac2+fEQDPzyaPp9mGEwZ9nH8
NPyG/FpvtM262Q58WUlw7tS6J8LY8+TO4EpGaMui7RmMWu7eilsUjYj3Ir8W+jks2ZwGocnSNQnZ
5Ijmi2jcjV8YSXJqigEJ62DEzcEUtXMn2hRwJ+xooLap3vKFfoW6/ov6/XM13fk/f4JqP4B+G/Hp
87dg3/pf/4H1Wb8B2REMCYkHpjrCzT+xPsP6baV1oxq3QJv19a/8gfSZ/Am6vjVAAHXCisb9C+nz
fmNYgmkUcvN1BqD77t9B+tCnf4/04ezC+IW6DFUw/4Px+P1Qq1rc3qZEOKm0is9u62fDPHuh2wd2
fK7atAeDq6Cb3Xe+oVlbog3qklXby0k/zbB7anc26hDjQiQUrYwlhAuisFDqW3lYx4kXlHt+kq7R
DTDQWKxDZiDruLfkerRufa2jv0SdSWl/AfXJiBmM+oAed6M+62gztKXQBv2yjl1hce7nmlWs/xLs
5iOtpWF/KBe9ds/b3qyMp6ZxY2LnjdnrZgJhpeldatZQSQ3gwbH7Cx2fNGy9VIsS4r7EMXL5Ui6x
HF5lmjRWFZUyt6eIXUif7ophnNrrRHmmMDjPPWdfW9P4GXoPmdlRIyvoxnBMRJJtpDUpg/lLlpp3
I17RywXzwZwSR3SjPjylrQU1OBT2JKfdXFGY3WrUtN0dGyMdXGjo2OPuml4VzaMTez4J9XnFSX6T
ggjVjxqHFsLiafDKDLWsbU82WxaY1PgxBoYxE2CgKmhxlaATqYzQGTgyyGfvPUOzw0Wf8+Bc89x4
3NtSFO5TUhj1+JCls5fsfV+vnROjcLwcI0tN15uDGs1x3AkzGDHT9apAHSECiMHdFNNcF09V7BZE
n1ae8i5JxCrZ/w36IqrHDqei/IvZqtyNt81gqrjtjo0qUwnOCuXTpmwx5mFZcHxKNBR1w5MOvCnz
Z5UC2fbOGrCyAArPiwWpLiyTZKyrkRWHcLyS4ajnQWHu4bHH1rSfjdnItK0wxmR5QnLTjuapMxVF
9yJS5sTWpk60zFy2HDlLVR4LLQ386UteWvCZUUgsTY1Fb7/w2YovuFJPjTpnKYLabSZLFENz0i65
osTyXTWVKgS26WgVZENfHjaqseGKUatQWWRVIsvt7BqxblxYI7p9lhaCt5m+G7F5g63HaIzuvgZu
TcdtlRQdaiNpuiMguQ8T1kOnw9u4sJY+EDe5JwxxLsGkfKLp0Ebth8af4udq7GV/RUm79t7p5AL8
5PayXKgpXuQDOF09WmHRe30tNqXRNslq0MA3P0U8v3EkMDYbBvU50XUa9q1B+LToNlnOrwiCPynF
Q8ngowzZppFE2O2AwO082JSur0jJ8hw1yWOTO6CcUTYtJdUKq1FaduS3yGXIKPQqrevOfXfW4k8e
feHw0TcTfz5vF9m0rP6uZxzx36Omm9cBE3v6L46aO/H6j/2n8jn99O2Bs/6d3w8cjXNlDSLGHsyC
xwln918njma4v6GcQeuhYx4SQOZlsPPndMnijzAxgKvH1AfVPEOuP6ZL/EB258CGEs8f61AU/s6Z
w+/x3ZkDnx5BtOFj/LVOlxzIA9+fOWJAWk4JeE2bczeOJK40owPopkw2ZzNVW9OYitBKtEe9aY55
wz5COb2hfdXYSapnIm9oKc0L3UcVlTjdB9NuI2PQTvK4wO3bo3vTjG5LH3cQTnKemL4ZghcySmbf
CYMUv24n5aTxy/RZuSudeZZ04l2lCCtLb8tMfe5MiuMgMRmgNNZGjv7zZBTPOdIRxx4/uXb3Ofcp
o7SR/trB842QCiPtgrty6qxN4ii/ZKxl2KfoJfR9mkn7Lnc7CJdOYDz3cFY+CrvoL8cWLYGT5/Kj
K6aYqBdGX9danQVH8njjx7iz3MsxjoONKtJu2VSFNm1s9q5N2sXDhQCbJi4mGOyam5qXJXK8OosG
IPp+YzIDGTdL6qW71G8A6epSpFvSV5IPYgisq6AxOaD9ufuUjA5YQzZjvJbGRTpEfPFdcgABdh4q
F+QLXxd+y1QP8tCaMm2vLAX4PCTNfpqS4LQs8g89x+dZMzTT3vOm4pJIZFWGygxgiY+c1vferIyP
qVdbXej3FUpLAY74nHSauEhNTV67iOduk2XUMc4JGgwV7cXPP9GkliKsKVGakLpjPhVgo2SqwQW6
wMSku0zaZDh1J1pBdGiGZFqopR8rLn4wRj85sdVMfrrZxcdgIl7E1YvqAFXPiIbZ/pAhhjv6ae8/
jia4VdhPI5MY1yqXc7vVEbmA6kfekI3HypOdHTqMNLOwHhlcjSjxHmtnVletaN3IhSR3R2TLcBwq
/qGohPZ9Q9cdJ2NPS8Ds6OOYMPmcbW+MMsftLsGKxDETkxv1+lKcSKcEbm51UR/9Rgz7IQGwJSUV
R+ek8nlPolb7ou5JmeNcOs8KzsesxCIGciH+LW6WPcKi1j7WQIlR72S05zLjqc5VIaLWcWiKTO2j
Y6RMLzNOva3GCOJom3NyNfmu+dFcirgNQUjV1Vja6uOcKWyFChE/ltbsPFqBdOrQydzhGCy6y3mg
PKaBJR6bQNW2NRMXQbn0xfMbjzMQEwyqgUAOYZ/Z06M/ZIO33o2dhFXgDBeW8JbDzDxkS5emruIZ
DLYNan8/613b70ZLwMKzctajVwoC9ILcC+cxiy9KwAKHTmiwX/KpD5CTk311PzbUVUMFLNRIzzjL
UE1Fliqnm6m1ult2ovZRWANtY1OjIGM4+QEbb3Hq4jS4S5taXulWaV72dRuf59XkXRVpZmOBZj81
s7dcDmgUxKFNu/RkbDjUfS/OYvssKxJ7Z4zxIZadhwO4WchNQgEEVharQ933xtFqZbnvGm8+oJo2
SP4ql4cpHS9mVTcspwTYRwMOe2V88mDrxf0o/FOnK79UymDzi/nKEfg8F0NZbtt68HcTQOFZudqX
CKVbt1ad87B9hdEI3I79FAfjDhS0O1Szpb+0scngrKSqpuXv+Tzq+CTXGI/bRfmcGMmrMIDVuKwT
zQ6xjCWzyb07FrDTYzeLclu/7vUJl2+p12fKkR4T/FkFu9bt5ivkA6vr6cRjGVicXZtFjTfALE9n
YzMVUxzqied9EW0TswFm7fab0+4PtsK37IQ3BN6vxwdeAvRAK5/2R0Zo3M1DE8fzNSkpZognIRRK
gkSrEEzmP9EKrCS0vyibP17uDReCD4QJWbJcN1G+bJqH+cZ6Wc5I88abOAq23dY5AX33Ydpj1rd5
nzL63uXfHJazZlW2y91OQxDVnb31uiMTBTba49B7x9q19rVe7X/9iNdb+tUtU1t8S5FuqrIXkzFf
W95lPOQb10/ee4frT/jVFVaC1Dck7DiIgeO5q5XGzt6Ecfaj2vA8IcPmmJl+EAczJFjincu+d19v
2PMinbvEFst1xsgYpbC7BL8TGv8Lf/xzpRr+Av6A+dRU39Ok1r/xe0VK1Yle30OvH6ys8RWz+IPu
5P9mB/BNkXFjhu1DOaJU/ase/ar6BRnRsTzGWOCvevQ3JKGAwqsaEgIdIMrfqUfh4n+3GBEhmrgz
MBheLaNBVYI3izHD0RXqt7lTtS6cyKJcyjZ1PkvrECycQVM4TTbD3Mx24d6SVzJlDFWTeNg3Y+Fe
UnWWBvPuGkdU0/VcXWEZp6x5n0+Zk51TYizii6Zi39ksftVURBAFw4BXmJ2L4UZ3jcLYjoDv8UXL
hQtzk01ti1zHG9MU7LxtBB4I0aAv3RdPaEzR6DwFwXOFaQxbN7Mm76C1crBOUjvL66i0p3G+Y8ad
Y4kTL0blPZlOMwGmw7alfKITT7KdyyQQ7MEkcProaW7vPpcldfm1qydlcbPEA2VJLKrkkwo0h0HJ
7IKtz24u5JEkrEl8SE0slXbNDIYlwza3NWTqXdV65QVxbi3G5l1mS5QI8yKz23jK6zjU/EqHT1S3
Q7/RC5hRaTjoee2djvhcJdSpfm1t+3GIX8Z4orAaDICBMRR9KX129nTx+o+z8nN1GLxMLRiD0EtD
oSqasjNfx2TGiGhjNoHsTpN+GOWlS9EPkxNB27AHFKlv+6UwsjDuE1eP3NjQkyHSlMUAn5ERdeix
1MfZPtdsCb/VmGw75nCtXByb6gSyCfyepKk/BSXOiyeiHDq6ZrsEJ0NSrhIRCtpljGL92XDmRzNJ
i/nM9xqzOBuV1Y777msLbjOJkcWmg5eEqcqc+Ia6TnFXJGFWNpWt7bsqboHJmGO615NYmOoRc1J+
Lmp3IUaaWfCkdogIYvdxhsSCE2I8eWXU2K1PbbGUCVr5Rq/aK8uvneRFDIn9UZNDs0RZF0v3IktF
jG4YEKOATCd8AjbGrGpu2iWdjE3QxFTfzHXaJFKWrqAFlN1QUx3nyo0wegCRKd3KFWcGqUoM5sbE
vZ5NqcVPU0yi2A74Sn3Qa91Oz0DjiCnOKqN0Abg9M95qRcVwaPEqI9gs3Zw7RxLo5McZ1jl6v8SO
oSBRVBmHFeLOT4Fb+ulGpZZD4cWk0NUlDLrY7bZQUPxpm6ZVij6bWe/YwUlqjP668pMMcNFrup0R
tL5OtUh9+dUzITn6Mxa/obnw30BbHOd0M5pVwD9726rO48AsyC92p/gy7+mmTpKce7zy40JzQgeQ
zjmyTcy9G2rtkMDBMtqgpz9coHd+MfDS7baghchCVYU3NFaO02iPm1ljPM57wc3idO4aPdhPZW+S
UWlP3niCRs9w907qF+lRtEYHdt/lLUrIatLnu6r1O49XZcMqRF5u0iiL1NeHMEuy/CUYrFyDi6op
fGwtp2QNpDABNr1hqGJrJ8aaMG6zyGUonGGuNoaxFMvnACYbLW/fzm271YT048MoUHxf0Zu685bR
fMnsKZCxew0gWGcnw6gCa6s6j2+31pfZvMrrrrZPx9rw0mPsdY0ZtXE7PmBP4ZEsYrJHbWqE+/ap
NnTaXTMzSNsC8waI5P2iT25XpFGeapSh3XHwJH7Hckwk20i9TJr36MK/k9u2mUxvW5tF4VzwsZRi
y7RzTF8k5Mccak6eMDBJtX4+ZVyZexttcaW3yawaQ+MSlkl26ApbjREUHyUjW0qniTrIRM+6LEAo
tRyhLcuXj5Tp8mTSeGqtp4dJRWF7wjgxwe3UABVTMevE6jWCjJpMNn200PvctUFb+HvDkvOXDIZl
u0nMWF62ZcBfgfpQZBsDcSekxbTCsQWtByYsynELrJOWubPO8SS05g9Kq7BJMRJIHMcCwmlwL/lP
6vvWiDFZSuwaRF0Yma5fzqxQc8ecllhaX898WqQqif1+l2MPUmxG1+qJy8ic+LTQlh4IJQ9AWmEP
THOxX4pcAYxMdaaRfAdmNJ0sKmPOz4B4MMkTyFx81bJCDQQXDVp58PrG047ZbMXZqcJUozwZPHso
z00gP/LUhBWPgQixi05Zi/0oxL4zgolOLGnO2gasMipcLM34+SpIL5Ic96MohjoQzVoOyb2uvBQC
Utq1u6VuwSF8DF3uJ3fqmGAVVWuS5DTnPmNCs1jIwag0Js8FE+ZDbIy0LS3WymfCa9tzDSuSi7EI
zB3D7BRaByfGNm/sPkoKVZ2onNvGl1M77euijbxR0R4PDQmH7tzc9qnTfMlbe3hwRNedjEaWfbI7
W52rSnOZjM/GLTyl6bxOB/tWX3rSSalUOBecdEvQbH0+zAKJU5fATGqc7K7qgOopFRLzup2n+rTw
lG6GfUWfHOXCs86lAj4tnQAAOu9frSRhGp/aOoQ/Brfw1OadI7Lioim05L6NS+TXwq1SC1vhWF7g
b+JiwqHXsJslnwIe0UWBYZtrduoc1YL1aZE2PpAzqPJl28fWpd+0inZrSKHMJfFO6tZnYJaH0iqL
vVtqaldj8Hhix3P86KPsvNGYFF5UysydA4zOa2VVxhmvcXlxrIRjOOuqUcAAIGEDfqFn3TTCd48Q
8R30SG3qPKfFMG9ma7YgysWu2vaOPR+6BPL34MUrYTl2t/ng5FFh2NmJ1Nx02xpDfaYZjTlC/5n0
18IcYthuwE+5lMZzlVXqZDB6eciaoYZaBZPmoJmxfexVrSKy4ZQPkyrrt8zQDEREUh1E4tGFpqqv
zwtKBYhvfZndLaM57/XK1x8kjf+19DVeleyn+bywDPg8asiWnQPciCW4kUeBBSUp1DEF416M0r5J
BunygfXucGfiuRZRD3Z8my18jw2k6PTKneFGhIWyGoLqlukW9io0pHnCzltbsjkytHhyt530XHx3
Fz7HrYCQe+XrGi/VC7JLlQXZsZWeyRcq27BTuDzx1QXhYrkcC0K5H9wO8k/s0uNTUy2R1Be545aK
O81tPNgPAfWWgloxb0wroyR1NaGabWab6mDVWX8yNLA2wQTt4cuyBMsVXLblmNaBvZOgvszeC8c4
cRdgMAtSOh62ssdvSCsnJ2q11N3DvvQgLOnNaTctMVs984atNkh4XY1K+dISF5KkVKV+Jw2t+dA0
ouYpJxUEHc+raCUTBl1SjEFoVQ2kSSc3ql3ObudFHlDRqSxjbYIOm+JqZXhGLl/7tPOaMOhcoJVY
gzVdLwbzmMRMm5VTp8kYY6YsqyA5a2keH4pkzo+pPsCTICaFaE99Gkg3bcsBze0UNA+NMmXNK0kS
pOGVDT45rtMmy6pFSr5rO3+Gjt9edfZsneduai03btLmFJGmnxyyuRvyLdGI9lFTTQADZRTqaZRG
+SJKJiwb6jxyW8GptKjVg2FTDl5w38I12GexAwuep76pVNGeLmOS1mE9qYcgzvXbMbWKs7TT5oNn
OcYXz04miCKLzkwTceXlAkfkYU7q4XYRyP7HG8J7m4po5Mr+bJmac17XspPH2B6WKwMqT1d3utpS
b6avhaX6V7+CGfNlaRG1RwwQm+xcTybmepsRWkR+02ewErawFqEXK7D5crUvrPqX2RamfsidFq65
NZRds2WFaP5drLK4Pcq0rlTkmsPiha3U8mljIXgRm1oT851bdEkt78QgCL9IF7ejnQkAq/ZyKt32
yZigcAxFpwV7R6jO2Lsp1h6lmHPIIExk78o8N5+Lflge8pICaN+7zQQJBZrw56UFPGYLXIn0xhKj
AOOXcqIYclOyk4mEDp4PYn6C4Ki9+kNbMrFDEpLtVJP5L2bq8cW5qszaXYrVrHNDT2I1n6xyJi4t
nPALpBJfKnDsD0OGMmInSqfpf4cJvpNGfQthmW+n7uuQBWkPs3/Sr+kJV9DnG/hDxHGtg7ZH9l5d
FOJ0QSHLWbBx7+GYkkmi9sFWRfrO+cIogrSA8SxRUXaqH94DRFbw6C8YxqPZRc/KZHa10EOC+da4
Wk2amJaC1zhfTkkVxkUVIs95Rzb4Pery40XeoEmpbICIuUjaXMn4NJ5ev0EaOKBmNohvH+Z79/Cm
ezeEtdhNrqJR8P6dbKeVAPOJd/u/u8pb6GhyWrorFdnjpdbdi/FS7+9/fYU30YdfnxPmSxYeGWs4
DeLDN4si8ZLEtkgEO3F28MxXRxL/Uhz+o/CPdYG9efEAHjoe1RjnOM5bT3/VW009Kixrdv6JdVjl
7iBu7y6vn7x5m4wzF+cDrvGDg1fblHZf6UVU8/CiqUmezIAp2K8f2/dI4tenBgpsekxufBLM31pj
KdHKqfKoKkakTH1qXxEKvKO6vxaldvfrSxnfy2//uBYeaCRXrWYmwXq/33y2foaOxayLqN1mdxxl
t/1NfqJt6yakww2TR3GzxkgX5/JBffz1lX96kx5xBMTh/iSsuwLCQK6VRzVe1VoR3JTe9GkSH5f0
nbS2n70wbBYMOEG8tuCt5ZpVQF2gao7irgsD2NCFeM9P8Y1P6R/P8JtLrFvjN88whxo4wNVn65sJ
pkxP7KOzR4l0+q7Vwk/2WPvbewFa/PZCcZZ5Wc69rHEzCTqhUERduGaAyKf3fW5+8j19d7E3KwMJ
WO0C3nFX1K4n+d7BPiJ73/7lvXt6s0V0ZT1lJZchbnlrRC6IOakyB28vt2Lr/M6v+LeH1Bs3qK9v
inMBfbLnYgfFp/X9A7QLc86rIf/6AMvisJpVuNHo7+tTb18Rakbbq129Z5X0xjDox6u+WR9TUNuA
sXzPx3yKlog45p05cOH1JqE1mlg1vR8X85PnGkCKMNe8D8KJ3iZNV645BjXT/eAWRM3ZoY3eJEdN
bFZTmP8gnebHfcTncqYFlSwgYOSr/Pabb2Bapg62jcRla4iQRr2CnWo2cXFrIsZ81m2GD4UKFbXQ
jXVlHP/uVsK1TYB4H4qIqb/9xF3MdexsqKN4iRlXKeuEYucLoO8Cpf29CIE3fhbry8SPBk0yNEf/
JykcK7VQLCjL1htdIkGwlXZRX+JNfNVsHY6cem9o4fj8nlnRT+qr76/7puQAzCy8jOu2W2MnNv25
Ph46/GKfDPND+vR79FB2Wmyry9TcorqSr1p2QSvx3u/xs/dMyia+sSZ5mz94MpuYQzZ+U0Z+lcdQ
NWwrOV08q3wKrLj7bCa0CZyPQIJ0D+/EePy4H/EATBMqhOG5+Ii8KYogEEytXVdcOe6Kh5Q+Cix7
VsPdvCT9a8WBfTFmsrX5peb5vEy8wnrHTO7Ho4TfAKodJFBgT1QH3+8ebSHhvPtVpLHBhMxGDKYl
QffORX5ymnBIra4bOKbgW/L29G9dpY868kNpE2gqPekd0Ld0EW3YdA71/4vMenMHUFtASffyZiPN
d6M4fqw/IRHorG+Mq0Ax335Q8WiklXDRMy41IOHiTq3ae/7Yw0pZvCDf/frz/dnV1k8JQ1bqRBhU
bx7rNOYCGlM0BqaC4Z5k80UaTAPUJWQUY/jri/1YdkAJ/spahqflY2P+/cWSrEUfwPpVdWee21qc
no/6RFJQhRH2Uw+N5vrX1/vpzVH/0pOANsNL/v56ENAs8D9uLqthqjTTfKog15/7CEbfeYw/rk7u
DLOdtfylavTfnG0i9pGAmWVEkSz3KghSKu5yfMe19ae3s44X190PxcObo6xBfhl0WhlZPXBul5dy
5+UWigXIwfv/wYMjgwy1m8m2vg5Yv611AC5qrxvLqCbk6HQUmn6nxc38RZaz886V1lfwfePAgyOB
C5IHWaeEtL+5kg8Xzw+yqMKufNcsuuo2VZcHSeQEXn2K8LJLI0s49Tv72U8eJdfTHQ84Dv2P9+ay
IlGBCGooP9g7q+wlW8jUrOrtr5/iTxbFdxdZf4lvjmVdg5weVDLK8zjy/Rc4wu/0/e/dxZvXBDkw
mfxERoVOghp+BO7BGhMrCkBN33lNP/lyuRVKGvamr1P372+l8HWx+I2M0rHc9oLAvdI5pslzF9/8
+pH9/I7+us6bJV71muPSgUVDCoN8YAT9uWzecSf/6VuBNIA2YU1c9t8oFPJ4VTzxVjpVZXDHg6Y+
oXV577j66QP75ipvNoQRmd7Uc5XA1HbDmO4L09lAXThrmqevT+y/FJF/rtmHq5QFyQqG4SZaCM78
f88Z+b/P82v6LYX5p3//DxENP2n8apBjer9Rtq72OBhkwKzUqbn+ZIzov60JFGyCNn65gFks1n/5
41hre4ZinJKU7REZzJ9Snj8Qpt+ti37uj/PGUGn9PXWXXjzAcyfgTHqb6DElTjzCxHia5VS7W3so
XNVsYN3rFl6ruedhlF65smamG8ch6FdzYinDLtINfgGNf9PmTlLEodUMRd08YaDUVHE4EszuRXzM
w5xEEtTfe/n7C+//N6slm83g36+g6LWsXppPXfryj5vXun8u+D/Vl390EOQ3FXOFbxfX+pN+X0uW
8dsKeUG1dlhJDn7df64tw/zNxGoeiwOwKhP/Y1bdH2vL+Y0EsYDFY64unj6L6V9ra+Xbr+EXFs0O
xzzE+b+1uGx3LeH+OmJpt4lgXzFhIv4wPuNQ/37vHnzJ9GViwmrazNL3bZ/OdfVFUOR5p0umNO3E
04b0RXSTql5sA3rmSZWWwafZIWsUbszopAw7hqz1uhAxbckETl9nnw5jsTi1bTiabV2f+Z1ty0tH
Z75xtqTwR59gcTfZp6lLDTOEu9RqX4gyzJt5YxQomc5Qsyz5AYW4EDB8c3QgSeiY1DUqLP2qwiY7
SzSPMMkWI4Qj0IGP50sx56ZU4dAa9oQpQVJbFd5IvlMzxDeNzhoYZLcpmL3ZjeqKxN5efuyFOTpa
pKWD44fdUHn1+Ar3HikMM75cZfQTQ0taxmZVuSNL1nUNlUmoOcoyxGZUicvIX9P0Pqm3aur13AgN
ufQTZCoq67QI8e/t8JeWhRkkn2DIljgyaMqFqI/OvWRWGGJGkNuvYqSFu5LjlMM2CgyhGXC7Mrdw
CV5H0yplqONOMV4M6G6mzw6iMI1fmBM+uREQ5uUZEqZG2htTS+ZpV2lIcj47Lgb+mxllNb4qiv4p
3XZ9XvpP3qB39cuk+QuqVkNBLNp2AguOe7uauuUyd9IhOMsTzGM+9qlnMWrr9dmzXsq4T7WXOI09
5wXiWIzlRupWGkOmzjW667gf+yFhjMnpJlD5mDg9B/BOjEdv6VDnhIiqG+9+cUTQnkHDyLuHtMFi
KspVhXjPGn3jKqgqb4RzIDU6vbPBRFN+BkGu9Pajv6SYSSWpiepW7/N0PsCvqaxTu1j65eDAEgke
xhjevhnatVWWOYO6TC9wUodvXuCF4rfrYE3orKw++3/sncly3Ei6pd+l90gDHPM2EIg5OA+iNjCR
ojBP7pifvj8oq+9Vqqo6u7ZtdydZUhlkMOD+D+d8RzY7d0TOEVpw6N2D0ZsehoMu9qP7eTQKhF0G
QSVnw1kkyye/980S+I/fVXeduUxIrSskeftk6fn5t4PfqOQ5b4bYvtVSi8Ejv+S2ro9xUpmVvVna
1sy/Tpku1WkpkT/8kL6euV9Knkp1bswRq1xAZiQznE1vyKW94J5FSbKJ49Sunmpsm21oCHfp71uf
/d9hxKlAskHhRs5GqEjnHdataa8NNo4yRGK+/bXrCm+CKeWNfrGdKpYBIY2tp73CfijcO8233fix
BkaQV/BsVB5ZQY30b2OXkxs6VUk+HADmDcyyyLi157Gwz3EZfxe6VpbntspVdpyQrNvbSqS2dfSh
9SQhQpGR/BhPLBUyEZ21m39ryKmr7weRTtkzUrxxDOomkvWlTVHH3RkAizDMZDHuiVNSjOl0Ah3j
Vn1gRaVnhoUlW3/LZ62rLqnd+VUIxZ1s0sCMlRZBZZvz6hGRWu4RXiNKXEcoaVqtDMZCmsiVMdfH
7j4ZyIajf4CKm97qSkTjoalWObooNIXVpXOL/EffLY4e2qXIsEHHAx6DdzUOQy3CjIcTg8WI/tkF
vK1ppnf0lkzhw/YAhrCwT3hicfE1vXCbj1I0ZR1iiPfMfoOepXfP3RI1+cPkF2DkAitOmvJpSapu
gclrzK2yOIL02Qv54CXOrovaefyW9bPEsa/VHN6YuKOKD87GG+1F3viLQpHBX7rGVJtVpu68yzaS
/Y+cVWn+VTOJSkwgphRpXu/TMffTZ1UkbnqpFfAcf1MYdmyrraPMRX9t1eJYw6pxtDBbDAOSFZh7
iUpqVBgGO+b3xATIhq7TamJHBfOQrPvsUqATQSJiSIdoHCyahovicSlLRqpl7+iIp8z1qJAHgyFR
AaMF6NkybZoY9+Ow6Ro+bWTQD5EOkTU20nl+yXLTyWpMp4CNUI4VTZV7exnVll1gtFlG/H1OTARk
hYHel/IlW3JveKt06auTL2akmGDocDvjinHnTA8MvWkdjW+xnxRvBx8IPd60WTP7J1w++nLgf9WR
Z82fYR/pjfI/y8UvUSEgRvfu4Cl0hQyWsYnuU6cccn+D0XZy38qctffBbbBG3MeJ27v3facqK+wh
58FDmKL04OjstA9KzE2+nepYZM8eaC3vvkOIMmAiS7Rl9VeAAN2pdOoAFTrRYGik4HrS1DgfED49
KL9m47VTBd8UfjLHj7RDbwztLIKp07R+W3kL6eqJrrW6HaDB0KTczpYmUAh0KRN39zSWfucB8/Us
NABVkCWdpk5ePzmEsbeC23x1sA3pxL3Zj3XQY6jIf/ijlsTVJjeRin1MrQvPSYxm1pwwU6f63i6U
HE+ttzIfeZjdEc4F0R04FdyYk3I36WbKI7RK4OPDjAxyul3QWDg5hA2ieIMime1un6C85n4CmWLU
IWtzzYSMkaZGfLQqCipMX8Oiy2+z1o3igo42T65OX5Xjbefmg3an135kkcZplmgzNzNDwHk5T0JX
DRDGUu9B5sdaJMICUVqErnQgySyEYzd6/Qe/NyO7K+re7j4ATseEfMLIMttv2HQYDWwAPmq4ochU
sfqvaepzR4YK95z+MfvDmGDaSzOEfFHXR3kdMJD1f8r6ptyE3KKZJRcY/6pNruAxKMj47rxMHOsp
iR1EXulUPlZ8TuHbDVoLapLMKRLqQTPMz9Q9zXdgdFm791quYz7wrU5CZ8u6nhU6CojGtnPoQ86o
6vRGH7WsgHFZtNYMcUimrf5V6hrPOtJaI7pHsTLK/Tz4yj3oRTygL1lmx12eIyA+YJcnB1H1xZIE
9WDrlqVbUKokefbOp0si96ywgo1f51o2xP3ZJnoOZ5iQ7ZBAJdhAppz83xaOpCiY+9VhbCFkGb9M
k7NogG1yLcdP3Q5FWR/budXlVx6lKQHM6SjjFR26tUommhwNVVCCMfFuhkaNLHtwyA3HRCJBe61j
e3QhqkzDjA0yTnrDO5aRRDdfTiWQI0goXn2cRAECdVWZYxHKJjcDSMn/PhoebTB9QiO6Th+ss91U
sX3WEy13z3Kk1wcJlK1VWgXE6q5pxopDMUvS1r8HTmhXN64mPO1mpVwud1zc0m0DtF/9eBd5pdDP
XTWZ7GTnUXIQziVM5sfYb0y2O3ws+wNnUM/z3ZqIoK/2QAjqh6q1LHv8z9ut/0/5t/Q+/74p24BL
+Csuly//R+f1B8RjzkN+6cxemYoyXPyzq9f/YLRD505fr/uExHr+L239Ssul+QK6RyAVjfd/t/XO
HwI9FEo6y+FZcG33PzIm/0wV+u/GC42gyRrBZRzMTo5RvuB7+HX+Z6Jdr2GNbpBgELRzMA5l8EF7
wU5uW4Tx7u/Y/L8vL9bXQxdBqhJbfcs0fhrdfpk3GnA5UQXSNh3jg30YzvlR2xenv19O/6sf7C8v
tHacv7xQzTGadLyQfl8dl+26yNWCfjf80Lfllsnt9pff9z/GJb8Kcn4fj/zTz7VO9H55ObduNUB8
NGTGRl4aeBYH8VlzwWwJrgz0XdJ9rGEH/w8/52/D6X964XVa+csLzx4UNg+amHXlOKN/Jr/IOFe7
ck903P0ABIH9f3YQZ/f4Nz/xX1v2n5+cv7zBvw1222Q0l4qiLzvKY0FnpvZaKENtv8zFRmyS8O9/
VhQZ/DB//bSu0zbGbSzXBF7+337YpM+j2YPOAPLVJPqPoYUNjMhkQMD5jR/UzfaWXWo7P0O1Dz8j
zbfzDN4jKGLNH1+SJi38MIP/8iNHjL433Arq14Ayb4/GhcsbNbNJgwtqMg7qiQg8mhA1v6SJbz0b
TWOcRthC1wm6FDE7fJW88aYKqOGsjS55NGlmnry59h7poMbbhjnDreXEurPJYXYUAYSLVpzlJAGA
9Slb+QPQO/WQj9YCF1H1gAp95Lv6Zlb2fIRVXc4b1ZsZbZHvZdfBGubuQcGV+Oj4pqczZvjkJlvR
TAS7e/s0H+t9R1AYtpfexhVVpyNRv3bPL6SuhEBHq2dHKgUMlRh2ntC6pqesMlOkt+zUEC8n075F
z49B0TaVvbMzvdkqkiXvtLImzn0Wkbd3+mZ+nWpnOVt+3yBbV/iK4u5k4ik6L804HFM7Kz9tb4ap
opVNWMgufyphzD4upPimGwNaWbyBpJ+mAR6t4tTj4eA7MIbHGifUXh86/6prdn9sAOEcHLe1fxgJ
utB29qcrFrD82oyRvTXSft4186BvJ02fcZAtfdAaPS78xKn8A/g49zguVsOARZUPepfL65IN0y3A
BPd59krjrDule5zSyQuXAWVonawhFJBGTmRl1qeoHJLjTBv/zbCSPmh8eji3KKwXStWKD7crhzBH
QXlvNfR/0FXr8ZsCl5xds9qaca8U02KEfWU7r5YNdNfMrAWqstez/bAXrAd73h6rxu8h+Kxm5VC3
l0VT85d1kUt8PWfoA6259cAPm1GbN277boxaawRDrMv33h6w1cG5zC2+dsnLfTMMcUVLt3hF2C6U
EZUlMi8oG8PqNgo7lhmy7ik+HWlTUgrM2eZW5P5YbP0Ety/mHurwwNQsw935U+RCL8uKp1jvkn3a
4e4e9EoQ9JdYrXmLLJ3s2W5UQPUc0A/xqcEFMxxMKJb3el2rp7J18/tF2KrcVpGOfBXysbXvSo1d
w+LBr+wTMHxw43QznKwq39PYRj94vyexN+vcOFJMl2eSMlr3LW+EmX9ScXXLrtFbdKq1C3x3lwMk
azadoJ8JelWDn/P11D8aKRiGDUwk9dZ6mXNsyoFU2VwMe6tZkci6NllP2BFhTaYJLUfQdKWzUEQP
yNH1vvfpuXXjlrVvHzodhOBg4Ho/IzFuv1R635792bEOedNo2dZJjBT4n9lxYiBy908jcG0vKPTE
e+8dzQw0qgCgRI4O3wOqXQ2zl27bfc1SvXqxrDF5gWHYB2AptorMwU3jdK9mp9qgM/TiLvP68hsg
QD2HEN6mAKPH9DINXXcz+kZj7ODp1duWrNewGdP2pTOwW+I/q+V7VaaESVXjDIfWWfeWDmIPHGDJ
xWxjRbFrExVWQan61I1eu3Em030Zhjw5wSAqvjVRl1wsD1PP0C5TQE5QvmnBlpw0K1ahM7jEk3tR
tRXIPM5ul+AoU0V+cCTMPOawJXqTttTCHHvGld0mafTT7B7imK+2iso6ZXFiHTqtzncFi+5jw4ho
B4ervzaulDfwM/IzzjXzMvpufRyF7IAPVYRXEW8bKgvELK6lnMEOXil5U64oaOB4cQFddqkv5oqK
HlU7s0V3rUPaIwqx1eh8aiVc6VHW8sOScNkn1th7ns/1m22WUHYYeiR0isBYEdV8/qoibCy9GncY
LKeT7vB4x4HtMDslGhb0fOBF9XzDkkNe4ZDUR2HySs7KxsZW27xmvaaFXjdG4QQn4SmfzfymaCxt
O8RLFfYraxsAImgTjT5cqbLfR5EsgStb6cqWRq9vrsjuYoV3z5hLr70Yyn1fmeMB3km2xV9rHdgJ
JU+2lxZ7YjjNvbFoHfREB++YsNJzHC/xlmlytWWoY4XaDFIcFNh4qjqR3ZatjN4LH50g4I3POeO9
y6w+CefR9w8RrXWA8dO/SFXa+7mioXGjJmOHkzuX3sNKwocV0Lk2J3JbtbHx4K0Y9BQw0gkLEPkC
KyS9jDtw6SBArsLV/HfmJAUePaP5EHkuQ5zC3LTFZO8KvWh2HGbEGM9iPk64DsMKKs63wfeLHaOc
BeFCZx4tCc69y5gtMYU1vnU/ae/WnNrf6hUBbxWJHfYrFr6M3OTiwaV4KoeYoWZUsrLNmCyobiLU
YYXL+0vivE+QRs6xAjo5iYb5M0XrPRSh5FrPmYtsyOS2UlA/72d4sLvJQ15pxIRCkxGAjYoOP0xX
6L3feu4uYbd9dXsDf+9POL4ZDRg3jO7SQuButvHcc7vHbtJSNhVGclutoP166KfbDD3NJWEZg62T
7xnjdaMwOaIB3iZeTENrSA1ucr8kaKQNO+eBc/nRCnvgj20/6gCM4XjK45KqBAdLArd1w8URxWcn
EtON101wXnawF0mYCfJqiY6VJ0V0q2o7FSDUPJxObqFgiI+Jku92BiNsY3i5sMMuSrQ5dDhhX5mQ
WebOwzyjAiyWQ7alH1/0F78WGL1q2xjyQ+kpPpcKzqy+KesG1nDp0dVufWiRHNd9UecYWT0QPXgX
zPxdm4YJHX5sOM9j2QoXqE08OtZHiUSTsdw4TfNlyHLMaDFrDpj1+AyHD8wps/kIt6k49ybPj0nh
1OCSVTpidduegBsxwRUxrhBIgPWdht4xDk0UI0ePXOUPzVmWWxq08QqxaYFu4oNYYx/Djqh1Tg0+
Tjb70t+IfPq0G5HemZNqntyJnO040paQ8I5uA+S2vRFamm51yFSb2RqjfT5Ww3fbH7pvAoZKDqVj
dvZuN8ndLIbmvl48a7ek9nCYLYOEAQC5WyuOll3aDNyuyvC3oFDbnRJgTIfOJvRY5fNWkHS3H63J
gYI8Y9tX88DgIIl2Cu9OiFYg3udV1lIae3F75xUVHs+eWDJpJgYZG9V8EFHCxypN3JcGx+HWaeru
O5eXOveEiceklZTtFfPgFFpkX4Vdw5wnlZYTzG3RLje4c+1Ap0o7/M/I4E+imTARhvz7mcETN/Ov
y9qfX/7nzMD4g3XFKmEBGkYQPAKg/zMz0Fj3o1JnMODbZMisQLH/Wtcaxh+MBWz+BSKyVdWLnEP9
GZUDiwJFpovwFeSlTrD4fzYzWHUhf+nC0L4geCAqB3YE3+hvuhFOXOIzAOSOgbtZLvbZO64psss1
/tsY5t/9ISyD//pSv2ltTB6ZeeGlqByP/jkOyVsIjKC7yU5/Jyf725f6bWDA2hcq1s+Xig9r/zwz
jpOh2HX7Yt8QkPDLL/tfDAzWhfb/7T38bV7QT7HqYhzX0677mb24iuflXv35dP1bPTsayX/xOmgn
YZGgJFpX//z3X8YDXErSc7Mfuljs+GAyyQxnt+0obmgeSl2btwt14nKdmXoDPMrr2jjAOWVtLmO1
3Cy+pweOJFYwjUo7NMGAhZpW+5eB3xx2QkuqM4VP991wCcXO18OF7Ih+yxY7P/gu9ufWszDsFgAg
c+Lcb336EirJQWq7eJ7xpLO83TktCrfOp+2Y1gMuGwtrpyHy2o7r8ae8xNlE65E4r4djth6T9npg
8pRQA8VjHurrcbrSZXfLesQOmilBa7TOnj0PBcmsGT+K9VRuKyvaG+tJXcJL31rr6T306/pjPdFh
nIhAalbz5KznPbXip0MnyYrK6k6srp3Tst4PGsfxPlrvjMrNp6uIRHIepw5Pt7VeLvxBUKe7RXpr
rpePlUsyiPr1RtLXy0n8vKfKMZ3fgHg0y71g3Gw+W8xsSQeuCDjZekZXdLDqwakHfaz88lsG74qk
88FPLUZM600JMU/+8M0CvHor4i4mHWK9VqUp4W0yNWClH1Y/L1+z4eLeeBVl2bH5eUE7NpqFoIc8
UH3hneMS93GcwyNvtHTeO5mGHOHnlY+mRLKqiHpCAaa1KtDostudFbXiB+AVH+9tjKvznsimOY5C
iHzktG9zEkOoVIy2v5QoTsatjNpouExFrpt3c9pUUWC18PtZ/VG76P2SxuEENXW//BlJJOpyUN+N
mHUyZhxiiwr6rQAOZ76bfUKN7ASQiLVrYxfqYWTA+hpSWvsqIlnZ6tSPOAepFqd9hCRJVfWd1VXx
uXdK/4cNJuDEhTiHSxRjrsYDUTqBTbuJz9/AxtpWwnzOYnt+cRLLmJgk5Cy9tbnmBBqK9MURbewF
maDX3LS1tO+oj3x7X6ysc369MrnxqxHUGStd+7GctAGuhsH2nbAMYmYaX8tC2Abjcz/Yzrkd8uhL
10bllsQN++DUxrQDnEtMFUv6sJvt/AX0ScUql7VtA8blE2X3+F6XRfTc6P14xueOKsXMWXQtoi3o
DKBLoDZp2cMtTRomdMDBwoKv3UwewVNLJoDYtApHv+uOudqM6Okzitt0fs+o5o6smXQdgK5aRSHK
08oNuHVwa1laTm+dZSLbHObirRwn+eCoNNpSzNRsHUQ7G9s4reYqSCt7CgtH02EgN/MhZTUWEmki
iw0CGPdN4uQi5pP8qBBGoHczto11GM1iqVkvTRlBgO644yupuUcz9s66yGCF637ZPOtrJpn0Mv1e
Ot7yPBvahF+bAuaxBR6d0spnbRAvWh+AxdG7TR/ZxaWqpp51fObV33GlNiMy1DGvNxrRbYexqN3b
uPShyhi+9lqClvlSOAVEjDqPU1J1PBKrgCiHntlaB2fJ6+M8z2Lvpm36gu5dexRM/cbQipLlk0wf
yV4s10JdTEUc6uzC2y0TJR2Oi0J3vRnjWp82XtoNezQlyaPeDEhfoDt8ZFlCWDmX94DZTUjUSMZ4
V9pEYW4YpcurjKppOw5pvSUTqLwrnNq6X6vxc23T3lZGgXE61vX7RfOyQEH1O4y9SPbIn6ZwMjGZ
y9JW5yidknd3dgCksyp6t9nU3Q+VVvQ/3NIe7uzOHc9ppuwb+v884KPDnlqU8Y30FtJCiGb5zJED
3MeetLbo4Kk8k2T8vlAi7MleUvs+yqx9DtjgEbWPfxRqTHcteSEsxgxl7AQL2w0QH+9xXee/4sDp
H8p4jh0O38g8MdXEWwhs+AtbS+trSg8cTgvbdIXs4YaVWXSaUyHO9eR71wqe57YsyvzQlGJ4gHVU
Xmdzat66ykcdVtZB7WrdxFteTsfMi2i6mjVC2ZKDGfqaKPOgnt2eKteymJcAAXaeJMaNzZz5LjAs
y7xJk6p+YmQX6YE/JO0VIHPPIdH6HzP7s4VMFY1EAQSO3XnxI27uylxRg7nL/GOQWb4veQGk2xOf
D91LX+MKiRs8qtbdWTwih2nAdc3fixIDf3mxosiG3FxFV0s2hNW3UUupQz1yBC0VM9bKcvhbnWz2
mqczirJtIvBE6l9so6zC0c9G0FBD13+LwGOKjZb7jKroGzcSudU3W3bwd2ZhzyA05nS6Bysgn8eF
KA3FwPhUzW1KJJuhqVd6CgcJU6wOhl3299agp4GbVP3OYxB2Mxn6so9a2t20NtNgjt3vtjK0g06U
yRu2n3WS0BCLMStwzhs+98uFoMVk14BIffBkp45+Egt0ZQ009E1cKux8lVfy3/XkQaGMCcggTk/m
FDvPKpbxOSmi9napvckJLLtyQEsblXa2hsj+JN+D7QOtuHOpDQ52qBdTys5KV/x6CDiT6pCPiVxn
Gz29TKs68YLAJD34UkUQowxHfU/QEGoHDeWE/2d99z+S5/9FA/JLqftPqQCX9P1T/pXT/PNf/Nna
aO4fqHhdjBH6z42ntYpK/9yHajQw+AJdGx+4g6iUvf1/9TbeHzZND+pUWhdUovaKs/tHb2P9YeJN
hq+M/h2Ln2n9JypnNCt/qZd5djDh4CEjs4bGa/WJ/7VetpDXkQG3BEMEdJUiMu0d1AUQTbm7icuI
2A90TJwJxdu0ytTP6ITyF2JIWIzUznCgf3Z/eFXRPkXI8fZRJ4bvsRLNg58gvInnNrtjOmkcCqLJ
2rChuTpG/aIPGwrf8YjWFgwaD8TLlAqijhkB3w9FP52mJS0PsZnaN2Bwhr3pzvrdGHvRLpa6upn1
wjxq81L/UDIzP0TddW+qnIx7XHoIYUvPLYcAFJp79dsle2xqPQknctOyIFrG9gGsO4P4aRCvPmmQ
n7Pjg0ghpHJHfN4cJsA29lXdyoNVTIhLBJ6oa9OTrNel0jyVultvO08XX7Te4NSPq+XSIK1hgcGW
5rYXJkCnOOpxlerGuFVOAp0ZawtqUrs0ReCNnHE1Kp+dDTpoV496cSm8XjCIteQZqY84etWaRmKo
6N6Np/xEJm4VLEgmvgGRWR4LkkavQ1brZxY5+l3RGdk5Rfm5tbsxtgIGfnFoeWUedgyc2DNV+njL
2yyfss41vztrTBC8Yso3wynArpiDG8zUF/cuSllSOpsUiB+aymRLuOgUalBpdjnIu/dCeuPByy26
JgskE2oM0Z0H311RsBNXX9ThqGEL7eyVQ6CpoKy+lZ5SR/SgNUArDViPK4brRMjEfT67+i7Nh+UZ
X+kaSjZaxrmUIjuScD0/Au7kc6JrZMEWenp2tFm9zr0br+rUdD53kTlvNXYSxwht8iGbtPFxGUEC
WoPt70S00nPioiGULIHrp5WmfEhya/xIjKY7GEvK0qhbkJelnej5qjYlgiHrS8QvjQwsS6Y3Q2bo
Z9hC8rXMC43xazfcRfGcnLO6Ex+moqxjdZmyRkWYF46ZZ18H4ZR7lHnzGfZc9D4ztZOc3jD9NpMz
p5fUbSFdxzg2f7jSaqnRxujSJyxLya9UQdGoLBTsIS95goXSc3T6VS9yWXmlU3UWkUGPQQLArvQr
/bHyJWSapFAvnYJ0vAFANbIN1EowQo6tPbBSa5KtpEB/MCrXu5paO3wQ8CkelZoW7mqh9tgetK/w
CGxoXf5SvzbgSp6TaljC2jP6o9nY4splbNw0g58cW27ui2cM1T5eyODMpzR57t1JvwqcTdeMleOO
aD8y54pkCSfNfHScudojMHKOpU9NGDse3U0fA5LxWbsKUkQLzpVaHEcW4NvazNcl3kPTKHXWp4QV
cGv1t7Uryw2qouhK2FsXurqs9gKJwHZy2mjnsZwJCcaAqm6zgOS8lEFGKN1+gmu20fM6f3H8cjiR
nVd9qLYdwtnsR4aHrQcEULgBGmn5pM9MbEn/tO/NHNWoJWZrC2cODTCBmdExypdmDa4zwjTxKnav
BgA0I2rgzcuSMAkt6acgd5mRlYC8eWAQWtYlDHWOXbX12KkQr+X0xYud2/kRscgYE/Dl1XeqnBF9
EqxZEag0sV8ypHqy0T0iCJVD/92seEvcBlOvL1LBuhaWd7MdKaX1TTTq/iUtZf0lnQHybPxl9s/0
wGAjQdIfG1qgGj2ZUbP6rpMiCQvfZvtXqbn+niDri46C8cm1j1poggbP643MBDQco6Ew0DJHUd91
7WNuL8kFnldmHWxQkxvBopMdvqMFnV8DBrdZwd+MZkUHUdvQp01nYOdSNeLayIjEJks0+9QAXldJ
gkHtSIrbRs7LE3GVIjRGdzxE2eA/R25UHYCQElk4jpp1JnQl2qJiSO+MifwyOTn9Vrl+tFFR024U
guiNThn4OnuxqOEEiv6g90O3XWBRbRuE5lswjCxh9OVGJCJ+7lrTOADvnwNYXiCBjbm4m21FACMZ
uAEDlZEggSE90hPzQUfT/2q4XqV2LmxE/PPQwLLN4lWJBRayxruPrR+Nsac/IqHNQg8h9I64Oj+o
sWOEMcq1B0QZcVh2fXNwHC26dQZQZhn1G8P2QmP/02qfVawvetDQsRpetAVZpu9M5azNG/ryEK6m
fK4IT3kDHxg/p2iUWbAr1sqgz8ZiRylYpYyU3OhLg4h533lp+5Unqwi7clnu+3IEY8hpNI7bduhh
VTDuP1YjNoGdr8fSOHlJB2eJO4z0ZpJ3KoZjZrFzlp48PrKpNfYtkcdkJS2T5o46vD6MkXR+FINV
P8u8yvmVMroC+tZsbWEDZFwsrdklLONZ9XSTRnhz2z50bZm/xSP5fvQiZH0LAzrWONHSo7xMY0Jf
5dC8Eulc7umG9fdI+DU0JpOouqj1yC4TTkjmtb3L855VuFVQ3pa0c7fc0vq9oznVFSFvdxGLOdyR
E+RM5MC19m1aF8vXpin9fVZ19mtWLHz6p16+eXVBNF+zQiYwUURBu1SM3DSyjI61MmfSDzwK9aQZ
a9D+hdh5Nj23xUaBoAkT3uLJL7r0e4Px5dVri451UJNaFNdRmb6VBQ0Jho3a2FpTHD1IP/K/pnT0
2zzr2wdd57QYkoVIR9fhSS80/dMfKnGICmG9DcKItmLwQHIaRM3wonl6cS2HRrix3FCkJDMtYBYu
4+DHe0BP8ghkH1JrN/Ykf3YWF5dCtCqWwYFUg07gZrTcHDvEuNRPzSBp88GJxsFQOu15WGR/TwTe
dEZdPs1bmQ40RC3E7nfM7faDclX9BOBvMYJliQStC1vefeovsbn3RZx865A29x99XfeUAxQNiqfK
HveqTrpyQ9ZCxzQmalEyL7ow6FTy7m1GfrL1TIQ3HPvNKyHv0bFu4YZiX5pPMxKIjR7Z5o+uZol5
1yXCuqlJf0bKQRn5ZvLDlEieeJKZ6CS3uscpkMAmXu1PVRygruFsADhY0IXbiNdhl2kvMh/KsKTt
HjYqKZgtjboe7bvCNV6VNMuHaXDrtRZtkB9kVRb0YtYY32kE6jWttc96Iuw3PmFBN5JEtx0+G8rJ
pB7lpiOX/QuanugLiyuSIRtZbF0yvy+dZ8lbO7GqR4uT8aoyn9g/rR73JsfQtl+c+Di7GgMnwsLg
Mg1j9LkkZfQKGGoC7zZmyKHgPXwKv4n9kPGam4dFG8evaZXY31c8Em8DqaQPVBK9vJbkPqVvVURE
dIdNQKiGMIu8mbh+NABzTZvUVwJXkiPjmOmiF9Z4cXm6CdeogObM03PrZ/aLOXAA7srKsruAHRh6
rYn4QXXHGJ0LfWP7WoxSppV5/lIXTXaVHX0podNZdHRYck6oPuIhvigYmF+nuHexA9mTfuqGJK4f
8sJEapaaA3xo15+FuUOxQwFF3xOzmU5Y/b40TTJfpzqd+j0IX78JKBAESFQtWoLM1sjhMyyyaHds
eI3tTAqJd1lHmrvCxNlGfHTen4E7F2NQRjpI59QqBmQ4QxXqMPDybYZsCoh0PYh95pYRBbKX5t8c
b5DDRoLp2talWtgi45ljxGqi8w/bZBjf3GnMho3oM4tFCazsbjjHo9yh9u8wROlZ1DCR0UhPH706
ftU8sGSgkCGseRm+1ldir+rpJLlvr5QfSjsik5HuxhNWfOtoXcy3q1DTJY213u8mg8zabL0Q1C4J
oyIjBoZoqSn/G2SB+D2bx3XYsgliOD3M9ozMfuv5vDnBbEjmTS43w3QWwfDE2PRAPupFfCkO413f
B9rV2tW7+f1/s3dey5EjSbp+l3OPNWhxm0BKkqCqYrHqBlYsAa01nn4/1OxOJ5F5iNM9t2dtzHbM
epqeEYjwiHD/xaP3tCaYMv/1vzpBvDiJrvPQo69nzBjhRd9J4wgJCkWzZdOt9F9S8msav549wK/0
mi7etLo4SwhYIH1RakdL4P2bdhJQedZijLYHfxvyMfx6JcACbPtnDKoIIBllHx73bLr3Eby4KhQp
9J0ALGh5wpBn0+6MPdUnO9omdrvSO7scD+ou4IcpHakoTFwIWQBO44SahaPv1PaIs9rK36cEsfgi
mAMCzEYQTEf54U9P7axnVuuUDKEJOmFG+0Y5dfJn39sXw53HzVoLmpVoi8bjPHkzd3zu+EoWNd0l
szoUKDxXsDd5Vh+RHb6hdO0I++z/BRRNpeZiZGehlIWuAJ2P2Wwqc8rfvKid8IQle7TpbGufc5nY
rOparYVbLDzeemOKSZFjPI/U3zaJg7tcsZmbxXm7CZ3/ON78e84+nJbh22u1mVM50k4Fe90d5CO5
eC8fIO6ttFYvLFn+9dkMuvCzNA0Kee+DtXE1KaWQOf5L5/Doh9p4w9rQgc5bM8Jps9bL/QNufp8o
5nXyV8AF4FpCdVqegPuJhZ0cxS0PAXMTOYJlY8rqyLfdC4r/+0lZW57z3v0o7AxAP5tUitVUOmYA
2cmH5MTzfMfF7AhxjG7LKy23dWWya/vvfKDzPz+LqCVo9M/gwuRo/g5L3Gc3TbQLf3m380BVeRNt
i894bTbfx2O8W53ma4sWRJCEVg4QW5R53kcve4BzsLMcWKW37R4/ow0q98fKjncIQtsfZ+aF8tu8
900ADoZkGSRN0EaLYH4+9lDcS6dxsmPyQKnxkS3iIEq+TX9CTNua7scBL1Pn+3iLNSQkvT4qeulI
ybeQB2uMGefHAa4cBSRMVZ7pLqYBqGWxXHo4mRpkQ1Q2RXtw0Ht7876qs8abU99zI12DbcyolvfL
c6aSIOmJli4yQObSyMToLCHPRgyqv4knwJ1ufGDhPHdf+q9qb+Olvqf/vInbzfjmbc2n5NsaD+La
D5A5wWHnoc0x16bfrxcfCin352mr7r29squ3GMftZtqHQNaRbIThoWCAy7TlTTZswh+xk+Xfy5Vk
9GdRvtuk81zrMvIjWBxS8FlkWgxE1Erxyt1Mq4l4dA3o6QZOSGrwb0hRJ9VpttFTuROOsjNtU2c8
1NhPf+tv1lb0xW1m8UMWKbij2tF7RrlLsC8xBIou5k0arSb69+gZtg1RVPYLqoVzQpxFV84zRBZh
bjvW1W7WuQQwCqF2X8hvdb3JnOC+OagboPRbK0YKaKcNn2jIr4kIX2b/+ReQJLi6Iaqhaotl3vYa
bcqm2qm0WW3M0/bGlhKTuOPltf+3sOf/7yb9H648Zwnmopu0b8Ps13fciuv6e3sOl/vz7/1PTwkx
EqCgOPeKOgonHJIsh//tKen/ZUiGzAVYF/kvQKD+3VNC+UQ3dVmxZG7ecODme9n/9JQk8b9Mnbsl
8AdTIq/Q8fob0jlzTj3fm7D+kM+V55YS1Xt59ns6X6xmh+gH7eO7vsv3nC6A7h/NPHJw9ljJvcvk
/icQkRQMt/GKWt5bJXi0VJTzO7o1qDdY1Q9NF1bEB9+zzdhu81gQN56PLY330mLj4ZLYpFWa31Fg
ecut9pOeqE9hLnzxI8SqzHp/9q0f/jVH56w6tvSVuQNjiIErPlVc+RfbLMaDBWEIbJjKrqA9j66F
v229WnyV1FjY4fMo7DQwvZ/HorW+RsXQHnBLpjOtSxiTbCoVx0S5EOMvdV20j3j3sdLGtrRTq5J2
Bm6doFI6D2vOcAB10lYn3UfnY+M3WgJduxuf1TbLPpXymD1Bxo2eIY6U8qNK2T87iOPUGG9x1Igx
bPSu953UMiiWTV5gtRT5/Snee7UPtqtWkyK5NVBRfkpw4IAcpxZUESQV24BNUxfjWx/WcIDwyajf
RDkpj0mgR1tRTdTGbr28QGdewqlwk45pXm90Oddc9Nq0r60FM9qivX1ssjB10lERbKnJSPDYs25H
Gkj7wstFV2LpRYiQGNbeyxW8SWst/JECUHU1MVdPIfQOOzRiYdN4RR5idVELwMwM/s0ODtProAph
u20ENVCdLq0plGhxbh0Q2ovQEU191FfGMJAfygJSQpOK44+mbzI05RAC/Db1MvoHHQInjkIdDOR9
lFoH0NMzQa7EGVuCoG7aBVKBd3qolbehQk8ilT3rLioS/aWcsDOHHtOJT3ni97cRjdtdlKrhHe9d
8Td6HOPJqpqJulOjO5aGBSXIQB/xA5RgPiEDkz1G6L/+ECoN7FyCdfXXONQVNxUM9St62UhLaLUX
fmOPUicpDeoAeLxMMNIxnsYiZ1BmfaG2bCqblh/eARAGp5CKl6FJWn1oVcT1wWTLoXrSAQINO0OF
4f0cqj4scUNOpWAX6FBbnFrNCvVe6fzA5GRUWhPtFCV5TvFvGg5Bp8nQCC2aWzs9H9PiEFOkHTZY
ipp7rKESmO79EPR207WYjaTSMNtOIBMCU6RR0aHpJjD9fD+/L0GfqchkeqP4lMbAN9K4EvamkVUP
wHYRi6gz3S7MWHopraR8lidh2sRVgHtTCPUKFx78rtpU2WVTbP3UhrJ6LoRGPMGQMTdxHFqffd+T
us9CVB1bXGGpEeMUuheq/AakeI8qqQTQJi7uxVJyB1SEIM1Vpp1FFJzGUKm2Zav3G5hl1aYK2ztt
wiBWHiARGnpbbqQqqZ68aazv87Hq79rEmPb05QrM0Hu5mGtC3acBJtwDHkVIbIxDuquQRDmKUTHa
gUw9l3a6sguiTr1l5XlfsOmqQXEF/daDCb8zxWH8nGR+sFVykfJnUXgAfU39R5UAJpVHpbRFrfkS
UgbFjIcK6WNvFMVdIZjy70bN1B3t5GjbN37+JZn7ZNXY4d08yfjLmi0+a1mQyY+IfVi/9Ro5hw00
kP6uNPvqLmgQhTckD30UhUp+oNB8FGStuZHU+ufoYQbtaeIpniz5y9ip2rbq6zd9kmVHb0rhWQAf
GmzKCQNc3ML4fSUlRHUKcTxB9XcTwgfaZqp5aCsPYXFNuzciUFtiIr1NORW7iJVyKH35trHwgUws
EU8wr54wTq5vJVm5FxDFsDGC4FRKe3WT97x/sqoTUN7ppa0P29ZWjNy3p9ZMnYZ78EbwlC+xlv7o
gt60KWtQLe/b4dOYNe2xohWyCa1YP4yGqbwgtSQg3h1Xv8XGjO/wr49OklfnR7yTpm9ekwY2th3q
KyJ3iDWBwNwGQzUek9qfnEHykpMFlO+Nur1M+Tz2f+OWzBswnDqUbWtrGzTVW1/q31PRg66XCO02
8Mf0oYibkH/f80sUIRL9y6TI7X2aGvVnK5wUiCHG+DL6pUDfWh+2WVEYe8WCNthBf3hp6PvcAoZI
9vWYpd+YD+lTaETWIRZlxEwbpX9QZS8yMXmvOgS/OjY37YICuiV4kBBUU1JmXEuVil5BEQaKAbFU
n/invuB7dhaPwj7OG5q0dWNOT1Kn5Z+B9Um32tgpfBFZBnmedkDpZCu08Brhs2yKUe2etCFJ7pUE
sAd9YHXUKVJJ8jc/1cH60Y2ov1hT0r8KKnS3bdXk+p3KWWPYWgdWKqu5F0g6no2SqoX7Gju7UyB1
QB/45dA/Y0hTgUSHLwJnXcjZKZgib++rAKR91bwPezzZBDpDjYy6SNU2yl5XIQeKZvQ8BLzLM2T9
wEiD4iIl7L2hNx3mKLB9NEY3uShvploO7iXTQl8lxtWOhdX16HHX+qeYun/MR/XDypl6usVV3piU
gyXjlXaHtq2xz5ol1wq8KovhET+y9EGtteRI9/XGi0kfCJTp+37wzVOqYNgLmh11GaHU9lXpY28X
+fFPCszjnWamyt5v8mqX6cZrIcnpNzAeGuY5XCE+6dCfb8A5xDet7EfTpjYk+WkWt/JPbROXn1CO
ju/1xOufC0yS7lMlyk6RTJmbDZYUG1kr6o71l1bFVgsbtoFfBSxbElV+Y05CARgwBGneN/GLXqB2
9vF9aWHW8Od6hpSfDJSVlyhC1IurplqOSBQp3Z3Vmf6PtKn2Qo3nWY1Y3AmvMB2gMZh7jASRQMhl
/5CERQ2dUo++0yCu8GzL/DcY3JF3QylZpfkHyoKKp1p+pRGLwNfHv/bi5YwwAS9mLt+IinI/X/7a
JvPCKhmNu6EVHMv/BWgY8RX0sshOZHtb836wA5+5xB1mp3eIgzuvY8uFj36Js5n02fC/DEaHl53l
9JJ3gMOw+/gXXt7cqcqYMhRKFT4Dte33N3cJSrMcGdadr/fqPeLi1dOIYPxXpRCBxU5m53wcTlo+
a+cJmX02eMPPhfRlJdgaM18FZnaX3TZs1EHiqfCcboPdXG4zNwNWbYdEOnjWXq6POD/vM9uzV37C
svY2/wQEH0W6Iag40y14P2RQOqocJsZdt1NeeVkP2/obUFMQqBBvesd46TF/Rsiif8OiRfn6cfBr
030ee/7nZ3U/9IisBDvyu1ptv0iYC0KKp4/bliMXpsqfVoZ6+Vp6P9LFxx3yFntR6Mlp+8PnCFWK
zx+P5qK2t5zKRRkzV1pu6w3D2cI+P2DGhV+7f7IoSQWHcTY8yPba8eOY1xaQDgyS7gjqUH8oYOcz
qPI+s4TJvCMH/B4hN+xMozYcnYbJIaz5jm0RUiHpBP8Tbk9rweel8f6dy4SeBV+UfgT8WFW5NXH/
xd0S7f8wNQ++WazsSWnZrfszrejf4AkDTBTSwPtV0nOUlYgs3anxUcq7+5LGlg+qEgM53i04xXwX
ffi85qePZ/baapm1dDWQplR+lj0ntAU6Hr7C3RTgzBExzY5VFPrDx0Hmn76cQQstVSJIpqQtwad1
m8pCnydu5yU7eCXHVAA0pItQPLL9GHgr0a5sNxSEEJmm1oHzzVLEn24zUl1N6nqebzfCW97knMqd
XRsrNYMrj3hqM2eBFgsDGYHQ70NckrHY22OVpr+B6BSeR0MtjzwwgSwIpbn3BA8ujloGW/gB2rMR
BYbtBb0g4ho92gh5gAmccQiddLBo/W/0LDCPVOG+VpMc2q2EvIM5WtIeB8Tw62Qq1q4YsholxASk
JAIMBf9rs9VOYlOCM1IxZxoraCYgWZQ9joJ4VeS1+ghTNv0ylXG8D6SpWknwF4vItOBsUqOClqwa
F9UTjNHiKpRqt8UlMtNiuxjlp49X0EUzEdIoIVhE9HqpjBvL3ZH4uorXrDsbaiGrEuxiezrpOy6p
64fFxQKaY81wacSAuIj+aQWc5eteHTsB96R7NZK2jcLdRpB2sYLshbx2U7iYOJlQNNmo/HKtuTBw
Gf0K1YUydZtY626mTi0PGFGT3YRqelIqAzCCYjSJrfuKvDPCegBnPFQ3gToFj0nUQA6aDBQbAURM
93VasK5CK7zlEuhbNjxHDJ+sWmweequTT5aiCntLrEuQuYpo9+j6J/uPP9K10UjajHW3FOA+S7yB
JIaC5fe1G6IlgIys+Bmd1PHvn27Upf+KsThLa1QbQYUXbm7mKBzAZ5PalUR8Jd1bkIrB4jMIUtZi
pcmCmuidX7mF2QKhGZ3UL56T3nz8eK6QF79MipRoVVVUkExFEG1xp62VHpGStnQFua+3adJsLTm+
z4NOehiz8SlMdMpB2figJ9kxGPBwrYZDqqHd2ebd3QjErM3LR7GVkx1QcxxL6mJT1xBKS+FG4Jal
eKDjxASRDXCmUEzqLeJ7lFZk2shN2hogWbLXeAxvygjVD8yXDwqOePgr31tCgrKE5hb4uMey/KWb
ZqSc4YGNtNI7qn0K6RRcPhS7LfJrlJKUMqA62P9EDOopNrBcUkybp+RxSgTgTuqBKuFJ7DvHAziz
AYMeIdvUP4Z9cFup0i035S+4N7r1UDwmk4KrPThI6Kmt5yEx23+T4QhsIQiOVDpg2qLESiMEzKdd
eoOCmocQ3wiIXtix0hso2/o8n2H7yRvDDJ66uH8sBHGXq62bmKOL4ushQMpoI5cNJC4f4oMuHTVj
Ag5cHWJp6IDfxrx3RO1HK4HT0jJ77KObCrlbPdBPVhN/Cyr1tc9QCRLE6LNahitXnevJx9K5cXC4
XIBATHjLmIdPbqqLx3D6iijTtsGh3JdXWz0Xp/KfNPdXpMXxJSGHWmSj6E73YrXBgRMu3wwuMI/6
s+QKeMDep0e6TS/pffllZfHPf/rdhWARerH2g0lVO2sS3Z5WqnSLUOq+3+m7ZBs6CKiuZIwLfMGf
owMezf/O6LwRz9K530yNJvSiGxzbl/BG+WIB8frUbKaTTETEg9L7bL82uRebezHAxXMjAbg5omHu
dvHXQnAFYwXatfbnF1nQjODokjwo2d6iM45H6srBdPng5vfTbeFSiFzbjN55P2eUIXJlyCZX3Qvj
rgkcZVc8ZA6yUMpG/wpyeMu1lNPJPIzeRr1pV9q+F3uAYxFKv0yp2TJoWC2iN60YIAhVuR4vZjM2
NonwUARIHmIB/fFCvJrr/wqkLXBDeVmaWS5Wbll6DkZGu954Qjjk4xjX3kvgLiiooGxBP28JvIhx
MxYlDpRc8xXN4RGKx3oCUlVO5eyomJHyWElhiVF3r9zFuW45oWW0pyS2xpvMhzZfjVZwE3fh2kPu
sk7x/iMvR5+gAa6Eg+j6L+F3D538T+GNcSjuzQfV0fawRvudlG6o3juyY07AHPrDasP72kI+W2fa
or8vi4Fat7XkVs7gAG3eal8E+8ecC7q7eBeu625cjYfdCNq8kMTUZYNdqwtYqeSC1m63qIUfE0wX
Y0oAUODkDRCG9exz8aybJ/mviNZiiZm9kGQGEbEO3w3NfZaBT5Vfw1i1zQEObibti+wmHaLt3111
i7iLmdUM6Apho7pVIxWcVUnZ7wS42zvYRN+HImpgh0ZAvXPUsxSEijZ9CcRKKMbW3+iB34o2rs/+
jZhZazefi0/A5ka+kjYV11662ovcD6eOHucU36uNID4F6dDfj3WpriTIaxsbRhP3KqzHeN4uRi9k
cTSkZutq+X0F8UmUHioaCx9P8VqM+ZA7O1faPASaimJdJpt3HSxsJct2GE+sHV9Xah/wQyWePDBH
5Ys3AuSarIJCQioOqrvEPBjxrdzewicD/7LVnXFXJAck5MJuX2UoUh0G5Cf3a3CkaxkZ1VGLWz0P
Peiq78eapOGUYt7kzkKXHZczr8asNAWAlFRrC/fqtJ6FmtfP2bTGQhFXEhsGJQWndNNtftfc6Lfc
4XbhTj4UNiV85+MPea30AigWnxZWJrDlJdaqKxRc5vmSkRA7ZaIfFbH4FijwB+WkOg2J+Arf/7OW
5S+IF63Evjax1Cg4gyhA4nu8OOpwWK9NK8vuwxY1yvDZKn4l+bZLw93HQ7w2qWdhjEUWSlUzQ067
cSup2A7wCMZpM03fP45xdSgQnGUQchChLx5OGX0Y9G1dxfquKFA6NX9r4vIVBl//SRxwE4CkLTSA
5rGeLRBa5B0NqfxeC2nuVMluslAT8D2nxszi40h/CtPv7qnkKm0G4HBwKzry1O9DxYacCSknpPGs
n3ScXr7V7pDOyCw0gdFn21mPiu2aQEU5Js3bjkqyYgOnP8CAulOOwbe11XJ5L+MHAbfh4UilEJms
xdgpLUmoFpWuh0hCaSsIpe39WnoAgFI5VT49JiZGA4HfxIdK8IRt5JlvCt01VPL0Dfz1zi6omNFq
CiUUL0PBgdJ9C6XOX1nV8x5dztv5z5yXytkn8mPJHLS+dMWJx4P6iGz+54+/zFqA5SO9gmqWF6Vb
Sk2B8gXsQVTs/iamlILsu7le1LmnIigScEGuAde8jr7L8aePxzB/q4tJ4lKIVD2aAZyH7ycJ6b96
ahIUT9Wvab7zpy9FvnIKXrzw5hGcRVicUOYoNjQDGxePz2+oTqDdq0atnUjifor6Q24V08qRePnW
WkRcbJiq1iHhV8l9f2puhQ0ie79gxdnVtr7lVzjiwd+tPe+uroSzMc7//GyphYafYb9VuxK80Rjj
hNB7/PgzXTt/zydxseXiVMtTg2rgqN2EmmIHZmGrwYtXfZ7lV0AlbfI6XXkyXMuk5yEX26fmPKrV
FAGEWWZTM3Z++0X2vvuBvP8nQ6PaxV0YdOGyL1cPYl+EU+0WfpLbg5VuC6bSzsai2ExhdYhGaVtE
0yEzzZUCwPWP9u/AS75GRaGwFPrGTcevslJujCDefjyy63vrrwCLvYWRRGgJrENf2yEcbbfaz6IS
1hb7/EcuNrAC7wQ+jaFcgNzHVi2zUqvdWO+Nvaa3Pz2arrD6sOTg/rstS30rV+avfJiOot+9hCKO
Yh8P8+o8cm+gtUlbhYvu+8WPmnjEFzRcyzxF5eAY6GZ+HOCPT8LFGHUsfCl54ZS4BEYC9Mox7Wjc
BhLdPkoQ5U6RgT3gASbagtLjixi11VaknXHyS+0OI9fwiCFaB2qkipzew0+0CeJmL8ZTuhfFAdyP
LAOLs/zKafxROA503nYILxpbIVQyu00FCb1SGHEZktDbPq+BuBdgJKd6bF8+HtzVlzlofh21FkOF
EbXY2kViBaHA67PeVsd4G93TT4neii1UVc5wHyD5r3+SrcB1Q8oDtXtp+RzCKfeNvnXHcNzE6dfA
N52VMV1b+ecRFvkQ4EajSUkNDrCs7yMJA7tNjbnZvdKW3UOR+qEDBzRwvCZXMP6TIRKpebxNC0q6
E+x21+zLH7rnTac8MNc6ZteW6/lvW8z3YKBobwStK1jR6yTJd3g1Hz8e/troF5nTo/U/YQ/gNn63
R79xO2nFSa68lSjzX1luCl5k4Kjh0c16oe+3HcsR/bqhcb222jVIhnA+fO6aER+sdO0mdXVAEjfP
mYkFBHQ+nc6ONwm9r6gQBrdJw+9Rii9dEDwnardyEFyNQhtYpAVs8MScLxJnUUw5UoZAHt06fRYa
+s7+W65XKw/Zqx/fgNtIU0C8RGAMQ9vobdq59fitah4k5R8N4a8/v/jyI45DXT9IbtNZFDB+l5W8
bYcf/2B1zT8dahzI7WX1yGhkX9Pr0W3wRcDUa1PrP41WXcnp19AyoAAQNuU9SNpdcqfKRBUmqVVn
jLJ5kovIe0Au1nBa4KroxXR4TJYdcNDfQoj6QmTG91KkBEi9o1vRgVd+bacuuzcDuGaOouBYGc6k
bpTzFEdAGvvzx1NybSuc/9jFtBuI8qghVRYv+R0Y90Dd961hING8dtJZ165hPPYMEjUyWuafdtrZ
Eq1oDxXgxl0wDMEe273XNAFHSRfNPMDN0Z2GhujBj2Odehq2I1LaBrY00UxFv2c4IOOaoxtZNxuA
cEjtJtrvCe22UxdImW2Acdt6jf6rbEz5VE2pagu4rLn01fKtN8sQeoga7kev6PB+U37J2pSdjM4X
NpVvJXiKGt6jh4Qc2FZAG5NQpk4uS+E3qY3Q7JnwrNzGVRc6TWVJm9wwUTrHefEO3QAMFBA0crSU
w9UYDemgD4aGZ5gfPlElG/cJdzZH10LtM17WyS6Ke8vxaAsfcxEK6kbvzJ/mUGt72TPGXVqkP9Mq
iT8paA5yuIL1F2s/RSx2GrcF8Ge7TJBsV7rWO05jJN/NWESnxGLrgNBcY6MrZW69KhmOcoI+oqlV
+UHXfZw8jM7aKn5suTo72B6FTt9AR9U3otjLgt1nlb4rhQr12ToynSmx8g0iqeNGlmMoCV6hPoDW
MaEENGIG1THqxXgDKcE7mp7a/pCEsUE1wMMd14v727KXyzsjAme+sq8u8w9UdOpKVHmoT1xUWoyk
6OFfDW4xDCcjLB4s0Bcf74UrdSRCzMxqBM1g4CxxLmmcdmakdvQt7lqx30KQsWtvtDPeW42Bdi4N
NiSJqrhdCXxtaBQEwLZxHskXh0ToV0Y1tig4DaWToH86TOLK5F1uc1oYf0VYXtgHpRPkzhtcNdJ+
SrphA0rddEm2A2qzEmllLEvGH4Z8ejEag4vOlq3jcSIUKwEukYAMBdzjnxNVZD28P+vysCwq2SeJ
A/7uwWCyWU6oemz0MdjKNZp03RrVeP6L768Lc0TKVcDIZlTSfPqepS50I4BsW4NbDRi5oPArmr/V
brRTWQMeuta6u3Jjfx9tkZFF9DwyURvdjk8kyHB14lehejBD+Ya1s9Gx2BRHzISMKMNRSEV+Eziw
GU7gh/R91ESf4j55GpXwUCXC0YjeKh0i9qRvG7IkCsHSb0NnskYPboaZGG+Dxy1dLLMVbNWVQsL7
USy+UihMutWjV9rtmqN2iG9CSt0ob+7lnfSH5mkd167m/5eQFipl3LOu8NmqoUMehIXR2toremGD
I38v7cDRHQyR0m+aXdicFc5Kzrg81+aB/hV13g9ni2MMJA2c9+iGL129RUquaLaSkzgeJFf0nIGN
h4o92dO22bc34heUxXcrP0C5ujr/+gGL1akkJmQw8iLuWI7h743ddLDsFgG0LYwHO9iujvhqLjkb
8WKBlnGEDgoBq9f8uz7ZfkqNY4OyFPIaB+WuvlWn5/4+efQd6evKUC+vue/nerGoqtZChqwaXQPr
1N/JTynd/auH0sCTuAlTG5KrjcbPP8nOZ+Nd1BHFBEhJRUbDtNyu8gcz1VYy2tWUeRZg8Ubo4hL9
skhzQyEH9CgdFaNbWSQrEdRF+0DtNXw7Sf+ZAOlI4H0sPv1nn2bJ8dTipLBCmFXeXftS/ATMu2sQ
8JjBbXfDVnawnH1aW/lXVwMAfRU+HVfY5WmNg+qIh7h/b/VfojSDXVZteiNf+fjXg/Do5bmAR8Wy
cSYLXK/0aXTHoTxIkrDXultN/rIyedd2FOUfk642FoIX8GgRUgPX4sGNjm3qyNOxOSo31hM3jW1j
udnLtAUI+9l70rcfx70e1gSUzZFvXTyHEgVJ6r7QXF14wDV4g+GZaFb22uVmlse9OD5p5coK8E+G
sSxyabiGD0Eb3jcOfMsjht4Yz+d7U9mYDzGKz5vsrXQyUArKVjpJW0SgBqQNqXA7ifpPkjV9DcjC
iBFAv56/9lmyzuVUaNJRBYVaZ3OyHre1jTbc5KBYe+s9Wwjwv8gbBPveyrfs11rmvLYLz6MvEieK
lE0f4+yoR2m4KVqshkUEdP9uMoG7ApcYVwm6XpAzF8kkBYUeAEVxEcArfmTKzK8L/Gr/8cq5rLy9
j7KEngwl4LlJ7V3lOX5pbjFMPZSONeFLYpzw23CyuzVZm4t9OAe0kLMQkaJiOy6G1WFu7tOScvW8
TR+NTktPTVHC/Cvarsr/wRT+ub3M3reUUxaxvAHFzj4v3Rp/h1++FoSvVj9KK4lFng+rd7dKrpLg
k2eNHmtuIM/b5mwtDjiRI7FVomOvf+noSrwajWi+qkOQfivJpjNiqLsHsplvQyUvXhNVeahwNNxN
RpTfYnomPpf6EG6VSMlfoE/BxmmScHR6XfV+654ifK7qULpRpUndq36f/sriQsBe1At+t+xIe0px
gkqNcfzx8dK4WOTzsMgn6qwJRMVrcUar2JzWslS6mt5BJcOUlDlZ+T6Xa4EQMnByGFqz4/BiF2d9
5AuqBfJW83EZMbIXxFifITrffTySa2FwO4axAtoPzPLyA0E8aDBacaUucvNaus89MUHBRFk7Oi8e
NMzYeZx5Rs8WQj+iMyD1GUBiOzuO37VDfRc4YCY+KdNGvpfs9GHYp8/9jfYQrhw8FwfAIvJiIsu0
DJCkzNyx1299VPh2UYHGr9hnxqaLwjX5sj8rerni6WSLIpuKR/by5ZYWpl5reTFflR1tV++hYe7a
XYvwS4Qr7xrt5/I9MI/uLNzi3hbXtRl2hEMd9mc+thnkbnWWs0ObVE3Lm9RQ7/Alv02T6Xaampeq
8Nyuap4t+iFRVb3x6AvWzp9rS4rWEQw2lGnpGS82RxxVklAGhZsM1ud01jtLve9oGzhiPX7WW/lb
r1uHThl+R7L8krfxq5SPL0JbnKTZ20KZVh5p1zIQvCFJV6FlqSgNvl94kQy1Ie0KVzIBg6ZIb9Ji
awoaG4Zk18rnv7+bgINiAcYliovAIqmqeu9LAciHoXwc2mcrBQ5aP38c4up4ZLrxmDBDF16e7hrd
vEo1KndIvjbWmGxrs/k8Is2AolR8slCs/Tjc1Y85i7FAE1WRoV7kB8nK0giWhlvqKHc0o/8bhPpN
0KHA/5/FWeSHvJ2SOtQrty5/JAPXtIYKQC6tBLlEprBb4GXMNE9IQCyJ94shTq2hRJvFFbC63QUT
9jdakrVOMGT+NkpN6y2ukxABBl91kPDX91ORlDvP6BBM1sTptjfNLNxY6lAd6FTHGHMl2OZUaq45
sNKEFWDEtcQFHMoQ4XmAEVxCiFTMQKuxATQQ1XbavwXNLA5yaJPXj2f+2oKilgBYB3MI7eK6iLeY
rnsYubZSgmQFHLHC+yRNOpKu1lfDjFfW09X8qCuWgZOnZtJkWWyRXsQpfFRrd77W3cagOjdl2pR7
o0MkudJ7+UFGJMVEdK4TUStsBskxcXhGjAJeOrroyTOi+/I/OGzpZIDWAgXLI2GZJHIhUvpRw6iT
l8u2VyTu6uVAU6KAyPbxbF+5OdCNo+xqoOQKQmox/DhF7nSsJFccqE8OX9V03H4c4MrnJMD8H3jo
7NpFvuvUXmh1AghdeROZs3SOX6ONjjKJXsT3MT63H8e7kiBm6Uy+Cf/PuAB7hZqXe/iCu1pS/fQl
yXdCY5B3rRL//TxOVZyUqvKRQHcuxlX4aArEfucC2J1620Ov/VchtAYthBQ1tXjw/d9eh8PDx6O7
NpvnUec9enZtSSup06O2c7U62OVQ4DzKj+InLd7iH7xybl7Z7swfeoTA8EGbLz9cZXjTgOKM2xYP
av4dhIEto6JURuVKErz2wUxakBovJ57cy4xOH4zLekmcFGv6VIx6AFfja5aIvz+eOsxfLu7+MDMk
fGKBOCOJvTg6eCS24QguUUk6pdiZgWTelFpSPxWNpj9mYilCJY3UrVRlKGoasbSti1L/3I3W5LYZ
GOLUb6tXBBC6716MO7SNZ7nZYXRQCA5+dAkuAaCOeAg2Nvdx0zbrONmVONt+BytobVuFKnDsT78l
tcMJflKrowzXDPM5MzspuKm7A4bsIJL16ncaDY398eivzTJnAPBupBVmnYX3C0dAzaGNzdnEUdgN
IhfA2toBXF/ZFFenmJcIkegaXWCCcfQQ/biT3BC/baTIg2yrCPn3j0dyGcOam+00o/g/ALPzFjnb
AgIiXIE+SW6Qm0cp8R67OH/8zyIs7rBYa5kdZCS3UX4pTYBJ1qeP//5ltwGaAUwhVqOOhdUFGLfN
LbI+X1x8RB6peg2rDabAu3DrOd4n8UF9EJ6QgrozP833dGuv2dk2OSEgRZ11jzHL30cD/vk5KvVj
fgs1jMXGKCsMqXNNdjtJP2lTfop5Dv/tTf7f7J3ZcuNIlqZfpS3vkY19GessswHAVRSpXYq4gUmK
COz7jqefD8qcToniiJ11PWVWZRUmiU4ADvfj5/zn/+YrxgYU0eZszXkU6IxiPo2+KO9VjJ90XLbU
ipkvn1EAfp7jDDJ3oNInQUHveC8LgCLA2Fb2KVxvaXiVBkCVxTm/6c8rMIOgKsGiBLPWT/K/TBFp
RpLkvVmGzUHMAlo/8rIVljHvhBME3bASeAtvv54x7MifFi+GtTChZcJohAZHN9BXvTCX2NYKoFVO
LZWwMivpJvUm3PbL8HucWHshNa7rwr8WDOtGoNXMM8V92aFiQFpX543b1LTOxB1BTuoIqmFnir6p
Qw2DpcJt2x7B5LeMYptXRkvAVteCnzjBKOHWDuQSfppcl4e2TC/baCTBXGPCm8nOmOSeXfTIvNW+
ozvHG287eUIzq5evYkNPbGnd+lBdmRGLbBqu1Ww8jIayGiP/Aoc8wU7ACaRVfSmQgfUDQOrkRCN8
XGDGutAqLybzWxEVDj7yN9hS4fDD/Gn0x6SXv3tVdhCU7CLWRqcxOHmg17e1wdpCs8eBCuqTb1kX
5ShQ209uxJndMSWU1vMbQSB1DXxmCZ6WnGC/tlr9PuL24y9SXsLWuegQio9B/9B3VJXgdPVDcqlV
0m1bCq6SV/B05PCSm78OpiRaYhpPOTAob5telZd6mLW7Nmn3nmltBxGuRRaviahLCOHCLS02gMpr
GzmMI8ZY7vvZWou7ayjPGbxGfNsmIktYgYvE6He9QB6s1LZ0/6yLHuRmYtii3y+SQnFFM/1ZS8Nl
5xVPeBdj04//qZbZcQaMJuIWFsNrOLU9JcfuLqz5P6nnPcKm3CUQWkF4EINlnvk4jOWC3uHQzTMO
yfLcIK8rsC/UfdPXSzZLN8eMJ2RzK4dqV7aeA/rRIae75k45URwuMbJyjNJfSIW3ZA+1+5kr1HoX
voZPmSDi/iHIW6NXFpRZOYKa4bmCwalYheCV471CIP/JpJ06sm8UBlQPn7sMWnPTQGLJtGiVpcmZ
RQac3IlX8X373fyqvtuASlXNAjmMDtqQLbLMhGgJGyA3txVKzHpM1vh+xk6L95NL5hAE4SJn0gZ4
f1nBC5ZaSBjvxvAu9mon1ipHordNTl4TqbeVERs86crAw35IhrWmm7umH7aFEK8aoPZJw6Msxps0
b39UQWcLcJR1lYwRpFe6wxV/1RnGCgoHtU+DqdJoGz0sH3WslZAeFJBGxML18naZdxKnqi5yRsX4
VfThM8Ys+RKF5ZZGCHc0LEgp7c7TrvBF0FgbuvtA1O4wb8njNc4hq6GhQC5kDjaTl/BzFl082A2n
oyx7ECPBVdutJkVOEncQWBEVCk45wmGVAM/WtF/Um9YUF0aKa3dvT8HelMG1Km4Fo1YW6CdnEfAS
xe3DTTVum2ptJHdSdi8mN4J/q6RuW5s0Uo2u1CULDYVX7rfuWFDrDmgHaIsVvekO5Z6d19e2ktT3
UfdUd3Dvxue2vRITz/Z7SKrx9ei9hDLegx2eBcFSt0qspgy37KVN2cF7KDo7be7Sgt52beSInfH0
dlKNW2aJKxyQqfpe9i69/krBjTEJ14X0YMJpzfBkutSMLWQqO/efB+02Ak6EdYur+3de9qOwGjdQ
B5cuQY5aq1ktVNHfCr/ttms8N43yhZRrF0m18yt1hevbSjeLXei1Nl35di0pF2LwU1bCZW4iAE4b
u5ApNWSjLYzSReLl3zyVKlYEowTsLU6ZRYOzqeQY2nRfhBFhp7zLqgE3xGJb+P1lnMrLqhvxPBVu
IiDY4Uz1LYpdrey8VvkRY9AvStEmLUZ3RG5uCjmGbMJS0V4TcbjrZWuVWqmTWxpreOIIw2STd6CL
BiPISUcA4D+27YOi7awIv8mG5H4WPMaWfIHHxWKw4n1SjczITrOJpSNbTDFGQFDz1MY9OwOqQbuv
avqnDWFNeo+BZjKMqbhA4HWnr+JwlWdYLCCpeO214TYJxoNiTrsalDaJrthJxI1k3LVxzpuW7nDM
RqKfFavWnLdr2vatIcHzQVxiGLv29PAhlXfSML12lb4DFr0Bg507Wa5sDOWqxAKyaHIOBuOjArsM
61tXCUUkwfPUFS95B795vgUE8F4bNCfIdzMERokQA/Dw1PKuD0Gdw69RA93ugcKZuhtUzQUusY0j
lbqbSfqlnypbFS9Q+D22rECExZYtiCc31X5YxbAZNNk1iu4Csd2FrnRuOJnrqVVskN+2VQ841Ua2
N6SLWoe5kk92oHmuGXTYKj+Qw8LWJF/4WeyK8U1owjrC7i0vVUfDyCCyrGWDrljye9wgKscrm6sw
w/ZRe7C6R7/xNrO/Tlr+SjACrGdwEswuzxLsIPe3UXilSY2jtzG4mmCRW8jV4gIokLQT+vTKaqPY
9iZxBbx5Q88ENGSusCYoGXCDJbeffGOP2cRGcqtW2Z2ctYuOvScWu2VnprdyJz2yVS0ikMFL9Nlb
LbBAmwMQXIIZm0ua5XZkpkTp3sz1RTwNvKpI43exh0dg0JJmLkUSDu2mQdcJBVh/Lr3enconrfDN
dR7GE2JP884SeM58RXvM8Uk3DE67NXSjzNXzHx1aIL7n+uug7lS4+n4fOQq7raHKa21ID3ne/xK1
9NkXA9fC++jfGWX2SqF4g5Tq6OA3FRq4nTg8mErN0b3UgnQjqqV6Y9ZyeWZrPFGgnA0Q/h7rKDsB
UzMwhErcyxruKXYT2rMoZ3aeL9VF/1RumlW8PGca8QnY8+ZUgbqVdA8qMbrCPm7H0DH7VrQUysvG
E8oYTXWU3XhP7nmvXU7bcqMvjQflvot58+zmUjgLGjl1Hp1dF9BBoj3+VLEivwuKWlfpg4XNDeXN
PJfyPpGixFrp3QjzN3gXcAiSJ5reoO41m5DiJlt2a/PWtIGoOhj+LjX36wkzZ/w+FowYTTGwHMNJ
gsPG0fnaKMcQqJRK63SzocV2Feylhbg+N1dOVGI/DnN0yMajuijImHAGnvxFs1Mx7vc240HYB7cU
4mz1AK/gKr2cISo6ERI+AxCFLtu1tYu+n8N8nDrTvdVNJZWM3idRSxDLhRYWNC0a0kvdwStKbs3h
WzqpkV1rh69v7ydYwDxfZWJCCXtHkunHCee07hSr6KX9uIUjtBzW4mZyPC4QodzqnIrq5MvxbrA3
8e27qWOFlSBN8YhOTVpK9Z0Bht5SsP/ybAUQRLGI78zqOki3FYu3VfwKC7vbl9myOuvtcuoWv/8i
R+fXvgsKWRTo+3/16+E6KehrxCYI6f2FPg5nChUnfc9krDpnf3pZlo4TGiTU/QoG4r6wxmo7JiTj
9Fwtl2LZ9A8GvLWNpCUDC7sm0SpYj8I9QbAHrMzyhzN5jxOLA2Xs2RhtNij8JMNpB4TtkS/uB7Cg
Hj7h6nhOujq/J0evK+KlmRfzVn47TgyoeZWZOu2IXpGIEMuCC6OOfiilt/El1r0cv9lCJMI+M4lP
XheyEGRTJirI40mstWMkdeq096smvJCEYFpDtC3uarnjjBIGPYeTLr3ox8Ra+WKdPSQK3t9e2Q9U
jhQD/2iCgwTfvTPf6+Qsg/tCmYH/Uu3+uFJOfGFPZ6Ws4/RCNXYhB6pmePboRYZh/I8zqoheSTah
IZuVF8cZVa+I4iiwxD0lPBt/dzuqbnr/29f3+cRtxtmS/nQRKQTz6GhvKwbSIl6n7sEq3jRdeWj0
cyLFt695NH8+DHG0Z8dlYsU+LUDo0ztXXCAQiFwOtdYi+6Ut0ktvV+KWoS7h9dznj+PKQGiUuoKr
XZ3r3z13rUf7jlyacRb2XKsW0CPxFJHJ+PpmSp+zBDyxd3fzaMtp9UboOYDtG7dfYPanPjQHH+qZ
4cSb6gE3Avy+yVwtzynQTmgiGBd+3GweTA70+BUFxFrKaQWufalugZzT3S04LL2bfIO9tpNdVqt/
7AXFHvN+RPnje2CWSpkknrKnllG5Zdj2K1/vLBc+QbrUY0m//3fu7GwdOude0DUcre664NeF1ohE
KNMyUZ3ix6zFJhuX70YXeMJlvWnY3fKXr4c9NWOA7aA8h3BCJf1o1LoMzbCq2308fg/Htdf+Y4kw
d/H95x/dxVEieSeJwSHV8J2C1FqUz19fwPz6Hr97lJ1M1E5kxWmK/PiY1CHWZ3DcvtfrvZl4S5ri
10rRX/8bo5iwLME+qiCpjkYRcFKOixigJK4K69Qis2SkmUx4bonu1yOdCh2R2eDGKyNxYaiP14ON
ohj6tY6kNly3l8169qSSzxqdnbprPBhkCKhodHaKj6NUflomEyeaKdXujErblXAQfKs+t1yc2kus
WSyIqeWpPudSjXKSm4coqsNN3Iq1Y2KcscAKy3T9Pl9GeE1+fftOzGcWerR1SJ6RQh5LtZBpJTqZ
kUNDxLYSc0uCM9eYY31m4zq1HhET/ffmfRwU+gI2iZAiWI+8FfSPA5b+2O1hONEt1GX5Bma7P6cb
P3E3GZM2MpX/PYFVxUmKRJq4D8vE6XTZ9oRr2mW8HiPaf65apSdnrifP1swiLhcf54dihlZfeNGh
FbdputWsC7r2vn5Qpy5GBtM6t7QqxCpHYYZZJGGl1Lgt6ahFPM2u4q1UPivdfdWcW1lPDoX9+qzj
pvRzXLQO4ySTej04zKaPFH3idbqO3OnFdGu3d+F0tDtyxvRfWGdi6BOvMi1xf487z9V3BwdqyE3q
0RHv5XsMDx0DJMxQvSpqa0t1vyjKC0+Xz8zLE+81s1Kf0bEcoz8VdgdUu7R0kj1QW9r/BoK2Joul
g+Yl50K3Uy8ad3MupaEF+MRrA76SYCtY7xXKQGwhS72w/nEhHJEsCQERZQ39u8eBW5bkk2VRAspJ
ydXZbsC54OspePIS3g1wFLaNemoOiZceKv0VnzH4Q1dff/6ph0HDn4pgEifqT2uREqmpOmAoVjXW
MpfH9URe1YTo9PUoJyIyKs5/j3IUkRVNP4HgavfAh1xSk4s+LLCOBRAU/Px6oBOnJPxaFOhhRAqI
qubLfTed0xR7DUw/DhXJ62x4RvCFD6dBYnKYKqfOAWmZVXwmeD85JgXvWYD5BpX7OKbQw+5u9AhQ
d9QYsy1xu9FE6EiFIcPdkFrrSTSzyrP7SX/6+mpPTA46m0j5zSkG5uHRCujhWw7LhD5ALbTr8rsu
3H39+Scmx4fPP3psvo+DuxL0e8k7NP63Ktmc9/+cQ4Wj0IiDFR4jaPOQexy7RUiN6fUKzVPDK6DZ
2skOxYt8KHfek7mOl95iOjPdT50NNKbGvMzSGfBJA2HVckiDq8CeOC66q2wZD47nqiSfFEd7zrbF
SliOZ/mYp3JBzA4ukJAZO5zjUCYOKw+0vbAfVyS94bFtpbXpGpf6awFCdH0uzXXibQMnMHtvYAWO
sPJoWlCmMPy+p5NvMFwfspLnj5tGaDe5F918PUFOTH2iphmniNoKWcnR66ZUWlHIpJ2ECfZYalIA
+ylTbQ6L3i2Shy5KzqyGJx8fFhmk0/jvn9DH9+93KQtdP5UVoXpd6HbdWuF1FvXedam1uSuNRcq6
0lHvu+xyLdpmTZI/zyKpEOm1AJ65KEXxwhjM+FX2pXSjT5V1ldXxcGaWMX1PTOv302x+c9+tQ83g
Zb0uCXtlyJxkKpfdiN+b1l3WdAPjFx6vjL77BtQCfN/kIKe50lS4b0OzHfsSQs8L1XunqaJNWSir
IBfhVXmruohdLQ82cl7QKhltosmzo/gmbxANQ0jsknJhxI+elzhTOTgs4qvCgrQnDTbu36u0sFAM
kHwN8YRIHsWsXuriuBqRm6LYoaZUrySp2ot9sG/hVqZi60BmuexjCpyZvzWU8jIyimuhk27T8FXJ
lesy1pE8ZCvdM6GcFCspe/EpsllUjMN2a0yNGw7mrsQ+VRLyXSm0tmx0N62cu75J/6JEtGEWizZQ
7ILUsNBQ2DRGB0ySCxPDVdUXiAqrQM43k6S6SQD6PQ+2ngAvXRkWgywAEZS3qaW6odZtG2pjetBc
DcKvVAvuWKztJBNvxM7fhLp54YseYf2wFJTE8b2nIep2nAZ2JLWq5jWT/VU8Vvdm+6udEJJKz8hm
lq0Zo2pL7NAUV2XwhD/P0oy9Syh+NsSqZwv/r0zpVpYQOQq1vhaQRSmmazkOf40+ueVSX0YyFfO6
9xapDnfZKhBJUHRSo+Knpxn2IP0wO/0mq31HyJ84eTiTXDphk9g9RMRC/CXL0UqQg6WfVysDF7yu
xB1IqB474SUp461q+JjSVsIWPBWRB+L1qXB8NDViLTtC/Jx7gy33hIz0CEGAXE30s+fZDzHmcZXt
JgqDtTdYTmnozuClfPrNaGBYH2HAJCobZawLPJCsrZXHB2H4IfXBlRSZ26GKdhM9yUI0Xg3WqtaE
pw7+y9Ao205oFpWHSb6sOY3Yr2O9svNBZOMzbC3zVhFYRDlsbNyu1rr/nNe9m4TJYqivh9CwW+Gq
8l604cVCcjSMdhY+qerPnhpTJC4IURzLsFy5qy9K8zYeQlup09XgB44aDdTwMhifD7IRL4oqc9MY
kpIwrHShcnstdEZgxPkkX7dDv5Vya1HTGCiU4pKYDmVCsQ6Elxq7kbCVFmFPPTk38cPNMm1TGvih
S+Z4z6b+jRRhZcMMuSvq0MljYglh5tcFGEkSmWv+IYhNJ8zTmf22Mku05J5ymUjGArGPO0IpTI1+
iU2/HQRXYibZUyK6UhhcyjyfAQNkpSlQUJiLek6MTWigjF9t8M0vgJ43kWzT+eKgyACyrF9GVbeO
88mJenORNNdNWa+7pHWNkb8KMWRUn2vztVCVFWrQZRC3q8EK1rDK1lac32s6OAWJCppwb2TpWsvb
RVKJi9aq3TFuDxoakbTf13QyR+Sb6dF1Q3lYBpRZ/ZivUCrLVmpcjX6WUu3dIIas5pcbSsCb2use
jOY1Nr95AxjNGniq5W1KvVyMuHcXuB4a/g+gLbEr479ZeBQI4vFb0/2g3XGjAVoMjRHJYINb8G2v
PErSQzs/dxI+WnWYOalYI9vIGLmVMyEPj2acRZG52SZsrgIvGdtIEwJxKbsYwYjSv6i6QyTsjaZ4
7Kn5WAZ2d+EAtlapsq2XjrtBAk8eE9/b1my8ogbtbRcYa8Nr3RKxlpTCMLe8b1IS7YIO+qbaGT+G
VLqW/XrdhMquaop7mhewGmrWTVJc5xL196rZmSP9A1bq9rL5XSRwkoPUwfEe0tdSQNg30mLC6YRw
ftjk4Cowvc5nsKCur/Nh41O2kTisN43wPWw0d26Rn3VZrpw+dQVBUZOs5P57mmwy2kD0onIzv1wV
OuKgMlhHnvANbNA0bBTLcyfhIa2uiXncohvcoZLWGQIuJBqtB8AVkw0K44e8y9dSYJzZrN9Qbkex
HSk7WkvnZhLpk4Mc/DRjNA15H6qT8BTgQXkhTrq362XVWwoxzrBNTBdy3HWXXsPqj2QZnYCfVRNA
J2zwoMGWO5RN1U5uinSlhKnO8hCiaVKjYOmVRuwqqSlcN3XFajDEoyvIaesg8NCXU6ypmywJyutU
qeMLLYhBCGd9d8PzTvf0rqkr8CDjou/K8Ry45nS09y7GPIqKDK2Woj4Q3iqr4j2GRk7txncB9syh
mz5+HYGdKhq/caY58yB/I0vxMdIY/cmUKrqu67+Kq7kjLEAnurMntOAG92eGm5NuR8/0w3BHR4IC
zVEuKMJbbh0x1takhmusonVxf85V+3SsR5pg7gFDg3vc7Io6dBwVz9trabZXauaN0H/DMxlLqZLV
SHbhsjzLWg9qEs+VNMAOFGboIZajEZlRAqmDOGahG96ZpNCp6Hp2++GYSVnsExRMq3TJD6bpkEUt
4NQHSWrWBUMGmAd+fa9PnL609wPJH5+sqOaBWmTWPqrx4olFlFkvrXLOfufU1WgqnYOqNnf2HZ8V
AgE+JYWhQyRsK/W+EBU7j751iBj/+bW8H+Zo2vhynypUDw56tG6jytWsvadZZ/JKp2Lud2Pos57z
XcwdINUqlMw/pKaJWKzXh+axjYbiO9VC+bFXxelaImS+j1u/PzPyyTeeRgVqv2SQdbpOPg7tIaaQ
fMs/IHBbCE8Fyo1pFd7RXYw3h37GefnUtHg/1tHRYlK6qiywroiGMn0cgNIRWUa+sZoGTVp+/dQ+
u+3NFsk4p3JupXjxKZ1Ck0AbCWNw0IN+2Km6UF8n+lCumtrgeKDhpfTT8oQYOpKn3Xlil4kOcGbZ
iQufzU1HM607FgtzgYhPjJ4sQLcHLdO1rZaq3XcorNMmm4z8XD1nXvKO1ii+NU4G9Lu92VR/fBpi
HTZjpQwH3felhTl5st15o7/w8+hZilL5qrD0zdc36sQzmVseOAFjn2B9akZTkNypRtscoqZ6qVXp
gSjwBwLrMwvCievCcX1m6sHuI5t5tNSHUOcxvmsOiTIdrAztpaQQZWVdsk4m6cLo/nIk/c/X4X/5
P/OrP29Z/a//4t+vOd1/oR80R//812X4ijwt/9X81/xn//1rH//oX4fiZ3bbVD9/NpfPxfFvfvhD
Pv+v8d3n5vnDPxZZw4O5bn9W483Puk2at0H4pvNv/k9/+B8/3z7lbix+/vHba95mzfxpfphnv/31
o82PP34jC/6f7z/9rx/tn1P+6n9nfp5Q4fvzk/769Z/PdfPHb7L6O/31s1EZCw09czORoP85/0SS
fqdQQEpiNnwhr63ycLK8aoI/fhPU32lE00VyFigW5uWBlbzO27efSebvtAXPJS5kbWTx+Lv/+8U+
PKC/H9h/ZG16lYdZU//xG1m/D3MfdSy5fDI/KulWjDw+WRILPuAQMeleqN4G+Spv21owna4pvPrX
6FkwdwO1D8v6Z9KWQ5o/hQnkAztM/FD41RRilg62Qr1N9t2Rhr0wdasBe42E11pWJocu8xHiWj0p
dbPUSsPTfAdHtOi+1uvW0DD416ZS4DAeF4M2LoRABbDe2F6oIZt1iibmztspBiqSThtFY3A+VL1m
KG8DNVSVxEb93sW+nemNqS49WZ6KO/TrfbviZKuNz1UyaQBiZakSuotc7oz0Ga51GrlhiSkyvGBT
ps6PvIDTIQd+b/rWSDFVeVvqhSiR0C2Lk/INCJoFTC1DJ7kN5bLgUj1p6AO7UGu02GNV4mEQd3U/
rAYcv4dlGwNtHiGbsoWUCMVkFiNbMIM8depU6rH4mYS46PgFoSPdY+Vjlqx91RjwZR4qxbqoB2Ps
HbFVizukCYmyVnJD8leVnA74sg9yV87eypaSoBENRRwktyw1fUmbUSQBRrRTX5aS5ywdvbK1K10Q
BpzcS9EfL4Fy52b7GvZd3VziQjDWGlpWcjeK7fuTmq+UPIvl6cKT6XVzjJhA8dorJTmicUjspifP
MBp/raq+INhRzWl/PcIi/uXHg5pcCmklyJWdqTRz7HI/wtxh5YWh5G8iJTbBeZejJuWLyk/CYEvx
tMbBKyUZ/hSlIvpzPxXlwDboSCLPH8WNFNmwzM12LYyJFlxIYx0My0mezOGQDmoMOF1vgmY5aEUz
2poytMqCm1xz5hLa8UnGH/S7URTG0xBWXe4WFiUkRF15TupbDwji6zaE3Ae0qRjcQBviys1pScb2
tK5LDvGGKfSuIJUlaRqLdBpeFQq6pIAEaUh6wfDUuyxTgmCJ25Za2UYemsZFX3FVtmBEZKDkQGiH
zZiPobikvIvdaZga4S8pa1q8TnUJoCSrEH1DYmtNnVsPSY6hvxxnSI17T1PdyC+ycqHnuXrnV7rc
Og05ldYWJtXLHW2qyBX1htI9cioLILBN2Bft2jZUNEcoFbFfDa1eFo7gpWRF0grOpwp5b275iuJf
ldUH1nKItem70gxx7srI/aWVpgkT7RyFrOZI5RXfMyKVN7YveqSWfaN4yyyAVegEgtiZS9OTzPCA
S6w1OlLa5J0Tm0ag926UhGJ3EKoYv06jCzIyJEwTeMJ+GVuXWp2I+obupFTY8twmYwWiL2nu5GDy
S1DviiYIKz/LBQHT2ACrkAllpDDZbWvE47RoZUvP9ZUV+Ai+uZGhkl7UWPd6+kbrxYx+RYw9Qn8R
0KH7kvOc8GdMA1bBtZVUiWnLoxniTx6NpbgBPJ8DpWwiE1t7/G5LEM99UpKRNqyBVcHK6IZw28kb
fF68PhkvvcDqtadYjUV6IkcaQu2SoNFq3RqDgpCUlpioq2gIyMrJ2Mh1m1IrQBnxAlSWbJfZRBat
T0JZoXekLMXGHuip60qqp1EyLpNSq3p1GSVGqG/p1IhNNNKjN+b41tJdWNlh7iXNDarUyXgh8wR7
yu4arQjLpT7GCtYhSipSw3TbMqxid+g6UyA50fURZ1+liIVflRB2CO0qZeROORRTO7qCzKKO7vUZ
avOMr57gAaQb43gZx0Vu7hQiMNpcMLLy0l/hpCNNt/vcz9tXscUmGc2/2efWQzgE/rToy5pOFmGq
khJXhJhk2q8yykUiOiuu+lev0gtgm3pOJtAYFVPYZlIWW1eYMFTWN7XixfyRETJ535qKqOtZZFUr
bV6tvqBfH1OCjFwnDV3fw0HP5bVMDbx60PADzn71mlwTuRVJUuW3rH9x51aimFNSGCJcdImx41pD
xznS0Z1upVTSQRRJkTfd4j1jdddCpNe9uoCKqakvgZUr+j7vSj3IqguQQp0VkFIuoNm6LPLzgRbZ
Th5eil5ktEvBF3RQNkmlti2XXYieMi7Krs7OFdjmWP3vSHWWNM0wayLrWVsI5uhI4qJHdY/bknwA
wZjpvwJJrY215VNTPiNG/jwOpjBYA1F1B2Hz6ZTXqOPQa5G/R8noyKzKWvP9XYT0VyDyPvB4+6Yf
r+TjCEcHPCsJcGcO/T2JSmz7Yc9Mtv6zvje/6RjtkURzASR8118q2lXBXCOCZk6fOWMenVbmuwkC
mb5/6kJEP5+MS4bWJz2g5XscGVaKy1s/6s702L2Imw5+PeWg6+DCfFUAabY2XtFf34GjpghGR3dF
JQzzczhgnyOvKUsiKwyyyyi09a0CDpI024Xutm78o5kF/GetM49OnZ9GPNb3JO1YCoaQXs4K/vo+
v7QWxcK/05fFKriPH89c3sdEwTwYBRGaoQ2CXjjax3mmXM5bCLUtYHtcUMYtLahO4ES3NP1RroHt
JC1gO10Eq6+HPTUqxT6YTnS20ll9fOSxCuxY5Pwy81Bsjnc5lbwWWE5wpqPl4/ntz4ujKovVJcc3
6rTzz9+lDiLP6tQKPzXoXDXrrFIDjKK3+OtrOfG8FHChcyGYV1ClgebjKE2jRCL+rpfZrtpET+FC
cOKdSeE5fMrQ23492PEbj9gC0wScZRC+yGgBj26ckmSl0XrGpgg9p4Tc2ybnTtnHj+ZtBFpxqGjT
dvNJBEjSLhhHU98EYnUVx9Jlm4buVEXb3kvPnK5PXQsdv5qFkSbdNyrHp/dPp645w0yxQeFTJkSy
ABLnvnlmhTzqJUCpxg17EyHMMFLcXo6mwJClc1uVsZFU71urJoXddpBjC8GjQ1XkJJAdDCPFzyy8
HssBj7Fg/fUDO56Cb+MbIkV7xEoW+8LHi5zkzhQzYp5IT5IrBc+Z27TL9YYsy/kq+nzD3i/Wf46l
zloEkphkWD+ONfTqgPGFvpnFZpMrUUrDyZkO2I2+pjh4LpF71ALErQUBRMGV7gHWZw4sR5eWZllS
qqG5JP8OvJ0KbxLQo6rGqW5dCL6SxBe8lQVnIGjEiGjc1DKrjGZWP66s6yxrJ2VwNSnrSkfzOkHZ
t2JkNstaS5Vx11ll3f4SZc5vMs0e6zFPwp7eedpCxnVXlgrN6/XgU4xCmR3tYzXSKUSH46QppS2E
Ut/eqH4hahclx2755etn+mlPIEmDlI/TP7bZ5mcbSiszsKVt6L19ggXkSHb30tjaqnOsVePES8v9
q6fr/2dsfps9Sf/fKZtV8Jw9v8/YzL/+Z8pG+n1eb6kfzEEW6TORl+HPlI2g/D5XpmYbUiIvTMFE
0rZ/5WxI50jGvIvzHxhWisZf/ZWyUX+fLfbmXQLlFXsiK8U/yNgcWcPNGR82HVY3a/aF+xwCynLd
ZlF0J27hdTihjmtusSzxqDQc7zZ45N8utEjSqFfeuaT1nJT+exX4a2QSUtBaZr8u62jFEzozTOXh
tnfMVf8ASnQ1s36nxCan8z+JVj4ucJ+Hm/eTd3ssOomyU4dbkZaB6zk+U9Y5oMjOMV/blvgwdc8b
3hwVxz6PebQLemUg1sN0Wy+8lUoSoLtlcSFgkZc57M0Kz3rtzFZ1tI18HvEoDi59tVd98VZddZvs
FrsE27hGRuGMa/Xm3QQ/EXEfrS2fRzpaxKMME5xxeLu28V5aznT6edb4ydJYYVixIvd9ZsSPEwYX
cByMaJuE7cSyhvHa0YRpkBMljfZ9vpvtag5fKN7u5sgPN4bFcGZD/jhd3gbDBQdiqokF4WfLxKkY
FH2snsf2po9/kNFzWu1MIe/UCESVIJfmIxg6/I8TUmoqUZ28Z8+7FUsqXxtz/HHmhn0MXP68Btx0
34gJs+3S0QjGSCe/0jzTlPnUP2MDsoUezoQwtuNmBvae67X9VDHlAdEfDUZK1/HEM47FlEajeVjO
PteLYiMu0nWOROuNlTAjEkgdeo/BdbQyz6wj7MUfFpL5Mkl5z+Je2p7oCDmONTsiwSJNXkK22S0+
IdGDNqjNtq4V/0JvOmkEdxeoMn46gemyPusX/4e9M1mOW8m27L/UHM/QN1MA0TPYkyI1gZGUhNbR
OOCO5utrMbOs6ubNMst688ppXkqKYITj+D57rx0p1wbZNJb3du0vPz0yYB9wFt2TzufiIwyH4CNn
Hnv0tI9Pgv0Ewh0yL92BbpoVLc/P3Kzet+2bqdr2ETA+f9uudcYOK1nAkH9FjrDvdDnaH5M1CeA7
pjnL87COUZ52gId3a+e3D03uR1A3c21jRWDh8rgZOESwlS3mBxyXUcWiM3QWh2FXhzUMFsOFKN0I
0ArdFBXX1nZ7fBtuoy/Kmwn2U7371fiwK2fHphjJbk0b+QMIWLwE2irfQoCwqVPN/IvYTrrN3t16
83nOGn23uFXziEAb7WFRJu7qpO2Uv44OwYZgeJvI2LNGUJepMZtEBSAdjCYcUtmO84+M9joanoyi
gncS8NOT2LA1Ila3eN3IADHfZazJq63QUHHLyCwvIpShUSH1GNlBzs7c7gsl1/ke9hDk9sKmWnAf
dH74p/Mb/acMfbLDPCfHArl3YdC3TBYLx7wogiiGU4gq1fqj+145vZ/FEn/VUY6T/dpsys2TZi6Q
1IemhS7FgSw23C1di3eNbcKc2rn2v+1rDrhInXm//WEtfhIfMXOK2R2u8GWTkYikovWSZ5b4RcvP
iv+RusgJX8mjBrO7L8ToJxnb34GJnUkgxoNDFm2Nmkf23sVe46G82Uajb+Kxxxg5hhIznqXN6N2U
nnl0rPqmiiBBwxVDbS1Ytlvmdogmv7l1FB4qT5tlYntCPax2VZxQ3iLYTdP0Y516+9Mo/emd/r7x
hfzE/FCpxaJLa9Z0N02zU391IXJj3kQDgnve2BjaSvWpKwNMSISqtNug9N14TTTFA0fieWhqm1LI
xgfDSKXZsxpIXAG70caupbjzmm9lCWIJJ10JOvdCyMd5lvYWfc7TuO2sdi23WCs9vCnqa1LuZV8r
UMYnPhxlQUrBmufUjDJ5MNAMz7nXO0O6eZpfi2JQ+Oo7S9/Sd6Nv3MrNzGRQW/fsSupmtoqvWi4y
GXtUYr32wUCZFX1EimYsrDc1bDAL9lPe85Xhi2PFeY9i3tPSt8Qgxb9bVI0vhvn+XW2euA7C1o+Z
TR1zVxBaRPbsb74/Yxdlqu0yNNK4Nr2YzuWYgcxzhPvTzksJLt6XT0ZmOWc1hIYXm12gHqeiK35s
NfNFU21dHFqjtZfLvFUxWxFO2syITo0l7SegkPrQ2Xl3qjVbrsqxSWtrvWb7eRRo9NtaDkhUAedX
uPFirDG8Ylk1YqqXzISMmHfbdOt8KTr94lR4utlasYx7QI2Vn3qpikuEcvo5YFC+5O3oY762pyQy
+yIZvNLaL3QwnlYjrJKZcPVuDLSbIqKCYBua8IC3T94IQux0Va/iXuuyS8esXWhrqMZr+537i5s1
X+6H0ZYfrqO7Jc0tuexXa46+argUX0FvAXSTVUfGFddf/r5OTk+naN5jvgx136fT5gbFbjZqY2eK
cNpp1eZv3Tw6AHOmlVSn0Uy7sRmc1BJF875kyt4HpjZOXW6LY4gHGyW2MPbVNEtajzIbNNVguVuO
yTOfHkZNyjjTiqRm5E8/8yWitSejk/wXNc/kp8dmNs+htckp7grYUUVRwWCTSORUFJfjk19POdJd
aavTkI/Bde77/mkziv5ttLb+pTYs4C3aycNLWXfQ4SosyJgMgn3nUm+J/g5deXaN8HYLq2ZXmL1F
5xe08PdypvSWPVvmUna3rMfe/j4jestEt7AxcKQuxzObH5T/tJ0X+YgNZrvDChjuIad6H8UcDlVS
lorWUNMcYRSFrWvCgC1YC5jusn5unZh+d7lXf2xzAQ7dq5V6HksdXOAHkiGzdLnuzLJTv02jWHlU
afcHt1j7p2kPzcGtVbQXuiyA2plqvgg+li+ZaLfPJrPM3wP7kgsFlCJRq1e/rk3t7CYQE7HXWcte
spw4evyjUqnr7I1VVXipljV4bpDOd8K21zVplNV1eAYNfRdiUSNQye9gHUfgf9Yoi1sa6upvqzk7
5kOJ8fa+tscOdBaqesYqs2eBUok6rGJu+8MT5lrkmDr31te1qtyXuuc04GW2n9KtyU2aWd4bOCop
asKJNZwFidI/s86Ms+XO7R823AKz59yoPUS+8U8WOFX9VBbB/CdnQ3sXbYWdTpNnlrvCVfVNNLTl
vihN+wTBY4LHukbFyfVm9SrWCt+wmnWX5H5e/ZTO7F15ylunfnLDvVPI+o6iG/oD58k8uF7V3fdd
jZLotG1501W0A0ZoBGPM06pucOeiA4z15r8bwLdeNlCNh1UU5h4o9JjkKrO62HDs8mRmSrDgc9tD
OLd2fd6cqY2Dxs7g/OGjGoZohtZg533cbc56N7A/Pbv+Ot0bDg0bcKLaCSLcOP1S+WLEK45h91Rm
lThIIXseHdbaElVnEWze9CBp1tfJ2cyfzPyZTDfYVYng/6+SccN57jl9lHmJHvBg7+0+BOIdV94E
uA1/jrO8NNbqnEqmILaAbs3Kv6jpsMoBJnLqe0N+b/dt8MgIa3FLMrvhjW2aZ6CTzAsLTSPCmyrW
9V2v7oSpoJlx9Iqt4UXo/kqPRF3tmBCGLwdHfB17Tdd8v48Kh1zQSJz5uD3KwwiJ6H4NRLXf8k2A
OV0dNafB5Hp32+ywhbLdWQCOCOcaTG/jXhrRSsp5DH894E9YSDvoyj5hQJqqpPcl5m4rkOS1WyGi
OyN3lZcMHFlPrr2MFtSv2TkttHgczf5bQ9vk4NEUNkY+7R9O/uED38Viz0EV65IVTVIGg0GLue8/
F/jsnLiIXHEbFVCD43EqrTrxe3PNY2WF3eemQ2oEsXv0J+JEHRAqY31bRyu/tY1RjYklAwdv/ABu
pbSybMTWqscGSWsyQx6LQPMTj73tGvtG6MHT0lJi0DdH870XG17h3mfbGU+IYgwS2yoM4GtQ/YKI
DnliHHaWkEsU99a46ad+adzyvRsbu/5cMYep6yrquThBny3dc+Urndg6X3Y6n4rf7aKgOzvuXAS7
sR3c12zIw3Pf8zUzZvbJiRkw1OrZygLiDY75a7KtSJLcGIp9oc0m3Ms1AAyqWKb9toPJgITW9S+l
52UnDyYX87NBZdsGYNZ2WPUCKLg4w7IEp6UWFeO56EovHgu3NeN+HmnQ6WVWmSmReJeLOQ+8N3ve
4LVYa11gq9SB3V9kqdVdYMxZD/CSfbRuMnlZZcGyaTWq6Cf1S32y5fP6I+JfcFPaPrcdUj6CK34L
Z+9u6JmP7lgd8YDIq8Y+sk+X2y3jhRf9WOiwcDgnjY22WKRARm9v4dncj1ZwKlq7uTR5NiXQ7phz
ggBv4aQw5sT9MuI7JbBD4CZ3l2TplrtBz/0uLAO+JX7iavNUlo/WtPKUXvDh2P73L06H/l4IbXKG
1eFS3gSRWGim4lnbM++F1qvV9dU1rAxrt8iSJTJFqonXjvpqyS5LRN9J6oD40pvjrNKqa7sfk2ON
RL2i6Gux6QbtCzsn5GAg7ZhjluhQmGnuMYN3Ww0Wsl/72B2H/iZbwFSyWG5e8AFmaR8uCjQhPwEE
zdiFQjpHWOfb2Z+jb8SmpXaRaqKjzXJhH7YF6EqTiinEbGMXdYs4G+Gj8tf9TNhAD52b4GUxb7yp
je4Z372Nh0GU79oO+l8oyIglTE7zZ6gwViXWMhQAOgIv/BVI3r4ZXPYbo2y+gJwlxR6+RKIvx4Ke
kXlTT4aFDycNpRLkIir5XDNq3uIFq/ioc/OJJT6km5Hl9PvkVvbx27RBdKMrrobH9BN35lA96M3o
zlZBJPW/fe1nx4NmGKCs87+/r8oG7EBFMP0ad/mj/zpeo9tvYQ1+6B8i3C/R6T+BvP6mcv3z/v3X
v+9vmtMk1pxMx6/ydbFjezdcrcf6ZkvaW56fL3n6n+77/y6b/Our+7uo4Vj5pKZfmaKvBxOKCqZd
7/4nv/C/sQu+NYW/vKa/l+rloSEa5X0ZDFlwQouke/TP6gDgMeHD0lHRTonv4f9hp/qvW61/ey/d
v6mUrSxd7W+/zMOaZGI3N6Dt1pc8T6KElA5OmA15NKwTFK9/yij/X7r/Hyx+/vIF+jZz/ovd8qDK
9ve/iPf/+IF/qvdG8F8s3UD+wVKDqsV2Hwn3f8n3lvdfDmj4b9Y/1JP/I93b/+UHmBxMzJiI67Bh
/7d0H7ALoJsCzRtRDosmCuZ/Q7r/N3UP7hRcEkA4/GksqP+21nLq1oEr3V69DC2ZTVYT/Adl7d8+
i3/7C7712L8o5rnH6soIuuvorXuLDtDBuvitcYR4vf/LG/5/0ZK/+33/ruH97e/6frF/+bu4Ohcl
HqgdpQoDj6gN+ToHsehXeXktqrDM96glLLLkNj6FoQGWtazKk5h656UcK67HbdV/G/EMIo4QuelS
b5PVn9e7unEIWHvAbmt/lHPc2mZ9/K4afSn6ajm6m7B3TZhtz34m7TshGYpLVqDJ6tpESkuhjzn+
tauein5BWxjHxKk9M10cBohh8hrC6QLQ/CzcLOlNaRyZBbw4zEXjHhtvK25UVU5P+eBD7l57fzdU
KyMY+9X+1eYKA4UCNA/ichNeG0xi2YmWW0igde/9MatWQ2LM7ZFiXRKvW8Jw5RzxtnVFkvEBvGlE
g9u18NbYDObq1VXCQQfi+hopq74LrKL/yABFgmx1zGXY0c7uQTitfH0ufC/bNZhUn4Uvqp30fBi1
ZqXzRzDoGwuRrXHKxOelXQZbzhQON8WrYayaomTh7SKkrzxh5mu+nNFori0CbB9X4eLdUjI1vLdV
SNk6mVQQvyrABcaXKC5KI8Au17Gc2Krt1g7YwjZ0Ju7hIvSHyDXlm+UNduzoKDhz+9jOc17kl6wP
gFZ3+coWtWRiOcNVdS5h11WvxeIpopb2Zp4KpLrfC+rSYcO7zK+C1N9kl9RNKsv7wLI7Ps6B4nnd
UhO518S8Phiw5fuivPbWlF34aA+mnXiiWnd23nAR39q2+lnAdr9ZJwt9bFLDJ0IafOSuEA0t662H
/IRv+KYn7HnhWzI+h7PrpY0v2sQfJlA34OiSyjTCH1UxeFefC9RNi0d6Z81tsW8MPLZUJZSHqlq+
sLwad2tngx2mXAZbLlh9Ps/9FZm4fxhyuRypc5t/1sPonk2nIsQ/Y+Jc17y8rJCF03x0/VRo19/1
E9f52ffmX7Q5yX2JN+sWGIrDxUf8Fp5VPmeN0e1qRLq7wpH0CuN23E9mDkZc1e+zsZ65GF/ypZ33
XPQccp9F/Uu3W3PElSn2jizwMpaRkXbZmF2mDBBfbtX+eercAsZkvvLhWHSA8vEtd/4Ox3K7AxiO
86ue9HYpUaN3JreQi6zn5bXP5uWkF/jjMRYntGmWCEe7qOV+cPP2STiGVx/IfSn/O9Ia3riWrLnU
2jMl2utUBexmHL2ScVzmW6Ey74+hHPXQct84t3bRv2Ih5VrXLPJuZbQlu7VWZIBzUK5kJE5GawQ7
1bjmHSv65qPUEwfQDIcZsaEZuCaamZtaU84nwtFC3il3jphQpQj3uWg7rkOD5Zw8VHV8jOFs7Bi+
MuytXsu7YtqtOGUjHbPTWBQPvb/hGlYzkvEshZsYopiWNBBGVO2iwSKGP3gZh5B2iriNBIF6DMa/
6bqjfrN1LYD9GJHaWIvGuu9F2MBjBkNo7rBkhxer7OGf+4K89zhW4w9l1u7ZNbb1qWKQTaQykLE3
y82/3wGMh0Rnxre1XOtDbVYgT0kqvixrM6V5MG1vdm2tKYpec251uV3GbgtTY/Dp4R0xRp4d3Aw7
R0b9HS5IapmLkjS0zyvowoodT4eMKjPbobxhiC7Qx5wfmocmC41vEvcim705+2HqQvfZV5HWd76b
F3D9VUaE1tKnDlHl4Gyhh0xdiDTAMLE3/G+ENo7VB9eIJNFiv6cjfVrvrGoanjHJT5ch6IwbktEs
kceKCP332Rn7W1GcdDXZ18IRxRHuOEn30ZMPri0dEpFcpa+qM/UVq0eUBtBa9pFdz59GtBH85c7w
4LdNVsZeAc6Yj6L/MuXbmIb9LM5bsfjXAlOIl3QrhxVXrNxvUtMsABoO+CjVsnpPTArOJdf4e3lN
Wj+u1mYfdaXMXQtvF9I0ns9xhB9OJt8hKav69WMxOjrgy7CyqUbAK36wvIYE9sYX8AIcefpsozna
ebpCOyWZg0JdG/VDqQqFXlJ2F71JedrMFsDHUJPJjgbxLTYZzSOycUvOvG6MuA82kceFjNZx506B
QfIVJ2iV8E7rxwhXKGjlbGqaVDt2flrYI/zsh7Chz2EVzbfaFq3vRuBMdxJs8kFrIzhgwOF76lit
GcUyMJebZiLbV5qBOBfh5GZUL23zdXJMCk38AmD7LvQG/4/N1RCyP60+n9UMlSRoLNAZCMU/nayS
X3pGykUONW/csp7RC+lHudm4cLEKyYKLaBx9l0cBhkf13fZhm7L92GqykXEx+BOVBFW+3mC4DT8d
2ZO+1yzd5jSzsvWFKa07ZqZqudTlbQrv0zmPurfuR5U7bhJkq/U0GZtNJ4gcbyZ8yxe3XmhVmGtL
3JACaXDq0rVEiUmecbAX3V05R/JxJQly5bBfXvIqQF0qwnk858NIad4a+eKrEo538nIxi3Tthukx
C8MKUGSXtw+SC819pcPspYsqGBr8Y6uz5XbBmHjBuFxcvy/fpeNXVVy5JjAPl9+Z3RQz4lnRBgfd
z+YN9AZ859EGgoCR5zdND+uTRXfL7SCayInVNmeXLVfqkz0QPkA/HO4gdbkppRvW0eRxnk6Vkuno
z/wx7NFiqHH+3pgDcTTCQd+GhU0nfV9SI4iwmboL3nWWKVMyslQ4zJPFr6WqreBGCrNzYj36gdgZ
WBvjuvSdx34lS7bbVkVCXxvLylOVU6pO7NrdLutisekaOjJmBGfa22qonNO6hOOh94LwWhgrjys1
Qv4fwgDVAn/XhVOW/0bW5tVc7WiPHIVnGjskkCeeUUXrz6dsq40moe89Pw+aG/m04EoURuODHwvN
xOlL+c6OZ007tmJ30dQGqUOl0NkajXwv8kG8a5H7D+TfzIOY2SXkmYBxQNPqJVyjnoIGZ+OHaRQ8
r96kUwMh0mXb1nqHITe718aFUrH11qQPdusZxa4ZVMsTZtpGvlLz7L6yOAKeHmWTieBdbDLOXJhh
odeKj2AMw5MzLvZh0iJ8ogAhOE/YItmiBjjO3GgOju1oDQ8TW9Xbphmbc+6bQ5eWjfQPpWdUX22u
i13QusYRqb/g7cjrg6MpuMzHaU0qbxjTSGwUlPMdSiszj85A7rpLVWmLimKW23LLOb43j4AGxjm2
eZPql1umwO0a+UWOTTawE98eor1Z1nZKvUJ5nk2mbrpP6x/FP7o0BEgFgPrbnc0WLuHNMu9wrZap
7+rhYY7WARXZaM+BcMPLzHL2xRkGez+aApJ0FphPZri6LOYG/aaNTMIP6azt1lgKe7fwNTnI0FMJ
i1X7zZy34uqu+dQlTjQYn5FA0fcy5sw42Bjd4y0aCcfLELZd6HgHmwaBg096t6UGaF3FLqLUZr9Z
a/7DnjLNvUCG3xwPB82aiW97dox2SGvPQonVXu7/lH3L9rk0KlgoazGGv+kH6pJ5JK/h59h6vVYa
7xkDyl4aynhejEI/bu1ciNjpR+Mw1DjXJ4DG9ybracbucL1xJVUmrv9NUSGnehOMqqvjACd6DQww
CB8IOjVnBtHtWhCuuA3M75oSsjj0hXSDc87KaUuHpoBeEE00E/iooblrlh9k6wY0z6pdaEEa/Ksu
c12mRRGtv7ZmKUvAKFNf78e5kyfFs/20BHl/NeZxfW+lzpNKSztuRIR304r0DT203v0MtQRR1erk
B4qrkeYNIRsqgMaHKGe1SWtIQbGosfIVNykOJWzFjSFg9TgT2IrbRo07NQ5i56lqPCKvl79V7/Cr
HX21174eptiRKv8a0M56yjELF1UmpyFImsvCInOjdN4OKn3CU2nfFfbyEDVV1aSyGMu9b3fIg76A
9dOAHhGa2iguFets3JGllATpff9QuGO2KwgGvtTRiCHONIc/fHpNdYSeIlXM4lLSwjE6nZU4g8if
poAxJ1NVuLM0pgMwIP9I4g8R4+xge7ss6lFZmUG3d4uU0Lzv0S8vnqIlYmfWefDS2uX8izJADnJ0
Yv1mlq3hxibT6B2Ub+pkMJpO+yYqrH1YrYFL5C1sfwVqJClX6JGYVliP04ufZeYNnTrLs+LRdN+T
fN4ziPs/jCLnw8pllBUScaLd5mRUB1rym0JkzNZFEJF6zEY/+pDB5h4lDuTDALbrKzJCu0+CoP1+
6uf9Q5AbFfpmUV+FqDORVKHKb6Sv59Q1fH3bIAAmqoTgkodq+I0hsrndmu8QVF//Eeuw4pixl52/
Ueexzrol/gejpm4BhPjm1H47AQg41evgJMaKq0GOjXXyom2hggx2RhxtHyLq8d8SqkrdumRNUdr0
0fs+9kTTvV1K5x2gbcVwEZQOz19Zzr8pKVdHy++/M8qm2aqzxSIxCfpMsHHvUdrRh2lxcxrLexts
RVAU9If6mrgbPthNQAWOljBlSETmPE06H82PuXhG+78hPt59aanKa435is1vP99EqzYfB4elHvnz
xn+1ZzO61tyomSbNntBPKK799/GSTI3niZhxS9yNQ1adKOmbfHrChoA3x67MREqFsS4yOjsdhbl+
zYNRpmzqo3shOMJZwXsVhoy6i45uIPV43cZ6ltwCMq7/U0YZ0jAa3L3WKjo5uDz4PobRYzeYRloS
QUtYRGfUqxgdv9Kh/DJonn2VS5kdbJaYVdzM/BGLkPbB9qZ+xy9o29nWaiQjTUwpuVOMUhHxlrGY
vffA7rxbxsFujKXsESyV0h2llY3SZE4HtiVuEQRHybP2M28dcjlq7NfPNv8+h92NoYk9zIQfiw9c
87gMGyGuiOl0+iE6UpQHk4ScOmUz2cW4WmDspLPbW+FxMcpeUhhXtNZ9w1Lnd9tyV5ZbU4QfweCx
8QrdP3nTcL9b8ivwtYZy1grTjY/NZRzd6szK/6tlyXPI8KUwXudV6g3lx+ybb7PX/l61e9yM7efS
kdj32XVPw12+zX8M0mSSO7vhTYfBam+YTZ4rVLJ/xDDDhSvpmjUx1QCPc2YdpDJT0KAHr2W8Up74
IWfuYo3Y5uMqMBJYAbunmv22KDlhDL39cn29JUW4FakaGy5wVvBBvZlMA19f/UWd+8x/bkReXTMl
+1hWOKBMe+l3K9ecm5IoC9dU87CxDGS7PXOFyNY1drhyXlov6vmEmb8bp2Id2jc/LMV22G2KYlev
hdzXmMcIfvoLiWz5szV41ZuyyyQKtz+ly+3GxcBFTnQjpL2dssjmcMtIu+bevq/Nu6DoXoKFSi32
Rd+MHW21Z7UMR0E3kEevUOPQpTMNu0JxIPvRY84EmtXoOYrQYKkWNnzucqum5aYPInBrdgOxyV+i
26U3z5mCOjRzvXmelF9CiBp+atdbPnVfzEnXE6M2l+6Ws58n8Kjl0wSVLFHsdj5Wwy1OQbhYCd/B
9kqrMqte9MF4lR7zpgURryOsHE8FRWv9FDhJjrkhqXX4Yi0BN+qhoUkqn8mIIqYlVkYBQk8/bYo7
EC9C0NaxXVdQb9gZp53vDZeSu8x+mCNj54fBE4AhtshlzygwLT4hw3J7XryCLanWu2ml5dpulhFF
cSPGXK7Yn0PZnSOqLKl6Df7YTS3PTFPzfirN9qAyJ0qwPEJQtnyRTFH/TBLnU3EhP7Q8UhPa3Yiw
B/JpVMZnVwzf3pBBpXoYOR5rGK5CiGdULNo5HMYVNQwdZVf2L6syf1iMbtDlXPs0RKCwhpBVFh8u
ceJUpQjQUn7iu0A1AJZ/TQGdpaPpvDnl+B6K6Ge3iovB3hnFBPiYWH25m8pSMgpRrDhk5lsIXz22
ZIEh2V6fGPmHfTRsXopa4F3XKmzTrcDJx93cZ8UiIqwTw23UlG9MEmYy2YMHuJWsLfm7+sDat90R
tY8QKZQ6Yv7ok7FZyDjkzoMlgVKNmI/IWxMGpTura2ecMiKS3NXouSPE3uylp7E84fJ9tS1TXZia
RFKIwL8soDqO1WLcc6MDI63EtMOC+LP2XT5qrq+uRlFMp2YWHZvXpUvXYXvHMrfTQ3DF4pKUzJv7
YrBfsnagooKO4YT889M8tPfBmKHkRI+rx3aar/RDtgVHw81eCqLiBWghfivlvhFTHjvT+qIn+1GL
4s2t5KmMll+L6gEJChoSTBe9e13Y71fVn7njwanK4/fPbrP+CGcHo4Xv3i1dddaTwhjRUZ9nHEZC
ruGamuym42CSHCbqRuiJ1X/37HcTzUKLPhhN/thOHO25eXACjZ/SOnpV/YpFlrx2tV+Nvj5yjd5L
IGhdj1blMov1pXiUa3m0qYqsJpAY2a3olyRwZUXXnARRtiV53R/XiIyx60IZDPlEmqBjIOS2P9aV
Objs9E0RRmnTfwYF1iYNpkAV7kUO05EHwaG3V3TNYPqR9ZuRAjE8WKKE2OD3wnr01XReMu/kNCsX
SFHsDB+fYpXNlwke5DZ4J5eLqQ4qUt6dfgUrwDQoIn3IPHrsJp+mtaJqH8oM92UPpyz8tRXBxWJL
Gytu0ImpjJ/MkVcvjCiVrQKT42h6zTcQfR7qVbxlU37I5PqatTkYTOM5rxhdoMizHcDZAx2Mw1ZJ
60898jRZvdtO9XDIIgR5E3+0XX7Wa7QLOeYGAsG7Nux/0T6WWk74YtbqtzVsP/teR3x/jduw3niT
1dMyRbHdTTfEwN87Dz+HCx7PcMoDEXIrHiWFcQYlbzSVph2wvIYb9MaGPfaMzkiVrX9Ecx7GXZdd
o0jvlLGg8Vup7TQfDXLmiOAQGjWThKKTlXvLVIcfRRXtA8LTsY81Ga3gYx2wHITT2+jYB8s3Xiyc
xXwLQcyVITO21QW4XtX0wmdrhO7Um0AZV0HCP0oskKLfvL1eTzMo7vHTmvzXzCDr7Wfu/ejyA4Hn
+vvOcW7Z498rl2c95SEajAaOGcdvnmyo+YKTyAnzlH1+jD8vsQvOE72b8+CsaoTns7RtkH/5ndtB
ssPL+FsvmXu2VHHvdetdZmeESXlbDm5Q8o74t5M0Lt7sHGeAHIDjztP3SsPs6RIcbj27vWxLee4x
OliV/n6KPLWzl9rBkoaBfhAIC/jEuKCN1Y21Bc+LXVzhTz+UXKXJ8p383n7HDMEGi37cvq92W0BU
vyjLOGRwkFl56ZzohV66XR2IdIHrFeryKAZomkhD6pe/0T/6UDZ/3HlM1qw/iApHAdzBlv9cyjoB
0mZSNTQHcOyCMMaLkwZQQrO6QWuwNCaWydybkIdz0d1B/r9Rlp8EbDQqLvWXXtyPfnOM1ixdA9x6
1s6yWCi5T0O20QX/vID1VONbudo7yzwEgbyGPWsV7qScA7WkqH45zW6ZTmWYyl7t100dp+C2nbtn
Guj2nDLf4AgMF8jL9sviASkMm//J2Xntxq1Ea/qJCDAU022T7NxSqxWtG8KybOac+fTz0QPMsVuC
NfsAG77Zhtkki1VrrT89MDOiP2s2Ggem3zarhLONYt6BIHuHhuLHRKKmDOxVYxmL4aaQoDYr6iVW
x6fRtredAr9VIeZEa2/a3HA0GfYDR8tcqQfMVvkUKIJ8CR2qFP3Ag9llCOLViA2hccZ+5xTsl4Go
vFpWV0WHUWHR4cx5XlIEUHp7dsLytkgNM2EmJuqdvCxMS3mpAntXNDXiPfmpU8Q6i2NYMawJa9yi
VfY7esrJ04aLptUQS0MvDImvtOc7K8YoJS6cGHKdlEwQlmXhEZXWwUFFtQDUNybNvgk6/plmPVGc
Y9dJMqLcF8z0ctcc7iOJwsVkqodTKVedS3CBpH6eM9ttbJ8+pXpOpvR1DPTnFtMJPUkOktrf4hu4
DzOhOdgeHEaTlzHKMAqMVRTdhxPcv22L2EWGcpBgE6pu5eF7F8MeF9+6horrOWUQonTzauwucUCS
pOJSyHsVxjqiZlMoi+8JzxAboJ26uDwG9Xnw16MS4WVaM6uxH6RIfyNb8Rn5S0eqQbHR47ABbGse
g0G57zTrZhrDx0kF26D5wCmWPOVEPvgSFihFcvRb5aGgctfs7EiB7ZVj/GxyxGTcLFy3xgMLwx5z
cDh23VYz7oKZjUIfXXVMt3hf4Fkj3dbzrx6Ga1hXdzHWlSPcYcATNjvjgNUCcy4rO6Z+EHHU5ne9
np6xUHUIaWGgwg6dKXB7bfxRjUM1ASMkfcQOTympR0+4nnC3gH6t8i5XNDd2XntNpazRoC43CQCa
WttAsZyMFzyZg0+qa7UTNU6mcU4x0+UHs6ZTn5L1pKnrQTaf5aZ5G5TqVDaZsTLr+n6W2YrLEQs0
qwu9ceqZAYKNNGPoibABvdLWBQU0Djjrqpl3dTE9ZCRntsazPe9mop9LiLdJqTiJ8a4Tv6lZnYv9
BMdo4BBc6o463V3G2C7qnlWJZ5MQLl3e9GSTaM37QHLmTORqFSY36C/OPn/RqvkjBaWaokeYFG7n
v7Z5+JC0I4zzfBto8TnpDUct0jep9enX/XVQ+eA6rKR4ADCA+e1lkv8tKsPjbE8HmHI3oM2bbpTd
aIjXBn1aI9tPstq5UPjXSnPmo9smQqJh9wF5jUtl8Szm+JgHiGoQJZzlUWH0p4Xn1Ihui7kuVnHb
/NCGxljpDfh01OCKHEuNhRtK9UAH48lhdI5luWKrKd4QEjBJDCixQCjgAenSbdj6762pPGDs48JW
Jo4Z8mRmGU+xzrhz4HIoi+8wAznojbqbTQYNmeCQVFednD5lofZD69HPYG8oSuZ2kr4vsvykdMN9
0KiebPQ//KK6CwgINkvKimEkDrkO3wEXTZefvbgGR/D6jHjdGMb3biKD1IitG5uZ8kZgpLiacGJb
x6PyKCWZtKYtNr4tAvrbzNCzXZzHkceLinaar9Ovt1Jv/6iqOnNj1bhBC7eZBcbDejob9xDmUe8k
gqZ1fmt8uN4JwzREU4qHqRQqALpk34pviOJu3CwPqN347NO5+IE5IHc9rXWcYicYuLpMtROxPJTI
hys7Zq+9bV9CS32Sh/YxnBunaBuqnPpimb4bN9YlGiuALpEZTm0Hb1Esnnsy73XcecaxffHzHz2R
frGd3AaMf6qsP7T9uLEUY3CqvodO+WQb7DyatB+j+Vdjsf3481bvqoNUagefM2hSFFqXgEKQBoLa
vC1zpkqd5jBl9IBFdxQedNX2HD9noe3GPVHkCPRGmeG8FCKgLhs3bANHbyAYlxL+fpW6reNxP8fq
DXNB20Ds5pPgPoxupAL9SGsGrrS4EkTpe7spaW/wdcGz9/e4HxNsmdOdyfRW5vjG72xlk3fbZqaD
AGtTK7KHYeFBZaGavsRy0azVmNzqOIvZTXMTWYlbI8TIpNjTjWzVTSgx631uYR8A/CDwugmLh7wt
VnVgHOXxrRhhp6Z80mqC3TdZvhRF+fQjG18SJveYnjMUAbX40QMTqWXrdoa+y+FZ1MqlmGon0yhr
mYK5o/mz8dsf+K/l4ljG7MGm7rVSAhR5No33Qf6ulmdV/NbIsSQeq9a1lQC7jhIXZ3KhD5nJJHGY
HMPGsLtft8yeKvnQ0KlhpOSEQf9koJr1e8bP44iXmMZ4/C0NnwuekpAJLYdbLdSNbRUrqLRUmm8C
k2Gq7x4KjEy1PUBsl7T7MvWkAvq2rdwikXHUCSazv67LY1/A9NTHVZE8ZqSc1816TlHo6ZSEXtGC
q9cI3TI0TeG0ayx1ZVaq2y/5tv2AQxYHRmGWro5zuoEcUIdRIR5FWW0N9ow6MvGeBGmG7ZPLmHIT
YO3r9XYZP4VU4EseM2g8j/vVCC6hcsr0ox6SZ21NTgJAO9Wqk6bSHaISOotLi6gm7jZdGUMtqFVO
jsbL27uBQppCAFKueStzXsk9OXOGRkhgv0rhJhi+QcozbW25m2R9FWqcCsY6x+e4zV8XvHeoKDXy
h9aPXACAgXIx849ysLViHPQfmvRRnl1fnMys2ZpE5qRPUUmNYvNlh07e9Wyknik4zw55feqJcJFu
ivSQ1UtQeMbCum2rc2sx18dP/1aNPPYpmcaCTEUoSrz87Ect3eiE6JbRTWSg0IIgrUE0VzrLjcfc
zetHf37UtWdiYWT/LWzCI4wHeCxiJWHkj/eSq8RLP/tih9+pI/Ho9w+18Tj7oVsiY6+wWWpCihj9
UEonadQoBX6aJmzqQEa/kK9bc16H5an3f+kCnsGQeGx2jpmjd8QGvapOPmMMPOGcPrrDVw0NKO2q
iE9TIFBocbwsm8h8NiIVoOe2Eu+M9mBTlU7m39rdm1Z0a03LPB+/nw5xi4Tpn80TNrV8GxkB3Hry
AJXvnNbbolfWlUWGd9d7RQC/oJpusCDMnESt9mM77gwLEkikMeN+sJmyjULbtyCEofSqZN0qTJOz
HuBu4T9MHVtTiNOS9h6Fsmc0L01z6odvk1pTG+Da7e9hauHClDbPgdDX+Ux3iBK1ogNuw8gte5mP
NPEibd5Dy3GUSFoKnxWUJhAE2ZsjvLyidutnOJAZ1p1e83p1+PzqltHuHVwQpwGVFfWvam6OAx8A
G/QWiMCd8/Ew438BEc7RpHKV9qhrTEEPGB7QnF5qVI4dLEAjz91OkrbDWDGs9lETEg/FpNSSwl07
NDsDy65BXBYtkJ79sIMSXD7dmCmrJpHaO8k23gppvE20dIfoA7hftjiDUMuY/VM6mGDHxlMa+jIk
/Yapv3KT5yy8MoDui1fk1ggb8DSETu2Iao7M8iYCJwDmZnqQuJPQLwrFTK7Xx6SG8o3r3Ysa4+hN
RaYx3c1V9TuRUHSMMn0HfTZ4Vlax186zB2GutEq47n562yotoT38S7XeYDlYyzA/xN5s7VNl0QJX
ef/DjMsHjRE9QowdkyoIiXK5nakh2GZWcyawjJ9nx8AeHnuh0yBHpzYI7uwSkacSi9GLmuwF9tdj
P2WKM+pvIxKIvNe36lwQVDJsJdrPDqJxE4u1WDoHhZmcSlGDNMnxTbAGSc9/4dp/5KTaBZ10SZmw
9EqYnQ2lHFdhTpto1jrnYkDOECeFM6V1e0b9yRnRhb9yKS9O5QhqqQT+bpizJ4nO0hks6yYeauog
3OhWNYoL3DFFtMJb/8HMMJNPw5bdgRmJSoCBX0fFJk7rp6yLbuqMyUJj0zz3mbJHykiBpcErYRxq
OjAa7/CVu2d+XXljlL1kmcYoqWPGYYFBzkK5G5TFdhEq5CoOUsyk2BPiBlwccWO1rkWe7htavtXU
VXuom52n2cVZDmD9SWLa2Kb/LslIVXOlUx2VCAE0CCY+iwbrJ7TJlw+YXIJ+ZOaDYsfpLhkatGGz
7+CB/Suqp4Khah+jVNWfx0S5xJN/k9bhOZy6b7FMWJRR2sgKTFLvm4rcPLW9lDafZAX34i0jQ+aS
Zwc7qPb0CO/KxIGZgdNsY6QebJwTJqNmUDwJtEb7yNBbaBe1mrNpFYoHovrN6OOtzoyuNWD2JPAb
803D2PlbLMrosVL9hPms2tlHdFRgTbJVnrKqpRA12PUvNtyWm97njEJiHu4qDY6AYIRXNv2ayedb
N8XFRkvqb3EldU445GcMAB1tGDTOWP11DJsL6M4BoWDt+X63axSmGg1su7GYy5VlDGsw04e0QHER
0eT5XYQetXzoiMVEnJus+1w9SEm11dNgv/goen0vDviCcZxmnOnpKdCHI8L7te0jmCbcoiXQzWgS
hrTFArkrTlcMr22Arj4cuq1sG65CXLSTZ9Ybvd456Po3or3OLXhTj+Kpi8q9AnutQxuEdjFrVpE5
bqm+vCEcH0wBcKRrkGy1zahj6VZ3O3wBQV+IdkA2fCx7poCwIldyMqESbjI3nxgpxukrpgxeIxTc
WxPiJGhEBvJBIH29gpPvSR5wydHwnRQNTdvkrsVLrUT1y0RhArPgjKP8DRMrYBRN2km9dhtOwgO9
/FEJeZsL/62xwvu8Mg5mom1zPb8Ek70jEO+2y6El5nQyyhwzKdb2o2U4rRVrtMaFV3TWDfETG6Zj
65hxljx+GxjzGjAYJiu8kaMFA1S/NwXaWOTRizGqZVOgGfzVMLmzm5+S/aIHAER5gylrrV6ywt+Y
tUUoUPVetvktxYXXEm5hpNVJG+U1n76n5fGvOhxvh0B7nXLz0Kv6bSg13xTcsDbtJLt+JKSzFiH0
MGOVE8w8VpiWAkB0L6RG3Kt5hUpX+x7YSDIlBfvKxBjKA9Mwy0RGjVkABNlmsgANBdE36YBoxokm
mblHnodh6BaKYW/lWTHXkC47xGVJWhxRuUHnMuX8saX88ka0oe2GeED7F5wcJXQF8BTGEEjwziIc
G2oFROabIAmp3TgQKJvDQeTbthwmSAB+CzNhUo2CJ6bHjVcLe9pB3lAe6wQfCXrNwNpMxcCTS/v0
MfWhrMp5LWdITeif2rpTT1SC1tFOK/woKoBhr59KO+LQJd2erWhSbqQOIMiHqgGaVCb20W96JVvF
WoChTpErwRmnVHOt5yn+eRZeFnh7trcyEKTqQb8If9JbJwjs1fxXpeLXtoJMpdxSOpkcoK3mJLIN
F2toA2kXlIXpiLxU3akVAssCMAdTw0WgzLv4YIWJ9jZb2bS3W4FZLpQBhbYtGm9aQ0esXsZWfwpa
3ifEPCQ89QAOnwNx3TPvnnbYKFV7o9MoCbosc5ESG9tGZI20MoUQd3nays92lNdHCRKUK9pc2wfR
DNZt1b3hJvAJ9/oIADwt1gALQHavYfqzGYZAphPCrZgg9gqwFPpg5ca5Nb4ZELzP5mxG+6lKytKR
YQJ+Lypq2agIEkq5EIbWmPhLiFHf+CAitcpw3gwrwnU6rbnkgzoyFTT890weZ3wvYgNWTYZXCLpc
XfHRR0u9qm3jPqPmkvS+uJRz3T9Esaod6iKv621gT1BBSRPdKmbfHxM4SV7SqOmFHKR8oj3xgdH0
MI4flWQGHRLztE/Hjlm+1OTroe6ZkxY6Yt1I2MGdXKv1IW/zaZMRubgG2xoqdzB6+x1Tn2JvkNPs
SrkeeDO/41npRyZNmYwnQ8i+Cf1ggpSVVz+Fr06HEgnB1p/KmmG+mVpnDYm7U6eI2jhCm/FkRKYO
Ry5QHMWam4uP3/NDyjt0hyyUbhMo/YeW6dqxIHL7PTfNYIviP9oYik+HHMD6Cntlvg+VWHcF9Lt9
gfnyWq4azV9RhUqbadBIuZAG8cMaOuhhs93fYhWQPQs+BQFdPJr3FTlOdVeod21VWVQWmXnAvq1f
J0PQRGiMh1A4uN0OkTOWsQ7d1cKRQ88o5Cct0kaHICPzFwY9MOBSuf+ZRYP2NllyhCGdkaET1kU+
eZXSuwbW5m4WYSiDIF19bcWkD4zRdOhJ6YLHVtaw74Zx3lg4TjzJBVlKpTTiNJMOxb6CHXwpYfFA
omNBr0JoTQ9tLoV4QEhY0jSJ+QQaevL9CfsETQgEzPJ0HCrdWNdY7ZwEOOyFxyoY3UlMc0RhNIsz
suUktowGrlONn7D8yp3oQHRnvPwODZlBjlXU1bb3W/2JhGblUtJGq6uMUMRvQmvgh3SJuC8z9blV
oQyvjFxvz5o91l4ZtxmeFb2607UJ0WnTBOkFCAcUJB+IDLNN8NuoYXPnHBs8fB/Y5qIyYWoBa8+H
1hE11OdygFWJaBUFDvGUeF2HQTPcdtKACFGSkzXEqvlXwRbr5Z3CuAR2zzHuclPBqL0w77QM2s+o
N/1bWPfqFo2E/LOr8vahC5nrWhqOCHHcVZdQBuLqh8F+HSbZvrRyobg+uB9jfEOOvmEc36vePPv1
sgnnzYWSMHpX7Xnel7RkQU9gTbaZ7WS+AAdwxhW+Ma0CrGl2EcOyCNS/D32nkFUYgKAAWyLlvkXp
DNSO2kR/HlQz3LZ+gBbYlnUqe83HgBb29u2ETctRxwX+JGlgqxH4Fxz9trtRWgVk0IJcsy5GEMGQ
MY/c94RNZblhHuMCx5lVR9hTuGJ4y+i1H4sMwW+sE51VI0EXChIBB8Zc8m1EmnyJ2lG6VcKAlgYX
9XI9BCCEPCK52+dRA1Oxs8aHILD0Xw1eo9sqUYtz71tBCkNNQJaQJiVENNXkqqf6GBUz4kcO59Zx
lDyVdVHtgW/MOzuqx6dCaf3SpbWqdpY6SfdKl067oddqz7CxEXBV8gaxsM5mkI6EHDsCj6rXAuHK
ZuSbemEwih00+2GfggeZuKRocL5ZlGb3GFSy+eSnefTcwu3lsKxoQkSQmp4yGl6gpitf7+GJTbHs
v3Nyda4GY+shwTgWRlQ97dVQLbe8UCL9DEm9iGoyPYmF4ZgDM/UxT4jVo+y+FGXQrv2mmI55hD/U
qlIhQq/yoo80ROgW+YQxjdtzHarxzoQuTK0VDh5bOVMKnak6TgrxbYjt+hfy3Wt96++wcd0ysNIi
Ekf/rbb9QwmntDqjTLnej92s7fWg0dfID2rM84t69YXsDhPBPxz4CNxVkHMv7pAWdS3+f8tP+eNS
UYvIw4qN/eDM62CbIMZyOIfcHlNO4cXYuWGRwnb/JjDn5Hxwj5I3rLHscaC8BOuOqIFjtZ2ev/KO
VT79XUJjk9MUGVfUK9u8vghtvIKW38UDX+Ec5Y4HREobHPm/fXUx41rluDwEzIWheS5h0MK8Ujn6
qFtS05Q4Fwf/vhJa/SPR+GJ98RRmUXZLVbK0Kwb2abD+tv3UTxvGSvs0kpiMEZ3pJS3tpZYK5ns2
GneE8gECBJVhpz9MTG0hrtVxwr4RASJhu/Vu6NpenUdoECUGTn297vJxG0vUGV0j33LEGRtN818q
0e+aroaXoj0t+vXNKIlLIfTKg/Ats9mlP7N5/EHzrD4nRit2aQrqHMtIyeYORCjACaVifmqN0l5r
0k1X554+IJOUpBk5WPNsGLhypYp/gt0fvaqy2I3NYugPFrOyJ75Ki0yjc4hM0mv09nc9/SoDfv17
FX72/IWsMKjFwk2I65itTK6zIBxh0KtkM1R9Vd7xG4Xb9bV4KWFBfbHo1c8Wl1DxELQUvCcN9WrR
+7WiccyHhwgizAHFFDGCqh5ufKOHfzYLZF9MfJ2w69uj3WntA6ZjuTtVRsR8J+9cthdYmXWl3AW5
npGkEFW3Y83hk9WxeDdlPd/IyMxcIxbJWuTauPv34/qgtl/WKznPsr1YtmOpcLVeGfzAaJb5/VDr
vGKWAAeYJqCOqIXXKzSMJIElmyHOgYvwZilMtzERgiH/oxjqWvmXRNa79+8f9dk7JPZFQTOP2ZR6
/Q0Z6kTecaLvIZNh/K/L0+gQDyWtIxhvtPalKJ7+fcFr7fPyEExcpQ0TP2bxIQTNxw1Ibyp9P2rR
XeMXb7oSKl+onz/Zh/+6xLKO/tgcdX0APS7IikohDvUnqsxVnYsvLvLBMvH3jehLABpfvaGpV29T
Vw1SCGZjn/1iYnBODsNjtmlXnSvW+U3wUO3gJO2r538/vN/G7P/jvPp/9314M//voldi6wmzlL7W
jH3domBVuuQVlPI1q/BmquPeEUF0bw3x1kIJiXAjePz31T99rn9cfPn/fzxXynoliiVjL2G41eWX
KX1U6y9ucDkfru/PYovVFEXnsV4foVifS8QGEaihPCXVJWkIGKU7UOSVAob43+/GwpNU5qTi3702
8VQrv6dUwFEzeLD8d73YZBAX/n2JT794jiiE/ktAnqJfrZGpU+JRlOZevQvP4qniOLQdbWPD6sUp
N/ra1/+Tr9nWbU1TWX02DqhX18sHLVCI5zwo98artVkqAcnJD1g9cao07uAu7q6gOyCHX9zoYhRy
9d7+uvDVukSnpDS+HSKlXhFlu9j0Lq6yxSba5Nv0KQHSSleLYX3mMnr84kv8ZM3YhmpSdMmypSDI
/HtZCroZSdHiAyMCYuRKQlWPox7MRwRqAgkOZlFvMr4/XyV1f7hjNjAVhyoL/2e2sisPhxSpU0BT
eNDtYjhLNsqsYLTkt38/14+P1bTZmdnhOTk0vND/vjUtbGpFas09h1O/NhpUhl0xjqnTFmTnpUbT
FDD7FdhFE85X/770x1JO1XG9pk/QebREVFw91mFsW6y/lINaD4OnN8a867qKOGKUns9q3qrf0DJ0
JU2UDZ2uNird6Zq8XJcDxe+Q5/b9F7/nw+7z+/dYKiN8qmhx/b2GZJdRlrWHxRwH6jpIOhm0kWcT
kao4Q4Y5ES5fbvc2f/GiP7wDrkvnR8qagaEIr/vvd2DR8tt+rB36sV0CzWX8F7ssOOlyIG9razJK
t6r7bIs1ffvFK1CX3Mm/vqrl0sLG6p3jhRCDK8OcAiHR7y2qdfGkjNy1PzsNewhmVsNLAHK5wqji
lKzL/fyTSd5/7WaWi+tLpgCbpMoK+/u+YzPrMov3X2RYChSAeymix8d/v1T12jwEROr3VwtsbFqW
el3ShXrRmuooH2zaHVR6o8l+bwi0jLbvgUm12y41q93QKbQxjORXxP+00Bj8wO1LqdwMxVi7kxyY
Tqk06l2c6OMBUVyxrkIKvqpQtUeywmAAl+i8v1qQn/52ojvZ2pVPgjKU1ADTNXXsxCpk1rYe3xVw
c+4TU009zoTcMWejASvJGDBBo3H6FBBikJr5i4f4yQLVZUPDdZ6UFfXDpq8q5TS1nXZgmGcRbKZT
gqudJPA+auQDjphM/CYg1K3IMmP/7/enfThweH+awSBSKBatgHq1QqXSnDqNsR2k5XyLSvxlxg7x
ZFckkumVuBE2rS8wF6g5hqZaTkmZYKu5GifrV4gkbzWkGi1sOJqb0shQBpENR+eyC/340dawosDF
Jne0nsxzLQ9BOcSzzwAWi1IAx0Z7Ddpl+CDA5pqwADr3MRWjK4FoMedYhQlAVbNC3Mywcf3vO//d
3Fx9m9w5vSfeQmz/1/kyWZo3BGjpB3S90K+Jm8NsUu7ueETmOjR7f8OkKIPBH/H761Ry+7YpB4jb
prqd6tnwugVWhBoM18uvzRslXNxdw+4/18K/X9D//Mxl8fxRs+m5IkcGNqJJ5R+FAFCXyB2vbOuL
x6Evu8G/HsfVQhgyLfU7XTuYUgfBOboZUFluONXg8pPQntrRLw29PJIm9XkKZd55mcEHq79XVdeu
aj0vVjiQu9BunmEQvDHOe1NxAJas+tJHCoJetXmi+HyIoLKAmkC4xlID/qF49Cerfzf7yHBlW/uu
BVrjIFpHC6kqa9/yd+oCANtjeDOm4YbEOFx2TTSrSvBLKtHz5/OzgRknFokQa4r8BRnaGS7HMbLp
5xlDOQUyBGcqEfhZ88zqTcRLWKC9wGCn+aKf/lgu8rLIlGB0BAeesvRqy1WJbcYRz0DynjPQiNO8
R/gyQbMug9rFgOTY1Pqqta3AUYoQc9QpH9fqnFT4HmdLqnUSG//9EPjrFy3f/x/LZ26wQI0182Aw
lKsR1SeltDOkb//+lj5ZOybtMA0xDeiy0/99EbWo5jFX7EOT4KsCN0aH1jzZX+ySnz1ck01S4Sy1
KcV/H0V/3EqgBb2S1OFxGU0pburaJbUDUwEyxchtwsDZ+fddfbIt/3U99e+7ynxcAkMyPKNOuNkw
PqcyRD9DdW2AC5SHG/TVx39f8YMVF6cpdycbaOTx2reuUwM6RtSWzRReu2V8rL3AGyTk3NUbxiOj
IHshX2eb0ovHzOsNTtrKSQ+wsfQeh9OV8QKJA27BMVwvpoO9hwfgqfza8//jPmHiw2HiBqQqgvLy
76dSYtGqyYZyHFX0SuhOZ9y1cKWxj7boUqQTjbWNu8D84sl8XGGcjCZ5LeoCNjJ++PuqOWSByBTJ
ES7PykoPielhG/tFD/TVNa522pY0ZTFo2pHJh7WF+Byzc031Nld7afvv9/zplQg2s+WlOvvQepDI
WsXqzDMsRXgMKc/38hj6T3yj0hdr+ENrpfLcWEwqpS8P7zp3LGrlMSIM86ioXCiFy91lWyTpnixJ
B0WSd//9vkgJkS3qbNINPyzf2vABsDFsbpuNOuLyL4xdm0T/i/eEgI5qEwxV++CxGcRVlIMxHeHo
9+BKrQmdL+uQx4Xq5t/3o3ysEJfYO4LOlpQcU1w/vqy2JWUo1WMq0gDH5kQ37wYU5PsKUtBBMtvh
LKPSWTN8lldqBaxpR9gP2xD3v1gxH4dVvEhcC5kKqDxg2uSrDwDnsLxfLH16qzlAfdXcUmvb29DW
izVyDmi9mW3cG6HV7duhKXAkk0lYzsAbx6FHuiAa4pd9kbqdPNvMtsv/xdlHHLRmEHbFz1QROv39
C7UmhB0xjkf0whuFvg6d1Aants14Q3KtW3z1QD62VlyO4c9i88iGeT27rsDE2acoTJtW25p4DX+T
yiB6RbyhQI+GyfFdasP0pIt4vJn7oXxMiWVNv1iKnxSRBq7IDC+IQeHP694SGYHwh4Bz3aueXnFz
gfpAlBPnUu0FZ4e8S7GuufuvApw+2UAAj3jKLAjzY1+pzXpgAc6djJSQY5w1atXYBcQbf7H8P9k9
FEF3JAyFQYJ8PVu2Ysg4eq+wRflw4yRFzl4bVQtONgSFmtK/lI44po+70RIwqjmxj4aRWDv0tPPZ
rEXwxkhEOFMBRj6UcNt6Mi6SVdtAWPjiRXz2QFgJvHDFwCnpephjWKPaJHpwwprkBwhwjd+iX3rQ
XuwvnsniLnpVJ8Nu+ONK6t/LPBeNlUPcOlpBSJiJKnIInGq+KqmUoc4rmPNltb/2o/6270J3ypDz
jEN3JujlpGHZ4/R2c58LrEHGmGxGoI9hrZrduJoJE2kSJOidIL09xaLPze32nFfdRsNkjECUap1G
9j4ftWd0oRgGlHzkxIGXCl5/geAPo0nffIH/dj68hWFzhte3xeMe8zxLeWAd4Yg2owUJyTA3lW6b
h/0ZjPKhCqWbcol/xy6MTc72GfYh0VrNrbpSoTJ62Meg88AXCY2HuVWLcW+Oxvizo0XwJqG8AdOV
m2RRqIdB9z6SveF1JqLIQhl2Ikxn11TVYO2XwSkz64uwYvzNsrVcS3iM0HJ4gHNfdTNfvKSrIsXs
yYcpLfMosIF5gvnK08Ym88HAJOmLwmSZi/7dNhl0kBx1oCL4wF7nLuVVWHRzGZ4iHSOZoMgv5Ri8
/PsztD67hEK8EjgF9cJ1i55bsmGD0506xZYknFrQccyDFK4LJUrumNYhQRx7vf3elRIaty+uvbR9
1/fHiESnl5Gxzf1QdFeBmRByfWI6s9PNFkokMZ8lYetg+UbyA6dLnEvktQ2vzpaatV93XpTUqxgh
DczVFTpifNwnRx9OVIXrwRy2Wv1Keb9Sx2FryRdyerZtigVVC8FdYM6lYfc14QnSIF3nCyuUBomy
dI+WKEH8MEsbWerI0gl/BGKR+kz6KfOLY99Dwiizp2CJgxfjcJGWSNe0Xs+xcUzJn2NGAat6dszJ
PIWLHK3pHYhRF3Y2Ai+QRYyWE2AMjrFBdMxMWJIIqYtjniEzmlvGk/x1hYnEFJOYjbOpjDOhBLn9
bsi/i/k8CLG2859D1+0DrF6SflwZwNAVYSArXeejrrSfRCXc2gUeq/l8lAIr4HaG6YvtaWnnPrwu
y9QNlgv/XQ81yggfSCwIEVUkR1ktNsDMnp8im9K+ilz+9Eo2QYjkT/CPfphsL3K40YyxA1usCQI1
ug9w7/HiSSeJOErLL1KmP/sIOGEFx9FSz15XF3lBdzEP6Qnxf3qxTUN6NcORQ8lIA/ubbQfDI/IK
+8WCvPkVUPjJjk8VSII2B4vJR3g1GRkb2YgRcJ8sGWr1jON//5bHlffvD+3Ti9DgIE4AJMSSlxf7
R3Mb5aY6DGl8UoyKYCOioLrvMggFI3GMOv8XFTTeSLjUC5W968NkuE18QkzGkKABddUikpOCuzb6
ahayHIRXS9GA28xMk04AOs31HUlxUc+TeVTvQB/WyhYRBrmW/38I0iezAeOvi12dylRmpjJgeWzN
XCxSzySHeHE7b4IMaqol9oEd4sDZPUYqvc+gno1Au+1mlG7//S1iWA47YNmocS3/+y2CqhQ52vLT
EC07zbDN4gDK5ldtlvFZX8LM1tDgzcDUMa6fLV5PBIMZaMDR2sd1FjlpJG9D0qaC4gbnU4hSbttt
AvlUS3t+qhPZ1YqMLWRJ2LdF9wMVAPOyjZy8p8N5eMpffBvi2OP/Ye9MmhtHri38VxzeowPzsHgb
kuA8SdRUtUGoVBKAxJwYEsCvfx/bfs9td4c7vHcvelOlokgiM2/ee853AjoInTzN2vOIxwWpXcOO
7tOv+yqhxiL6Hd8l27CdvbYepFWRrXrtGo3PSfZO4E3lnkGTLjS8IJOaULU7yxTHQmDzqQu8KZus
fdG4lUTtOhZLZwIcIaPrMJC7lGqLPh92yZyEQ03PrP/QU9JEaggpWRXGfvnscaLj9dSQlnZrI3sY
rYuVvPbGSnVgu8N+w1CN4stXoVWt/P5prsI6ZZa4yjaOXDUPbr/Ns+1kf47jKnDWvpcsQROH2VcA
ITHlareU2Yssf9AwTKyT25z0RF+qj6S/qh6bxboMWPcXR2x88RBBWnFImzvxf89Yg2PjN5iGbWaE
/kPk4mraOCdbPJvDQdPefCwT6pykIXSjQq5jZ+Mliwq6jnnH+C1LfV2RvwUukBJwn+iQO0JpPFTw
MdKdl+/nDD4Xntvu2NhXbT6V1aZ1d052sNSDip5EuS8nhEP9EvbBOKwiXKhCJ+Rwkb8HOnkkH8At
pm6f4etOQc+uHRCt0dEvdz1EsubieK/dTPN94bp7u0Dhfm19hNikdu0DsENATKa1fDLtRX8wxmWS
3zxgs2B32n3VQTHcGvVN0pFyLhOKPsz6blhhH4zBeW3wjjjemuw3GJhaDhR1b2dI6xYu8iv7ewxo
NluW6suFu9Ptev3ktHs34R67RIBL3BIarzF4isw3XBJTtvNhxkL0duFYtaHuvUVyHbwSLDLNF1mt
s3hVjpvZv6QNHF2oUMpaVFpYBUtEuvyoYSw8dRMEJ1XFinQ3ICkh8Jo0tdZJ/IEcDt0lWkW6/rXO
oA5a2jdD5Hh162GAbVRd+45HYqxuucwlRuR5WjAR8XeV42whgb71c7MuQbm0eb3F9oMf9mvyGNvA
CBhqGBOEBK3Rdh1bQyLLPSfWPi+7YxcsS4/MOcPeSfTMIkMzCo4OvCQuZB73/EX3y3XUn7GTZfnt
V+Qe0W0t/qd5ugLWW1EPtZ4Rav23qsrXAcTyvF3OzRZJdtP/iHDvEGulzQ6L7jrIHYtb5sdYv9T6
dXIO43i2p0ejPsoxZFHE1jLA04wHu7wU8SFwYEnslPbDqpHSMSgOtmn5hMs3il+L5qCMHSAnOu2F
/FLDI8Jtdo9ywLErdnGxjvSzbYd5oC2owszmSYN7MDBMinQBZZ3gw+iQBSethPYjs0VvAxifoSLP
34sRWulTkrDk1tNwdPAP+gPDchNYExUlHcZlhPXWneC0Ot9B4gbl1fWfFYDBqn9LnKee8q5XxKen
kNtAKuj0u4w5OtPGqxyKw2NQP0v7VoiLaI6Er8PVutjaW8EG0xXvkqYrwkTU2DJMcVr33euoThA8
/fI8aa9mcRPZcz999+S4n3y0sNOiq7dF+QoWRY8vyK/gKkT5ynabpTuvrYrxsklkJ6lN5x4VYICb
4NTp+95czewpFij5pSiP4Jo0BNKC6Nb5KNI1rAUgtQ23KKW2IDWAYYGXKLUl/np8+5h5YWVAPjPO
uEFSTINgqGFJYmYeBJzw8YDKaJEnawnXgRIaS7nIyjAHxTL5Dkmq5wSWWJ4HC7QXMB6zFZwMdlML
PDVe715311AssmHv4gxuRw1PrdwYCK2Vz03O3tXpbUAjXYEjqMh9kgQen2JpLvRqJfpphbl60HBH
IPDXQIkxE4xZbOiyMSS32WMyrPAQgqRHqs467r4FzTOcC+7ucloDy1w4OgU7rYI4Qt3eh572abub
Rl87uJt53xMYpOnN83befJ7tF0CH+BCY0g79rojCOl+3Bj2KsP0h608pkJFjB/8hi1AYmFvsR4Sj
XrnNpgcz3SbZoxaDBF6l074Z96oBlWcvFBBDxVqhd2NsMhcr4YYZ06TtW1Af9lHDhZ7ctG41bfTu
OAFD9UjF2uJCg9jDt28sJg6xD0ftGpAK8Vn3LqZLwqe/J8yTQEpgKXITVyvV/LANYfzJne2PSkmS
uejAsjYs/V+blpnjc48n72iUVMmWPoHlifz0wR4jMBH/vt75g9uvayLbQVdoGKRe/K7esbNpmrMT
oF2It/GYHxI1RP9hHHRA85ohrQ8F464d/deJQxEBQM19rqA1RZ3sS3WAiGbtbMsWf9K//oN+1z+9
0v3t/qYIb9REP0JneQqL3bhJfuDZhVg2SJSpEyuOIfmffIB/9F3ROvT49CyG8P8qn1CeGbWtUwHP
1DC0a13oxnf3pPj499+TQZP49+W4d1cgcY1hGvC7uY2Tu0ZhtsmpiSg6BqhTGaGBOa7WKG6OmvER
2PmybJ+C2T8qpBymiw28/mjdlhXmLuYqv/U9AIREuLdYelQccx1sOtCQOx+gMVsNviE+JDu0f/Wz
T7nLeiEvMfA+J23kQLSGpaF3ex22sZMnzbpqOI8cI4wqILaQLtVMV6CPnZ1oMckkRTiXcptUW6/G
9h+cquBLZttYu6T41d0NRFcJs7lpKJk2nrOOtPiCoOugtGE1zKfCWMd+CFI5GjDhpW866AUwstBR
EQ0uLOJloitBfNPAydijEV/O0QqjFVBVPQPTs8DA53BWQKnKm71sNkENEWrVfyafCtdqsk/I4nE3
RRlRzYQA6SEt1/OzO68qKjyS/zx/V89YtlZ6tNTumFCP6yNZL8GbFRCDtrFBBeOukoQWrIC/+GJL
tTL2zekOJRfOT20696pnmLp0Uc54EQyc9LOobjrgAQ2EwHMMr8rm47XUpn0Z55ep+xkM2cZutI0d
vXS07uLiMYcSGmc/tPGjwOzENGvppd9MbeeUP9vkXQBBiaAHdu4bzUPeapI8urARnIsqF46H+B0Q
w0U7ciDa/bLoL8l7R5DLvrQQI4Ap3czdwUrCQONw2gevQn/0HYxFfHchgc4NXDMooHQBIRXUi0D5
CwAKYA6m+pQA6aB0a8S1KpejB8Yj3UIQX+ZWgbKEkm6dUrpOsMDfyFqZAthHwbgyrHhB6Rz537gn
MGBeAtoQ/UJX/H5BKGuYBtZRs47Vd5E9RNSgOTgc4cGzGWAqbGLx7gBxSoxdiUU/a1eu3E7Q4OhC
cSooyZD+a6a0bNY9qSMqfYWpIDMdxP7WbpJrab70yWUcdlzMgOK9S3GoO33Zl9w7Cowb1s0h+06Z
FeoQi/hcOracIEXFfWKw1xbGR9Mfd1Zwae8xR0G3qc0yNL03OjNnq3sr5zMkIAqudOlp1oLMhwWw
3yWbb2hIfwerDY/tLVAnrvPLwvjWmPterm0M0AoYDG71FzHvNJI7RA3qW+M8g+mYlC3dN47eseUr
zXxn28IF73sn1Ms7OHt+i7PpotxoOeKcL4qt9HKQPOBoHpz4OJaQe3bKeGxrOOdHvIrphKdrogdp
X3X7Rdx54oAhQHjDBgGMUsUHgc9sjNcdcr4ycXfSqkk24ClMmwb4ASyGDNMibjTzmhXElYP+X9Qm
+NDUi5dN0S9LIHJJT+xIKfprr1MECUgFfXZHb2CvZfFB0jiL/HUE+T+a+VlNKRb34xjvtP4k002q
x3tjeM3tK7Dr1b2umL68DKg698O6+fLrb7F2SiiWNBPyym3o82VK0ugk1r6zcVJyl6pdAl2GJmV9
HoJjWzjLJLr51Nkjt6xsofHOqlNJjtS4z4ZXDbJGBlDtWmXIl+RPeLOJA+okWyXjfhi+9f63oblV
4kMn8ybZK94BFx5Hx4O2E9AQdGM7y5PqHuEj4o/dkPc0jxBqXmf5M3GoXxeq3Bjzuva+LJ8vJ/2p
klujfUbxS6+e9Bj/FsZZUJXlbep3tf4jsHdBdMi1raNAxPSnFn+79lw8+zIsnJXbHHNU0o5aExQu
5abG7j0sOtzABQwenwvTvsx/pDHZUcDWyFK8zt7jzBUw+KqDk1seYC+E/Xzp7C5stNfR/VnnDkVS
vI3iW5bagEGPU/1gwCDBSbvM1D5obvZA4/8KLZQ34zj0h3fBa5HTAI2t5KdInZUGxqFwJh4Dcnc6
obCFvKQdXpuKarVbwpUOPX4wS+NNxcNSgzVBmb3SggydYLEYOiBKWh+aNqdaWSyVVYdtSnPY/ST7
3Yx5WI1V1xKdWV87ojLm+iyNTVluh5ZEDG2rwVCkwbtQ56Y+B+Lo+rckDi1gkPiHIGwWPq6r5+L+
k/l3rEorRYltN+chxUjZfdAF3c5OcgTstQBPEA5zsDaaS52O+xYwntU+Uc6uq147e6OzwBeDEPhF
JOxfkRUiYN91iXYEQdCNF2nRmhDVOiDhyPFaTh6wovQmdMYxEJQKtfZAszQ1hTrdlREeEO6mxcAR
pD/aNZNHYDPywxu/5xir2ysJuDu2hSC4ZRkF9mNnnhT8pmig63GqvFPfZ5h2H+e446pyhjez5+CA
kXa0/V1sXFOXbE829+fchWu4NqBMabTe+RKfQY+k47GsvtliGVsrt37C2C6KVfHTl5tip9lb7vFc
tWfoVVeQk7IE3LhJ7Ws0bCduFMmruBXNwzSu4TrR7jzb3Vv3aHFAeau0fbKdY0qKqtCJuA6+BAjZ
jw4PiA1E8qlD6jIshk+3vzIKSxIkAHzr77V8RVk6mRu/IdSBDOAET+IxHbZaA1GNyJeKhbr0OlTX
n9DAOZb2hf4gqmd3vNj12ZMQxy8YyDEq4GbEsg6fHbDagzGtR69d4NlV7FEtiVppAZbgyTR45B8C
IMjx8A4NdyCjLfYWOVG2enkoorMjH/TmarPb5+5msDfUDzV5oOmhcW+O95hVj1FOL63I34ZqX1Tz
LtcJO07EE/YJqL3EX2QUBhB+XfGcdISn28sKnGIEtA5SnBsTItHdnHTbQPuIXIKKxTtk7kWs7X1g
kHm2Yw/uRL6kT+SjoJu1T0DyHDBPJlHW9qXFc83GE0DZhSR6iIoHyz0Z3iMhamTVp/KBvX6Mv8Et
BQIUNwcC8wgkIp7lBLoknLtuOT/00yGLnxwezqg++jWxctd6eiIcevhUzIXKq1YPy7wmNLt7kxzV
tEKXsGrSCQdsGOdXEAXQz5wbAiufZPiKoGV7BGqRDus+xxYMWmYQwQNre6dS6zrJpyEBoTVvRH+Z
n60qCpsEIGkCLTZjNmNczXwdQwquT4Gs18J/m9zQh4grmzVgzVy7jtWhriN0gvBjB1zCYKHo1y5z
XPzp7GwLwNRRwxFK2rmxuyPrs/bbiI9vYPQDu3phTO+tDOkxm0ZYancJKwt4OzIE5obCxo5y8VpM
jwrIWJ0813JnUDLPKGAFEL7MfChoSAIrKeX3Ru4DIsOa/HtukU6Mw684ZvVDBIY2kB+5DWu/Ia6s
fKjJOCh2vjykOAxLTCfEtBsvbf3aAShtzh3BvHVYZRTAGwaw8hvgwYWKrjEcw3QDrkMn9945us1e
tdvKDotxw47A+UzdS7NpYXefA07PhvVwtaKwAGfV+DCpQwXOzOKHqemi8UFaV4tpnDXnYd9gRSG6
Kha33Lw1wbepX7tIy4NdR+vWhbvDMvHh2M9vMljV0/fWeCmydUXmVWDSGki4SBXLmUi9lGWMa9MY
320i2ZV74lPFBqHUUadX9DkOhJ/Tt2M6TRHPlmtClAuevFxB42VyvGyNz4AwaG0d28DUQFaXNy+D
Y+ftJVA78UJJ64t1QBaCR2bjntpm7Db2YzSvZhLf1TNhGiWNTWbyU8hAh2Q42TwFZhg/d8WmnW4Z
qd0Nl4vdOD8CzWEMM702LAaxcqsjvC8d9JIeCpLFWYVdKLylY5yqWwY05n6BArFMwb+TOnZrqgvY
Xhs17SKDunXVxdsO9T8ZhB6JlZQVokRES37dU63tYx+i99UZbq6x54pAZkVYfrj30wX8fPSUqzPx
nGRZCWefiqsrzv60p3Ju1LAEZWttg+bUGa+xujCsMlh9abHHCA6JF3UKZhUaYh+x+Omk5FinT41Q
TzA7EBM6BzGAGkRx8BRX47vn4+C3u5k8GFLE+fAc5xA8BtTLiX9ryOta5C0oBHVQwb6Pvubpo1Ws
rq9aUyuTo15H3j8Dlp8Af+gQvWb/asdIq5W3MKAziFWjr+T83Yjo4tNZIwhpOWv7rA47ebZoE1lX
aT+p+ZEA6wBGV4JjJLmI6Gzne3+gxb9uyo0M2oUN427cdD4P9I9G37v0t9UhlqGZrLTuOddeWnqX
kDdYrK8CUmhw1eGVwfaKrxCUWBXEMSZqXXZbxRo1dqp9dLVrnFK5bMAGazNpXOS3z/kuFo+y/A4m
eYPSeZY3wpCCeDXKBz853FdKdVX+WnC1brNdlW799odN4Fx2KNrL2L5REjnOqnvT7r8DrapQEN81
LK2njNKtfMTjZVFajylUJRoijGsiSr9eAki8RzUNy3tB/hbTmDTOOcAaB/I28Rnzocybt6AYvHAg
hissQFvvzTqBIG2aFXe3mrmESWcft96GeIkfngwYZyuZH5iY8ZrAQv5kCGb8wayWVkPg3CWiOkq9
fxmY5kFpTg0X9HbPw0dHIDvH22CdrwhYXaIGvD8P7Esf91EggO0/efU/6Kj89sWdu27sNz2cwouG
zLLoqIw3UgEXEdRS+28Nqf/mNf/Vtn7TV/pdXPPjZ93/yNOPv1Rff+mSz78sqzKu/vr3ROfdz//5
9cf/Ft5s+IQ3B7bFyJ78KVSadAb/lt1sGL9gtrl7TbipMk53aLKVleyS//mr9YvHwBioHyaYwEDI
xQ+1VX//I835BaUfBirfRlyK0IZO2X+S36zfB8L/mE4z+cbzQW/UR6nPmPZ38gUpZFnlFAlT3dBd
mOeyYPGTduwdq9TWD4nuDQzs8nFN8GK1SYoSMJ9Deml8s0fJTp0aTcstsQJ7MzPtFGT3EZq3smoD
sdGsjQ56OZ5DdGJu17ZrYDbqWRcIG85JHTzH2qzeTdUV+8bBabTmJtHSpvGzDAkhHKfsJqaKuA0N
Lm+8aKuUfx2srdXFJ8VENAU62jo2OQk5t6/BGd10OZH8KkJiDxB/JgWppFt2LStEC9PaYVen8zeT
Zl25noGzQjQ3JqYtKpY1HPa7ETJE/sfvbPVCZI9mbxvMkHAjlYS/RqLYpPFICs1d7zYDhY7b7JJb
RgQtBp2MXDpwbbSVknCeVwhuuF06A8myOynZjjZ1WhHs67YQ+kM2q8J+kKTWUwMqbw72YjY1BRnI
KBGvUHuQrPg4yqFzH00QlU28jHRpFddYlJb2HM80V9a27WT5ARRabd9Sgo3NTyG8BnKMaxHG9JNu
hGbCKYTqQBlvjoC+zzCnSGP0BlQrS66w7LRI70wDQagzQ5eBZdlJLjcQker6wEBPh2uVeEoaE1Tu
YkAnkSCSSoZFYdSghRFcRhypTWQj2WfKPPs2OGjVTrCErbSPODfgow5Ap/x5zADH57YcGdB2w+BU
3AwKz7/4k/KyN93Fn7Et9bJkck1o6vwk0oIWTGYZrJmFXmQ5SW+8AklgceYbGhY6eFImYwRAOx9M
mWTx4Reu7N7x3gAnJ1ApaD7swWqLU6aaer65c55mOHm7KYIvfG8RwzZhuLlual2T3wYXhmVoi54z
O8h9rbjBVRL5RsrJ1pf25Jq73ozjbdoCs1p4XjZ4+6YTIt2CAiBSxfRh8dCoLUnfsvo0ao+zTFw9
LCyDEINprJo+hOsH64QI26k6FtrcWj9rpzCTD5X45CA6g0Zqc5cEyfRo5VlPlo1Fi/80JoxywQia
ebLL4UQWZC/3JDH6Kq2xQddRQgNUryRDf5jZRrSRrW7BEa5bxcjR0rwZ/j8QNL5xr4t1qOUJvN4G
qOdbYhG3u7Aiyx82wZBDJq61lILe61AQrSy71z10AZ4zMWeQsXGXLxgxN6PCkT3KDtEWdwFmZD6l
flkbZE4V0yTgpfi5K37MtSuNK95LVJ6tphVEDVkzPHpLcr3m7tiWR4W3ZIAfq9zVWLuwJKXK5hfZ
TjQFBw/GSGgTHLbiK2sYN0dzx629EkgwVVVlPwvTY8n4E3SHTdHTxotKw/iR9vrwFGsN6TZdM0cM
05vOAGcym92mdUpt5ZjKbN8xWWBeEbNLYFHgJQ7Mw5yI5fIp7nMy6OLeH4qDHZtN9xLIqJvD0tW5
9OvNVA5Xt7cLGPqg+thxjLqz1/CESvkkBFG3a+zalb3UCThiq3DAcITiV2iPNwq3pveZ0WXMgaOS
nVdG1gXtEBfT1g0Cb1tx8zFWZQR+6mSorvTRqI/MFSpXeHRJrALQdJHopfvGuNiB4+zGZDjMBR/K
0uw6Aqt7d4owUo+J/oq9y/lqPLcYwYqk7Xj0dTnYIRgORsNz6lfGKxEozrwl5VTZQIR9JAJI/dI4
7BOnKU6WO9N9H9ymgRNVpJ0VnXhVywilppP81+ECgzxe1OQ02IXn6SQ7CWNWyzRXY8r8OM1HdeNL
mmiFBJNE4cJ23W4Soef10hEmWw0BPSnjMhtxy9KP7UTCfRlIY8hNsyMxpzWjrah0cKNTgDagxCrH
jewl8qeyCO2+qgIEDc3McLOMZ6rOvFeoa7oC7mjXE8VM17jJmjWd4CHY5nFRu6d4gC1FPIBu2gfC
nsSTPXJMQNQkj5bQ+Yg0F4d0DbFsUqJZUEXa+fDpZCMQ0la6WXxIId11cC59XtDSVFaTP1N56lLQ
uSYv0+Khhq+V2j76+/tYkzBybnRuOvGmNdPOu6VPTOeXbXQKzvCcBmpVm7Evax6K0bYPY+d6tETM
oeuqF9fqTR8WjD31L4MkSe+qRd1YwH8Zg44gIELKN3pjRd3Jnk3g8kZexm+ygXfL9D1SxUGwMRm7
RACM2lsazrFl1Jt28NTDe4Nt0FV8eJaTFnIJQkZDQDTlsbEHbaKTZeDDo1sptqXuUJGgxBME1joL
lsRfxdN+nJquOoux5mhc+MiUgmUOQiImzKseWa92TXPBCMB37bMcCy2cucycdpANZX0ii3OU52EC
rHnqHY8/dVKvb09GbtfSW3SW8J6JvUpb8uIIVFfaSDOyaGDnANTjZUKj1bi3RYYm051yZ50+TUSv
YgfU1WnpbSFlXA2eFsShsuHUHtXU87yZidHVJz7ziKtnm8lqA6KPLFPAiR0pPXHmYcPXzch4CVqh
pSC/iAC0uS+qGmaoVjBvafTIoB8UEIqNj4RNgx7UpNdNlqzKPgW0ngaciis11bZ7muaCvxvrwXDK
Mz0h8YJigKysXwvQ/5bif8WU/O9q8dN7nv629P71r/+t9rZ/4X54tw/qNurAgKH5/9XemmH+guLz
LkxkjO7CQuDq9vfi26TC5j+QXy6qQjw8/yi+Df0XA+/Rr1pfbJ4+ttb/oPY2f7WB/aP29rGH8ZtR
5eO8pwy37H/xpFLEdMxI27Xdjrqz7Stj1JhNCAgfjZcGwCGCutAfPaJU25A16FY/CxnH5S4lrDp5
YJRmeqfBUQ4h605vjt9TOpLBgwqcMl5R7A2YEu5Aq7TxsmAvh0wQfRTPEYDKoYqMAxzNpH7LLC1p
L8Zgg8tbgkoKuOP7jeFkP3013rMPus69P9MzGxTdqxhs86uTNQNt17yNo0M8p41OW4jcjW/sEJTF
dBIz96kjUgdgWhO9EFJOX6KNSsZ0xo92FG20Gv1qysBvq5yxlGNWLWKWWJVqO1qmsBhD19ZAE2z2
BEnpkQWYe53XdRdTkyqj/W5rQpvpzpHl+zb6yXBX1RjVPJ0osoo0JzKCqutb1WpV82YVTOKXwmOj
eZ5cPR7OhV302bGPYNqx29k0QPwsGI1NVNvCeu3JF5+5k8dmIl7mXHTR1ms6z/pR1ASDbwsnhs6a
ZH0wHfvKceVLRaieecgSJHHfPVEZ023w+awb2sQurTPZwFSGyO7FARLEtHdy45O6pCdweJJtIM/5
WOglx2idM+1c6kbG6bWxZrxcaPdaY4ah3HqEls0LzxSZznCL5sgHDGaPW4GvqHR2cwOe8TJb1BHJ
OtU0gXqOlrlEOyeHqhw2rR9EVXXPuOkqC+6wR1RTP6P1k2tr6DNqnx7mDD28omcIUmet6lC4ERdw
RkchTBp8svWzn1Yfmyj/IfWm+Vm3pioo1z6FPhpERbG3IFWYLGZjWVuE3c/HuXJ4kMlGJwnYXExZ
RuPeKZwZmjmoQ5hWnWMyC3Rc4iiJjwDbO3ZNoO4o/2zUmZYGSSmJkc6a8qIRkCmAJhBb8NBYgTDg
nPa5vzPIF5whAU3emN2o7Ib6se8C6a1V10eCe1gQKOukp3pC97cWBDotWlNNw0WmmhrPnk+eYRgZ
pTt8ZTHF8rHXE2Zx1JkaVbwxLLyqT6dWrskirQiTIeFSs43eXriU32781vuxhG3MsNbN26PVT22O
eclK0yQyGI6SZdcphMhlUXrz0vJFYumrxqHfq9+4/putPu6mPIFeir5dTLu6qCf8YobnRu+xUcXT
sOLWmBHaUQGuUZSrjDpVxrRbdj6ATS+QvQ2lmUSyd98e6EmbdqZX9Kx7DnjaptJWD4AHeEAAUEdF
g0Qj9lGFUiBw9pXJVFvI4bhgf8J3zjtav0zMbwaR9BYDptlK9A9SlKtgk+d5ln/Fnt8EbzXy/Pxr
SH1du3hTnPXr2Zny4oRqx8yumqNpFglWdWqYP/ym6ZzTFMm4v+QjluLnXgy59WQPI9YXkl+Bla8C
4SMjHpPKFDeNnBSkvuPg5keQp0r/mTZmZZP3U2ViAE6eYglzI7agE4NWa+DGTpV1yurR0DZWpBFa
R3J6nR5K5db5rh8YWqxmvWgc0JqaCWFoRRJOvCkLt93S8BDMZjRtstvHEk6CTdC61KZXnyrCvxhd
z4y9qRJF2n1r19xuG5dk9iP7nU4iXlQzM106Q2EMj+S+TszPQNb3u0w4XXuaAjbeC8VcTxx5XLra
QZvq0iDjoytsVNMQVLyjpXx6FJHDWrwWtmPnV9h6hWDyoto6fkjafvB+KjEN0bOfVPRizWB0/LVu
zqa7zRi32Ku0oqZkjqSVindlqOzMAqHk7q16AJMriB9Wy45mYPzm6EqWG8KcBBj5xOunq5c3ozho
dwDMuXCVyr4bc+shBoqpftvLIChpAH/AId2R6Co0VJwZhPTRJfF4OZSqdxgR8NX3Cib+TPY0tHby
aXzrZLv4HPe5Y6GPyed2EkvNsWrvMkVIMbb1UKZs211saMgN53uo6n9Lom66txchP/y7kuicxp/y
n2qi+9//ez/S+YXkc9fFGRSYyO3uosi/9SOpbVyfxiK0BWzLuMnvIsb/q4msX5w7cCL4laN1t8v8
f0OSNqYbWHdQgwUPQOfS/B/VRBa/2W/6kXAmAqoiHx1lcK/a8Nr9c9s6ZdKfxk0VRuwkw6EQM6Wy
1GfO0aLRGnfdcm/ztlbpx/3LvQuR33K3SbhJS9s2Bz80A2kNGVRUXcXfzWgWNoxtvdTzdQTQn20T
W6o3OyHcZwF52nAlKjefvHm5dgJpZjDiC1Ef25YUdHIja4w7vV1mtoP0p2bw0jjOoH+WTR405Vqv
CcxrNmBcUgDTxqyj4RXRGH1PnVHJtzGZ7kl33QgUn0H8NHMY3zXzbeIs2F56MCx1LfNmkwx9m90a
6ZJY7bn91On4AGUt1c43EvNWWP2gKwwRfotySnpmOyzH1FM0IosC7CRhEkWdM2HNoKfl6XaO3RZh
ltN4BORSgEbGNshaV79AdCrlgwP5mh20RvS3guLcfygA3O5mmrvAOra5riE5jGJCrFvdcd4b+gNE
k42y3jvwjYZdLtPuYaymhHDvqjeIfNScCOVQkQYINIyUcM2aMUy0d3pRftmlHwDxDxLm95aq0ddk
vccEPBvtN6t0UjQulFvfKBn1G54aNokgZpiyEEnXHWLHT4ywyh1g5VIr7nlhmtema1K7s58V/Si0
FbXefFGWtNWRIjKb31UWUMeRY+oX5VZF3b3NN430Edaxq0/2MzDmjHiJQb87GI3S55/wdK36sGKz
1MJcoWtZBgmxWC/mVEjur46KxuyHTvfBQOYfmV5NWhh40a4mgaIij3tpkPrke0+MLzOFDz+IU7Eq
u95J3QeCDtiz13ymVl99mTTgGGKTWNgXIvRiQ+L4rOOKoAkVeF69q9yGY/uUOG7bH2y96eCIRbIc
kUYC/wpygsbqLjPNb2lMF2k+FzmlMyQd4iWqV1HzsTCMHotKuUezFbS/8R4EHULuqJmC6qdvTK72
FOhGKdt3G7x3i06CKjjwQo8QIJm+keZMWrxuFCrXLposy4x0ma4xh3RtpEXfeGFjDaaclsHsuKq7
/i9757XkuJKk6VfZF8AstNhLEFSpdWbVDSxLQWuNp58PVTNzSJBGTHXfbpt1t1lXn3JGIISH+y8E
nDYF9z4cxkKM8UzPjfEHmtV6gydVTEpnkgwqY6opsGBRCb5WtURSKwo37hA9FFksCd0KuWldueVO
qLUrI9KV+lZkQuu1NcZN/SLEWELWqwDdrhCPX88t110fjW2xkQPNjbf4abfYzMI06/yE/rGf++S7
uRf3eL96mRtDKacN1/0gkxiChy4y+/ojTzNf2XgVnM3rwuebXBOe6gPIXVOXsr0eNWX1hemiEGXk
5CuUswfkoJ1qIG9aBa2FJphPXTvDxExQkFjPeHLcyoNUQEbTat4gKxw+JEzF2gT6iI44giMwfbAe
1Dr5lpLXgKqIxaqsgIimVV0k1N4zTN7uuWnbZiM1qd7tFSMsMFjSvELSvwdyEFJubfoqQpPfw4ej
g82dDzeSKXXYGmpqUK7FpMlLkB9JZ6KprHnSfaUIJVLMFLoie6zoQdwXrtRyv481JJ2k77JfBhUX
fxXo092dYLd9Z2KC0AMLphJt3eZGoCbeytBEufgoaTSoX/ye9942HpHaX1He96JVXWWd+v9vcJoL
0w0uK9y7//e/iwcnDcaXz3T8TIPPw0v89z/yX4UN8T9o7SgoDVr0Fim3ch3/ucRl6z9oCoJdQP+B
Zh782f+5wwWRmx8ZRP4tq/yTFDeoN/x3W5Fr3NDpWlnaJNg1dRb/5hqndXh0jU+sT0lVKP6yxlEF
OUHZp73uaZ3O8YL1A/VFAZ2YeJPnWlHt2qQr1XfdCGqNunXOSyqtcSR01DYz3gRk+FAtrwxvWFux
pvY/cLeHOOWVPb5tXOCN8K7iKSKs6e4EUOG4tYJnqzWS/KtbRF6+s7By0oFI4SShQpRUaxcCVUEB
0R3bul0VmkjPEMRTaajXFs/Jb6NhCdmNCAEN5HfjBVOjwRrr4S6b9KzpVugmdgSDlyX9XdGWNCAx
wEgtm26cq76nAmAeKJRSnaNuXtbv4AvylzwPfP0qilI5A/+rBnexIUdYWaS1CDoWjddXQcNApeqG
LHYE14yTrVpVGHL2UtmKtumJyKYpblaiCeBV7xpeB/hIta6CRGckQajKe8HcIDgNZzEIegl3AI3G
6OB32yROyrcQzzFQ6ANUvyxxv/T0R2lkgZdbQTzVHnlVN9iBSSY+iFO2JW4U3aNgOwodfop1H+dX
1KHSz6ZQ1R+8Cr1HwzdJM8I263K7NnAtiHUf4irSdukq0RS6MANF6a2RjLiq64LnRKlJF9hLMdtq
x8q0Rb+I91nnDddVWumO6qrli5fDjxrUEUVkygbBJ++46gmidghQ2Krqb0WRIrg76iZ9oT5LZeBG
ff/W+aF/FxTC+H0ya7gJujLfiQMaHDReLZyhzbjC38rShQRXSVeUNobXKCDwS6F5MCIBM9y4LFvA
TrKpqqsg1dVvsWuJd2QjQE16pOgwscEC/b4Qg/wXD+wU1L4vi0Bdu54EZjA6YDj0B1rUEsCNP0At
Uq/6LsTlK0UK4MPM9ZCOgCXcl53hfyh4ngNaLww8GPO8764khvlgUM2ms8JrFVFStojdykG6T2lG
XTdFFyGKHye9h/LnhGrkEbaixzEClbGwcTb8lueTNNI403vrqfCHcJ9SN9gbmSR+8ALFjx1jeZyM
Ou+LNmIk5ZqVshG63NzSJfPvdNT7waSM1nbULANipGA1VxJldpCeoZd+pwPQtds60dMPRW7o6ggl
Dgl2BftocFo14dL23dHUr3KzgZpfFWWJIlkfIHVZKmt0T3GcjPv2KxXOFsxrFMj+1qJ3+o20AHCq
3ASpYQttVO1UwfSvRtdFSgJ5sHxTcZkEt3KidNIEZVY0p+lcxd8bVl+8y8aolttxpNtuB52f/RCl
toonhH9PI6ZtvWdesTSGtTFg29hlX+OkV+L+Ul0Zpo/HqlRHFsj5SugsOqIZIKJ+6iu/8fhvvBfS
Iki+MoZdeNu5iTfeh33Fi4FWFn7zYxHT9wgS3wWinpvKzaiYvfEF6wZZ3A106I0NqAgRbrEMsdcJ
xtRqyAytokMINIyqbZziJLXmg4o9vDgzzXDAcumKOOWgDU8Cz5cRIGLbti++pjbqNgZln9+ZBnVX
28Ln0nzwh0KAkxviuA1DkkSs+9b6kQ8voBrNNyChtMSoRelUbiUh/zTSkaZKiwNKCxEw6YHGCQH+
XXbdSUNui2ngo+2hyJLmABHhLa7psejtrSox5M3Q8NKxKzfBoIyVKEZ0Z1Rcp1r0tcyXTi6lvUVN
zXKKuuysrUQ7EEyxGZZBI98FQRdgFpEMrSfqtIGkwFh3hap5nAhDHGwaiK8N3Jamg0Nh9r6BEnDs
9isp5m32JrcleRAiO1igb4Sgp9i7NSm1ypOYSJS2xvAVwU10adfAIyI92rkddNvorY/Cclw1OceI
ncR1K/PM0EuliLKNmYat+TBgOSm9yhgU6Js2r8NvpPmKAVmXVDZ41ikCKts2UAN8UuNYb34UrWnI
ew/cQvMlRVEs/xSHTDCfDWNMtL0R9m7quF2LXyUF+RFDJ4FSnVPn3YTcN1t1h9yuhd5l0oGqoD8m
lcI2xtKv34F1UdMnyY88OA4JogS1aJJbk4M20RN6QlJ+W9aqZb5JQ4VrsKnoHVhIKGsinKXBh4oV
kYehpFmowmrwR9CysmTIv8zG4sEpePWA1XPlaQrnggf/mns6S16HLigg6Gd6jh2Pm8rFiz6OeUZz
FBSDrYqtMODSmTcdNAdNqxzadG5lh6MSBfdWWHoWZ2SoI2FvdjwNcfcsROibWIwCYAUP0IROjG+6
ZbdtolS7QgHyEa0QeR/FV1d3vXBf8i6MryVXaGE0IKpI0dDGTKQEQ5lWWsJWqeXS/IJ4lSVdi7VI
w8+kbhi/Zm3dI+BdeIOP3WROR3tXJyHyAGYoGjXqLlY4vvdlQwnTDloIImg+BbIM5Xh0Ow0yfRyk
7JnGjynWIyUCCkmgxNgHjWEnVWTWHOUcPe1Hz4HsCw4NfWjOWIpjGBv50ogUALpT9DI5qcS93Ekt
EgJaCPrUrCwVYl2aNXBKinBctWEuwe5D8xnTZaERlce0jUagi3o45vtEVr30hYdxmq1iK2msOzJt
s9oGyPLom2n6EpqebpK9NEWCx3xBDfAuEUU3vBnacfqUbdJyU4c5nAYK8YOrXQM3moz4jKoZgGoY
ZvUz7DBb5f2UxclNbEo4tJA2ZM3WLQGgrNxQLKgPq6GK063gS8PaFKKpJDFm8NH8SCtppZptYJhw
YHxkJBoFG+4950dX/4SLokBYKsruM4G6HXOpKMC9ASaMWyrmaUyPVzKGKz2seihrvL4trD6F0thF
cYiisIzPQ71WFPAFX0sdgBWs8SoVbsykV0FHspSZPIlC/F0aFKm+ahH4QBEiMya6FdI20+r2NP8z
Z6eIXwO6WXLvlEkyXckKqoOY8Ta9/hghIRmzeLImugrGvnsEeBbGDqZvMjbHvqVIbM4YpI9sdlDz
SwV/RVj9kQUbBaH0AUedOunXhTUBzqI2iCE2NxVNL3wQ+sDhhZ3QBA+5B1YKyjvDvqp5YO/6InN/
WnIPTPUg/3/40xT8P2mTPLBU6mp6IMwT6imZF1VSaV0lo56TmQd040Jt4p2hGr9THJIxmleR/lBr
Wz236ZihW+Z+sdaFYzwON/HaX3vq3iu3YslD3Fxr+8u/55jwTH5//HOkGboUM4FMMKSeE7ZsN6WG
+Cp2ipdDHAsr/VcIXilIKCKkemKSU2pZZhhhx1J0o50qf2AWCcx55Qv5wtyeCwS8XIS3rYuyrlD3
PETKCoiO8+GR2VYa9BYQ7BoT1N1Md+0n3y4P6RiT+2dIh5F4nR1Gmjy/rEIkEkjDFXqN8F1fwzT4
82z+3v8/72d2Zq1I5z4OfvUA8dAFlc3fNdYD6C9vJTPPW5ggNT5axVP57DvRqvro15wb6+5bul1i
b58PaPHYM/E0oDx3PK44Kga6QjDNcsgtNH+BVV5fnjnpZOpQZ6KDLyomThWMa/rzgzFJtUmjm6OD
LpA9fu+dCNrsVfAY3DaWravr4iFeI/qxHZ8vxz0XFk10fMlEKmUnclRWyuVljPCe2hbFQP12jGsn
wovvchRpmqB/kAAsDEZ3GGa2MDKl4HlLaZMvJq5GNJ3j+/YaEpBd3bRb71l4uRzvZMVPstHG9C/k
/insz79X32OE0ED+SEGlW+gbNQ2MM+nDHOSFc+KYbT8NDK8YyQJgTKmCdiZlj8PPJmRiOAhVV9Fz
VTbUAWnHRnCakLqB/jD68dJEThN1PJGSRnVDwVlDQ6RvLkNYZ4PeBEbJRFbr5E7ZoTxJj9HuV+md
9Jlsmt3liZwqLRfjzT4cu1nLgX0Ckm1W+T7f+E6Ci7gNnPYKOZLN0rE7oxT8mc/D8c2+XFoneUhp
vLKbK32b72lybvyN9yruha/eTcsGh7dyG74W1/3D5ZGebHE+5GHg6c8P9p9biIrSuwx0Er4SJZAE
ZmpfDnFmFxzHmO3xaBRAIlB4tXNUBHUT407aimpr418vojNYbQXpZ48ZslsruIla+0BdWK2/r61L
y2faOAejtDCPjoKE6VXGEjw4xZ/4kQ69bVhP1FPdHlIzeHbwsZdHfnrKSECNJIn/1GTO7dlXxXSH
B5aaVXYif9FANLbah1L2C3vjmI3yZ+kcBpl9wcEKhhRfGzRStdzGhXRnGiFVrNyTScXRRPWyjexX
m8sjO7dsODo1jQMHSZG5MEriqRUvG0aWwyI1i69K/3o5wPmp+yfAbAPqmegHSkQAd9xZ1otuwR6v
F9b+mUOMg8xC4BSyhGZq058frAquIy+OXTQEvBQFn5DXKvqwIZCdyQak99//ekRH0abveBBNGLMh
R6OExsOQvFelvwlReUiL6PFymOnknS11Dmf4H8g5isbJheq6YYxFa0wpNEGTUOYhKgVFfiXE2pUm
8ICdEB7omrTAKLLt5dAni4LkUeJ5x0qnFK3PVftakEJUcKGS5gGGgFjbTkp2Xra+HOXkq82izFZG
LeSir4cUAbBdR3xU1jdika/MxnWEqvnZNt3ChJ7srykedUUK9aZKi3xaqQffLZM8ul8CGbqad4iG
pDWm2pqlOX6sGhvDNxA/EzEm7kTR+Nv55LYzFJMkWVKQMJ5f54UfVDGYpQpxkUkpocQn21s4oeST
bzatFZlZojEvnaYMNV3NFAw7RdBtvdfeMYR5Rt573X139+NOuet32ddkCy2dJvQD5qxX1FNUFFhW
UOsuf9alHzL9+eE0g/m2tFKiSD/8asbnKlxQWTr/95s69h28CcQJ/nn49/ed3Aq6xfFPmdVOlO86
ekD/ygj+iTBbmLpfFYMMm8fOo6fAeMVwZuFjnctKDJWikCGr7LETu62g69Uo1xlD6TbQRfXmVgVj
NAaxYyJwSf762GbeLSQs125C49qLvOeyHj8vD/NMkglyk/YPatBgOubC9NLQ9HXs8yOQFV6n45uJ
coEF2CK2FqSnTzY6S/Mw0OzARJzOz1p9YEWEXysPak77KxahIZlU0n5dHtNSqFk662nI7VNuKyGk
/8pq0gPhPu7GVY3yifhxOdTJcXI8Knn2wjYKNRUrhVEpkXtt6JSzjXLlwWjOqeB08hYz7MsBzy18
zaC6QPGRTuH8haVlwNhFlYBF+5TIPwXl/fLff+amhjk30R0BVmOLMM3twcbVc0v38rhD+TDaJfV9
4X2iyrC08qdMaXarEQQjL0WHOsntdhzECoc6wYeAD9Q6wx0NxxsFqB/ol6l/T9XMWpnidd9sugFH
ZMVbLTxTz87hQfhZ/qiZA7hjvaGTBiFbln9lRrI0wvPT+M8IZ9No+RplQBCFdvKmx3b1aLx7GExA
i36p36R15MSa0+3+lUP3cFpnW8wXhl5MVYL65o8i/QKWe2FY5yaOcwIF7cmH8oSGip1RWgvxtIfj
9hGU6tbN9IX1fW7iDkPMvk1d+xGgH2qnrv8hiteyd1enT3+7xKkhcfmLU70ArefZ6pMsPxwaDdn3
wEpWTXETmmg1FdHC/XE6kOMos4FEaRC3uUKUsMWDHs1Lr6WbI327PJaZ08r0XpjCmJg8IDd+KpQH
PaqNOiNkvm7DF9Qs3sp9tc1W0YrejPbYrv1dvxV3ysIT7PSEPY46LZSDU6Knr0qDbxqcGaAQryNf
kKzy+FpGDdyCmnN5kKeH7HG02QcDN5jrYsUYO5RKJzM7AC23Qf5SFfdhiCaKuKSseLrOJ0gE2EuF
6xnX1dnurX0P9/KmKey8eVf6p0l19fKIzi0OPhylP1M6UzUVKssqgOwiraUWe3Xyy2iB78buwsSd
CUOdD9cV2DDUBcxZljT2UhuKHnUcLM4DR6yMH1UdPxedvrk8nDMfiJfjZDQ+AUkUfXbhplWkx11H
i7OQbjXdXddDvx79e3eQbF/1d2a55PUybZ7jC4R+p8wdiFcsO3nC6RyuP63sdLPEa5Jmv5ms6ygs
nrIJoinjeraNrEpJFmZy+gsvBFRn97zUeGlRF4ww9N604rmO700Zyq0VUyRGN7bHHLDSFhbJ6SrU
TAX7JHzqEKSnpHo8yBZIgEbjEiGO6NVQvtYoB17+bKclaIMIHIAIFGACqMzrflVIGlAJPI/rzbiR
18U2+CnuJ0vxZOMhdWHs/7oEfRxQmU1jjrmwlXtTW3vIHQvXOE9feBicLvmjIc3bBJ0VeGaQEyHB
3TOnINzw1mvyGM2YzDSCv78RCWcA5QJUjYLtfCEiCa/AYGcGQ6G/q3TjytfChSP+dHMdhZgvvbzP
fd9VCYFJzqfUjYgNpgVa99EHcEVYmupbnlffF1bGuWmEeocN9GSUSw/7eO1ZjdYAeGpYe7b5qCJw
6CRf22trDaR5jWjR+KnuEBhdWI+nt8qktPFP0Nmuhs3WBekUNEHYrKV+x6m1jj2wWP19Bf90YYzy
yZ4+DMcr8niMZYaBLYIzfLuoMByrkfainsORizZ1hLY3L+MstT4GIXnpClQQ9TABeJMmC2fn2Zmm
XQjO31AljunjX5HqEFKlil8RlD/L9sFUfiXtkvDxuSWkHsSYnSQ5KCudfJuCIiIfNsgFFel8GkBu
YW3yqJbpmo45nBlre3mKz8WlZAph0AAISX/weGx6omRDJcU5qoAA1iLxHreFrYBGpQTiFzDqW5B+
/H3ESUmahyydDJ5JxxEHBSsZT9NzuwlaMDjPcuKv6H3v9BRVvnZwLDPZXY545hkPgpKmr0o+TJ6i
z5KFEqIc3EEJgNUaYa7v0VdoevhZuvZ4K4p2uDClZ/YIlBD6y+BAsW6VZ9HayCvHHjKcXab3Y/Ql
0c29rP5U/F/QqRdW5pn7h+WISaopMZV0ao7n0tUERe2RWZxgOlDKZN1996uof7o8f0tRpjV0kEoi
6at47kCU1oD+xMBURLsuh5j53k1JMhU/nPfwlp8ANvM8qJDkotWrkmunrXDosHQwKDbgKCiuKh63
iN6O1Rg+mq4XodiGr232UhdWFm6HTh7Q7AIQ+VqbAfS6rPekHxRtMmNdm5maXpWK2oVrbVRieeH6
P81xdAmKM78WKjP1mdlpOAZSakjQ7OwCTS/TuAMztxtxCRmGhcP+TCBZltijkHqmxq1y/AWSskso
7IL1EUYdxgp6aDplqKrbys1SgfI0jdJlznc6KECjqSrPElK4DnIZoTpMmQTBbSAacYAuoCa9teqw
EejkNHXzOCD7v7AApqP8OH0D3ozjGeVXOmDivOrbyni2SDFaF+pW+Mixpa1t2IZv9dbYX450bi6Z
RopyMEEk7D6P57L3DHkcZQJ5relusHP0gYTqvm2Ebr1rrUFyLsc7vT2gpYskiIpJ4g0I4zieBhZN
lQohxTEjtgP/Q5V1VF0X6iVnBqWIGuWm33F+a2AdbtHeGuIMxkWKNF/ffnKF4OM3BvBZR5U2FdLV
l8d0LhwmjlPxCeGskxJUO4SGGA2EG9Ri2PqRVD1zOUf4tMSIpYz1kmf56QkEBgNHdYO3Hlaw83rA
5GSlpQbaxUmcvY1S9yB71ZLV0umxTQxK1bDwJm/Wk3XRh5BvEg1iaoiHCHICsgPVC2y5Bd8c8cFE
+8xdpXq+PJPnRgYIiMNv8rk+ecdCYPYUd1LY8YT8BXTxUyuLj/9eiNnxLffAhruWEJEWXqnY12lG
tODNdToK2G8cFgATsOY6IRtGiRmSwKOokybiLh2DjTAsDGL6kbPjAbEpki9sDX4DWI53kaJm6ajl
HirQnbJuJUYj45S77+vsm1uOmxoLnrtBGv7+rODRwAkvTwIXPNGPo6ZYV0K9CnOwctptlL3r/mtj
PgnaUjXjzBkhUmU1JYAkNKDm93hNKyaWJOLkQYdHy10lpeui/3V5HZwGwRViSmAtDiTOoVmygOoY
vGcJtAHPcqSi8+sK+yRRer0c5XQpGApHHV1JznM+1+z+qGQUaxgnItqu9qwOyDPy4k+dy0FOzx+C
TB1XVEoMEG2zoXQGAoEwSgGbduEtcKdHLxjuwtb/WoGevBxKORNryvypp5JinZ49bmvUiE+i6I24
m2ze0lSWqKgNVutm+0AoatdpEgWiPXbKEBxAYnc1rYYMIR9UPHIg7Uo+9NjCBO1b1ViG8CbWg9Zf
y2Uni2tK50a5FnqUDe3aN5DyLPoMrdvM0JGyHsSgbu9F38S9iko9cgh9JaFgZohhId21bVwKTgif
E/FhuWl+9qkleHecYtEqLqD7bfDN7YsdKojmiKQeoF90rHOM3VyArvnCW+10gwK1ph7H2cnFCgHq
eKuUeW/oyggPxu1lZSVgH4SjknyDGN2VLtKtglKEkZmpL1ZIzixr1jXqX7Iqs1HnTXCtnnRaWsTX
1K2y0W7cbJW95u90UB06MA/RB6Zy4UpaOBhOLwswX1TYTc4jutXzHk/RelnYd6j9DaKIfkvpuG2y
R3qAN1SKZn3WLyz4k131+6U0QSYUqmonCx51KhPdAay3WiSUIhnuzkLv72SVEwDKmkhLiWKkNsd7
5dXoJmaE4kvRmFsVa4/nOr8JAadf3k2nef4Ux2CVmIo6oRxn2VApun0FNggJ7Q//Qf4sn8drf1OE
DiZw63GNy+AtGIPhm7XX15cjnx3gQeBphg8eMRGIed+D/g7aflindX1bdqKjVdFaFpKFxSGflC1m
g5yW7EGsrNc7BFSIpT5iQKdtqlvxtvgp91u04QTAiMOHtQ136m64hq+EoQuytZ2db42FRXOKA/v9
OyhcqJBPxJOtIY3xgCQXzUH3axnY3q7aJtv0Pd3V62rvfQSbpZfvyVacxZvm5WDcfZR1k/YlPKiB
qzJw4IihL+0vDOvkpJlFmS2hRB1Au49ECcRtn4vQ4W8LkDfT5pgqCtlf46eneJM0A1cn2OaJCno4
qroGPN37/PXCCPGtN69Hq1mj3LMaI313eZGencCDULOhCVDRLMQgefmOwF/8Z7hPqyx6+feCzHZC
7g/iqExBguGLIX5SQ1yBKLgc4+zSw9ecxInXnPxHsutgKTRVVlc+mi92vM/38jrftDvjtnOUlWjL
O26t1b8Xz5pVCnuYXKYncX4ZhaNucV3cJLfig/hMm1LY6jtvIz1cjnjuUx0M0JrlOSJVWa9IGaBe
/iqRFTBhlEGOW1jrS/M4X3xq6FmFbzKuao1AAu6XW5hAn9YtTFNw2p6jPl0e1mmtjNV+OK7ZEmwj
6mh5y7i6FVJKK3gCm/I6Xxd7mUnMFp6tp73RWbTZWqy7SGnKnmjq1ttF6+w2f7GukdhfYw36JOCg
vQrXntMqC8tz+muPXhO/w07254DExJO6mTKqg1GF02pBQhwHxSH561c/ntL09XTI27ipkwsfHxrN
4MdeFiM5IIbdKjHfx7zbRHCGFr7WtMpmAzkKM/taITq8susSRgiqRLEhqWBiGcnpNcIlAgzT1npE
RVOwC8pXK8znpDV6KoDPcriCC22dMxcspbsJoEovDFrL7FOOWpCiMaNEqDDgQgAi3VOf+P8hUZws
jPqUwzNN7kGo2f1aSAi3uh2hasd9xNzAxDwX8C1w/2wlrPB4GT1bdfD72Chv4+O4cu3hJdnEPxdP
nbNj1nSDVEalHT1PA8sgUvwGoIKtfg1l290ma/ehqx3pTrDW/lu2R25jo6UoPq9w1Vn49Ccp6ORa
rsnUf2FyE36WcKsQ0OOUMowtSbZe2f1GXmFihjXzut+pjreXrlRv663y1XIX6Mz2ITSAOFgkky/k
NC0Hh7va14lYlMy/nuZ7X1Jtqy8XvvFp43MaHoBakNZ04QEMH8eI1G5EWYbhDVflPnWir2h73YRv
fxqfCu4m9lK6dOZEp1r/GwE69dSs2YQaRWS1LWL/tj8gUNvcxsqH679c/mrnFozGoAwKgYCFjdkm
UWqM0vFLiGzT0lalFjhK99XT12jZLWQS5z7RYaDZFvGNaFDQFGMwpbaX0RK2BwnZwsujOTdjh0Fm
68CE1ptaMqMJvPAahclXVDo3aqc9/wthJCrtE3FvKjoeLwVk5wvVFSpMfS2BnF3xH3VUi23wn+rC
gM5+HuowYH952Inz1wnPearDSEjxgH+qsnYn1i96+8NYbByc8iNY3SiB/U+g2ToQXBU15IxAMvee
tou2/ZWwDe3AWSK6TFokJzeEPuE6MdBQUBybLQRJStWhinipBmEQxneGGhqD04TWuAvN1rjJU6iW
92jgBRjl6n1+U7vxJGTQWHgNyhBEr0uhc2/gTetfELqyMDKTM140SpDc1kgyISneStmmzFAot/0s
Sb+OqiU+Vq424HWbBq53N2Yt7peD6QYd/4sZZ/RsEmVXq2nerRSvSpA3UDDDG1Qflf0mr0R5rY5C
/Y4gpKGjYTIJyeuaFz3Kvg5p0SoyLPw0zTMSNEEj8TvEaZ5ZLgQM3UZ5Hf63OXijCgHVJGSHMnNP
vSvtx1UZhtVTrevubcpgQ0fQgwgHuhZXZJovGc42Q0LrY5Jjb+1GrMnC/34pm1RKqb/9LmfO0tQa
OUOOO+y0XDweVq2F27qJFshajrrx+9+H0lWkN+jl0KCaH6AWkisAm1EmCEwIzviVYipXd49+UgsL
791zZw06NYAQaFFZJ4D9risVq9WIVMq5+KNUgl7c172cqAtV5rN3ArJRSAejaGedFA+QhPMEq+a6
7Tfu1qw31WvwWtvSlb5Rr+Vvnuf466VL4exOnbjCGnrb0OFOCiNwk3V3IGbeyJtElR7axrjNcLNP
m+xZ8pJ3zNG2uR5c07taSiLPTSwINxwUyFFF+h/HB58QhGJpZWR3Uts+ZHq0hfy/UPc5E4LLDrYD
Ksw0yOftPq7DsBEFrlmjYe/5CHOFSwY65z4bMX53N7hggaocDwNBMXQKEJbgSeG/yJ1Tg38kTdtn
N2WxErba6n9R+jhzNREIpAoVb7BTv+tQBylKnaJyWHWMS4tX1Wf7oFzjloixyBrO/Cr5Ir2Gj811
9H55y52dTJ7vNKpkWhVzOBjqGUikoLFoN4r1WOQuMj7ZQh9k+uSzhJ+aowS2l7K2DiX0eC5Tf4wN
BXVCEogEwdQBE7ROQQNB8JXrtPHMrZmPT5dHdW4quT5wL5k4RuZ8FfaBFOHlgaIBPehPDvorAK+o
Q6TIOFwOdHZsxDDo/yqUB5XjsXUCVWNzHEgnjApZmzGFuDtan0IWP0l12qBTPyy8Wc4OjdYbIp7o
dJ5Q4wvLbzQlZjZB+KzUdLwJLQ2FpHYhGTtzB9O0/yfMLE+SK1RxBp3MMqiq21FrUTxws8LBvbB3
EEuKNpfn8dyrGqKIwsf6Db2cn1njxMlB/xBAc+KIvyj99Y7+Nu2573HnGCU+a7a3am9xWVzI2s/N
52Fg+fgLiuKoDzUy2Lyr0SDyajN0WjO492V/YUbP7bTDQLOlYnllUY0lgXxN2MidYdpjpWfO5Xk8
5WqB4zmMMv2Kg0MEEJMcAHeI7NKJ8MSz8f91FNu76x0VVyU7/hE73hoT8Bv8AlV13TnSZ+bgERZt
zPXln3L2DNWpVXCQTl2AOQ5UQzQzR1Mc5cEWjNSYpMqqUuprxDFJVOTsvVTLH5EcovYzmtk6TdGJ
RH6mjbBbkRBpppWdLqyy6dSen0QHv2gOFG2rXpfzlF+EZciOdG6HKP5G3i3VlM8dCiQXJLBkGCBS
pj8/+AayVghhrLJ3kKyzMWfZtsp90pjIwGBM4i/kTGeX1UEw8ziYF9VqV4sEk5HKK2kyZzzRLn/J
s1uEFgttS3MCvEx/fjCeglPWK1CehEfz7lqVE/vuegyHhY9zLorBA4ZX7CRfOOcINUHWI4qUc+KM
uxafzWhIVzhbLxzY07k1XwKHUWbTJWiRW1oNUTo1L9C4QpgTBd1Bf+wU378VJzfgy5N3PiCPdM2E
V0Vp7XjyzMioM6nE2Frys/2gIRM/KZo2whoB7gWWy9lQUy8Mt50JqDi7aBEcGkyh4zuJQ4SHtJQg
C1hlkb6Rxoz+L+3Meun0nKbreDoVSQTMC/gEziTvtePRAQ8NS9+MuNtBR5ascV0YNnnTo4FVruMU
f2F/KTf7PYyTmJbKgTIluSc6D26XtaoYYpKjPbeBHberAUmQ8m6wYKCucdW+1dbmffLiVY6VAtXc
4Ortc0W+Bs9LR9x89AbdfOSCNP4bAM7JklVjWUDZbwJp5rgR905jXbVybyc6dqx421ZLjeP5FpnH
my1euR7CxG8pFkaj7CgVaphfBONvCwrzILNPmkUoSQMTzG3Xcp/wFthJancV1OldEeoLmeHC/P1W
Ej04WGq1kEJYJqA0Lf3BNIVdhyd5Fbubrio2oP2ex05feJDNj0vEVqxp/3Mwk5BSpDtesBj15IKq
RCyJrtgAE/3umvmXyzv+9Cvx6EIdjsceV9+JBA/PQPjSqQasAEVfOawbFoTxTUOP73Kc06FMxG8Q
DCi5QNSa557VIGJpGKHsh1OEXXKpmlb/l4fXdI4chph+wsEHChrcuypNxldXRya67HYqRevak69y
K/q4PJqTDHAea/Zl0rLQxQYtsd+giOTTsv1VduVdIRAavMAYWKF+mP5vOs7zU3Med/rzgzG6mMiG
gLlRiCvJloJdfp9s3Zv2mqastdIeke27Mj0bw/ClNOEkQfoTGf0Fuo385wkMRKpRT26Y3Un5p3hK
nfA+Fm3ltl6rm3Ib31JvXawNTFnm4eE5jzlLd82gNxArJWbpDPTKmi3p7g5J/EdlhVD03vhx+aue
nVwZQqQi/iGzHE9uINealk4LCPMZZxg1bIDc185TdliPbi+Hmmdd08hoWgE1EUHzQTo/DjXZ0uDj
C+gpV7X0wfBwsNN0PN3iH0GYIlfadNbCBjyz0eHYTw0FqCzSiXQLwrBSZiYlOroGsrZ5ySWgxulj
4uvV+vLYzkwjIBcQ2zhF8ZCer5QywioFrfYE/hFSrLpmR7rv+Fg9hTiaXA71m1w+WyHgwin1gpKl
kTEvfbRWPLSRCRZsUhBr9+V9BgQj3GibaD1piYnPlFq3KG4BWvLt7rrYXY4/HSkXws/zpawGFp8a
hPe8eFz7WaM4nVkFCzfPuU9HQwN85CRQxdP9eLFIjatnquhR4xWtH1beaxBx4htETZeUSM59OSpI
E02SAj0m9seBakycjNJEozMLsIiv9J046TY3hf9mRtoSEP6k9c4eUIEDT4DTycVsLs2n9DUWoDLR
hJ1+5UZOcOU75S7d4VG+SSRbfJfChXz6RJxtHnK27XJkCipUKKbme+90d1WBBb0NPsqpbjKE2SCl
q7Z4vZR5ndnsRwOdHWNhBSjUFBmorlayLSjjS49jsTr6b1aMkSM+uwu59X+y9yXLkeNYtr/SVnvm
IwmSIM263oKTDxpcUygUsaHFIBEkQQAcwOnr32FkV7bc5RZeWeuXucgMU8jhmC7ucO4554w1RoR+
ChoaUB4/DU8g2TGZjfNrnksKcwK4/xB28RgviR2a4eWKJVnncHoT3o944u05Q55hjzGiuYdU5jdU
MKI8KT6JxyAJboJEbvSNv2PP/JnsoUAbYqUjFbMnEoLmI0Z94xN7tUGJfcEUnb0579bhxD30utkd
ITHEwd15H6iXlkCIqpcXjMDZ7QXEHEBFtFd8IKmjS5FLr8cgbESluCCJh0LHWH6Zx89tdQlZcXZG
ADxgrVfU9Gk+GYKSegnAdB62EFWZoJLlV5/KoP1PLoqPOJBYKIGvSoLHlgAq0Nou2a/tdNOlSYo9
ONMTwDHTORZJj5aEuPv8d4s3uJ3A0nlrbRAERR9K0pDi6lsT4sfhzLyILkE0OJCk8PsLj8YZo41y
A/Bm0NUEnvWX0vg7H6qBenUGjjFYOe5/oUv1XRb1p9+/C2d2CYDmFQOOWaAn9iSOzrquLRqwVIfK
RbaKva3CFmR6+v0g55xQChEErBial9CnevIuQDBUdpBIXe9csW390JNRf+0k/FBs+qT/BsG+hI67
8erSPl0ceF3hdyu4aC7Ae4+Bf0GCQZwuXihAmA4DATv6Y+WuScFUHzrDXfYgv1+Y9WpJTiwNRXUP
DFKgJ4BXdHI0C2iUQ8B4lXBGaZd+r/f6wckjdJTMeyMqIjO140FGiu1AJ8+QKf37pwednMArovQH
T/E0b5GBAFP2qBJA2NnVETeh9Ov3y/PvJ3nmiOKCgwIZ9DCI1U8DvwqrB/hUD/wURHNATxQBDnLh
iq/LdLqM74dYfYF3e5g3nmQdNDT/RIbtwZCVOql5Mb147iYgE4fkv0XADH9aJW1oCQwNFCPDoKZN
1Dpl0jEUFFVtXJjP2UMJ5wVcATaQQs6pS51BOqvUDBOCOO61nVjb7Ml6mLJoiKC+EbaReGWf2M14
iefm3DrilsNk2SjvodBxvI5gUysg0dPysFJXqz0Gn1ykPND8s6tCgi68KBJ36n7+/fPxblB6Yl86
6Ol0udOg9tx9ssr7jMgLsfS5A7hiGkChFtgfG478Gh9ZGNg2p5yvcB3uIOtqXtixM+8mQP6rKQby
ZMVYHa9cB5LzTpqSgzciu8u6r3YAiXQonwwLSFz4fxD/IPRZm7AtPNIf8sIKzPmNpuAEBerCjlkd
PEneqNSv57vf780HdDqeMUACKLoRgQrAsTg5ESDFt/FwGVUorpdrsvXv+HcAEpxdhjdgi1RqVOy6
6yatUv6J9DH5Oe7pNbvwAJ3x5BHkrR0A61cAa+/x2k5BFliOhdkGnOUHFx39EOYwPLsIm4lBFbaz
6SW2uHPONRqPwCyIGAV9DqelUwizFFVRgdfSu0dvcfmTRe36+IHatl/9hms67arY2LHN79f77FTf
DWsfT1XIDHIzEsNCeQPEoFvwokaj+5b/3U7CX9u6trmDMoF4oBc8HmceTUeaUPsLBxNdOENv6ogx
XVxwJs/YS5QtXGgjYRxcjpNRILGA/h4fsxkN8y7ovb2zWNc5sR5/v2jnhgHZCdgBAJL7SHsympPj
ZNRFBbMDGM/xi1fGexoi6X4BgXzGkCDzDRYwJBhRVDiNRJa8JmxYq1i1vQevfujRS1XtjyMgLl6b
80HViU7Z077Smk2uMgtohmXLU0/ugZv6/VKdCaYwAN5h3CI4wx/r8xMEDUy/qMIhBbIiyvfOFJZp
u3VvAiDfrSrJ00tn2lq3+fh1xpioGoDhzkVS+dRHtYe89LjApMDZ8GO18w8V6kzIzd7yQ/t5TNVt
CxXtUB78Kw2t6YtN3B/6iFAJPfoCJ75lq8Z27BW+gHsYEyg17lAUkp/8O6S702Cjn4ZNfSgO/sMl
jsSPt/l43HW337klywA9W1Vj3AJdd6X/Ci6lGOIOkbYvImA/vj/HQ6135N1QlY1uTWedonfvb+wI
krSIqL4HD+z7FLl7/aTui4P8bjzNFwzWx7t3PO6J59VDiI9aUNoJR6+OhHzpCjMylwu4ozPZleNR
1tm/mx3Y3ECa1mKUrg0n+OUhgHjf9Zfxh/1SXgGc8/1SqeujA7a2ocBkrdx1uIennnEBgcbAqVDq
wpNuoW4/xoNxs1x3m2rTxfWT6T608mqO0cmZ/m2n/GTokzfANOY6Fy4qe60t48nxw8B4/r0V+LBp
NmJSBzBwAP7OQI+QGLalj04lZPqm2B8P2cgStvzdRB8GQVcvAhuKuuiHzGmHlls+EvSscQYZOAKl
jNkpn6BmdMn5/3DLMBACDNR7kFdEEfbk6HelLArQVJTQjFzcR22PNkHXsm28UF5mb243XhIOOLd8
cPZMMKOBlwbG+vg0opkZ+lM9gTwahOosMA0y0OrX5cX2x3Wjj+wmJgYH79cLirTFqU+Jhl3pTQvG
EeRZoChi1H2iWnmgrYq91jhojQZZv/SeqjzbQ+izDaUJsZTfn5UPRV9E5Uff4uQ4WnNODHTpYnnJ
Q1NCfOxg30+xFTcbPxZzVNAdwh89hsarA25pRHk8npK1l+HSvfj4jpx8k1MznkE7vvXwTYw+Kq8D
9knwdE68qNl4cb/sLBU1fOVJHF+clxy9Y/9G59iH9/nkK5xYdGOpzKw28RXm+z7OtyIFr7Xx0iYT
UpFVzF6Da2gW/34Dzp02tPsH6PRfOcPdk1lbTca46+EeCZ5FTf1GF5Rx5gu7fG5e7wc5mVdhWdJs
odu8EpCjQVIkwrx0a84OgUmAgghdSOAcPb41I7UyUO6MZeiPzEtqg+ZA5+fqwlNxzhhAMBuULTA9
CNNPRslMgMlrDpVhiMRvKE2XLgsJeYYA0n+yYu8GOrkWAHfMrgomrBglIc3vDaDmf7/x596glRRh
Bf6gawiMgccrVjWGm5c9Vgxaw6YVF5/5tdOGVuohIRTCc4sbb0mn5N+BxH7IS2FUPH8AzeCNWEPa
46G55RtwJgZsVtC2MHKdO29hBYwUSWhjHxAIMqCJeNwObvt3+0TWfJiJNO0qi74iV088ikW6pbTQ
VBjqvIRQss9SWeBSU9I9XFjfD34pRkKXA8AzazXqA5EG8yBvSg0oXqzqKM9GiI6wGyOyNvkTvYFz
+NNNZiyvDT3TUF9Nl5LfH13xtVgEZC4aX6FA8SE6kj4gwEPbQBA7yjbLEAm0vdoH/pwdlgRQzK1b
hvLz76f88Q4eDXla4tMyd2vZY0gf4sFU/cz1hVDs3AArAyoyE5B0gu90fG7Q42bnoBSGiTahWp6q
bpghhpgp8xIF3rmB0BUDzRP0KyBlfHL96loXIBLKcUoIf1KjxUI5A4jx++X60N+KswiAwP+OcmJ7
IdQAIiUDozRo7nDzJZR9HS39kEj3BzhSQ5e89dlbznUoGNomlvTC+Ku1OvYAjsdfV+Gd3wtt3hIZ
gXWW0ZKKn3xtsa3RWQD9BngdyaWsx8en5ni4E8dGkMENtMRMCvdq8bau2GeXmD8uDXFyu8exgpR7
jiFot1l29GtZJ79fs3MHgzgoh6yWCzXmky3TE52DrEKJojLkMw9AsIbH4vU/GAPIH6Du8C5/cAAh
1orGB7C2hKhgXdXoQ5pb+z+ZxrshTtZJ5iAY4xq4BkgjbAZQwYQEcqkXzve5zQA1zl/zOAmrTM6r
Oisxj7lttlY3RtVoxPpSSfHcjqAwhQwA3mN4sSej6IBk7QASvrCbQKRW+UMQ9gG5kKg8Y8uR4HVX
slhUZmHMj28KCZhVuWDlCkF9eWMr8+sMVilqgUTAgyIVmhl7nyS1V29+fxI+phZgIVwQ6xM0G66A
hhODV2bBAklXjOsCwuQYiedHNgqMTlx+80jiHMbYjO0tHRL1+j8opv9zJDnX/ZIr/yHV3BY5JKaO
//h/b4ofrezkW//f66/99ddO/tZBvYrHvn197W++qdO/efSL+Pz/GX+VRz/6A3hOoKN+r1/b+eG1
07x/L6T+7/7wv15/fcrTrF7/+Y8fUkOPBZ+GqoJ4r7oOAPe7bfgg1H5b5K/tsU77r9/4U6fdcv4A
DBcYVfRBIVMHsOFfOu34wUo6FKANFeHvL8kWIdue/fMfFvkD9DxoUsYeAs8Hhpy/VNqdP8DZbCO+
RPETn4vCz98RaV/v7f9a9PVbYQjARFYMLUCKp/CXXBaDx30RE7RapsoJICLgGFY8jFzFcKaqv3XD
fw33qyEa64B/PiB2GdRi67qVIJvwvtuoc953Rd4mlpGN0bsduPtzBkdSmestPpoYRUoRUOSV1I0A
lnXieAu/89hCq3hks7Gbl6xMpOafa8sE0M0kwMXUkG6qm+Gt1065EQoSLLX3UwFrBGkKccc42jSN
ZqljaCAvGzqybiuNDorLFskf2ZD3OyRHb5WE/nnRFm5UumjRLBhWzGTDbUUugjyPjSOWDhNa6bpt
wAZW6/XBAmeqyxYoq5ZWxkA8zUG1y8UooAdCXd5f2Khzy0dcCygi4KtNdIQd26+8hxwvhJPiDs9X
WFcjTSpLVSz0VEtjsLTZN24u7UvZ4LVycrppK9014gucfUz5eFQL8J1hBlqJc4ekoCQL9kDwtld9
XsnDBK4K1Pkrtve7mm3Kvqp2Y1E0D78/OGeXGegCXFYUwa3TIKcfi9HkSxVPRj9sIFNL7vJm1iAT
7S4Bws6NBBIPFCI8vA/oYzyerDnntAAZZayYjZzzbE4TureU/sSC+hKU7/g1+vPsULAAokiMzNeH
QnEAtcDR7su4DZATMXUNMhRU86oYDAx1SiHcCTI6u7Fv1LI4QL/MC5Bbv1/W40f3X98A1m8laAV8
8WSyvcMgZzxVMTyUcmflTbHPNS2//n6Qcyu6dhn9a5AT91SjMc1nA/Ievv3T1VYP+o7hTfGLpEpn
xwFMYS2EAwV2CuWbStA7OKSMfVsFuwUcOstsuSGMzCWC60sDnUTcPe867uAWmrbiew11NBRxVT5E
QdeYKv794p3doXeTOvEcRFHVloGx8s5WV46eqitigIP4wjk4PyPIfa/iQqByXH/+LoKwg87IOVjt
zLYaoY2Dkw5FeBLPQ3spDXv2zOO8r8C5FRp/cuKcnHUSTQvx3NtXSlrR2i0x0RcCyjKv2y/GRrSX
qmUfHlOYaLr2msLNB875FJxr4J5p7pRQZK/kHYOydGSPMgU4v7wxtC0uPHHnNgykpT4wqyAE/gAo
1dXo5iMmWJgI1u0Obr/oCrn7u6cCdsODr0EcYD9QfjjeL9VqYi60jNkCrd266JaXuSeXovSTTOpq
HTAKiH9XIQoQZZy65LKykYZ3y3gFGq8xpbWVftJMURb3ZuRuSNTuza1dRsaQ3DeXuic+Hsl1cHSb
riUICEicHMm2nMzcwRTlnEhqJKbxSqv6QtL043OKQwjcnYfOLxRwTmELWe+q0VclDqEbu4UzRG5h
RaY59SGQE1mEisWX3+/bx6O4DrjWU9AZ70GJ6HjfGnvQWVOVQPoBvwaSnZHRyJN+6FhL8vuRkIPA
Zx292shWgY5qXUIM+qF471aMiFpn4dBawrvC9FArGoif94+2I5WZBlT21TYAe8aTJwK3CxcizJs6
ExoA3VrUUFUVDQ2ddrGcbYWegJ1hyv5TXzCPp9PE5b3V6+Cal2T5rHuK/gHHnoZnpglD3UF9Apfu
8rVpHBCbDsEBwL0cer/6MyTjt6wZnyxjYBFrIHMHSonpuZ4ncnDF9NA09ucFHZopzLyTWOAO27hQ
5olrwwDCIuOP1J9fvNEBZ6XXNna44HrdFYj5gussqG7lyIev6IkOwO8xZdNrofIgUo7ZqJhX6JRL
q2yEUnU/QcClmyDV7pM+GMOe5FNi+PqrqcBDDkz4uHPrKSBovQ3s0IfuYDR0jTq4ZjdMX4CYQBdd
75JrMjemG/U+HZd0Gf2yj8tuEdcyI+VG2wwkIY1toPrD09xxb3sWBBHv1aZtvZs+o1s5QCRnnuzq
0Rb+hjHxBLBoD0nbsdxnC3kG2w7wtcycwxkY2CjQpD5AfB23r3P72FOVvvHq+pCjeRe0K6MXNq1I
izwf0Xm+ghM1T8jYO18DIwChseZPlFUvpPV+1oo/2Fr5STWqOuaL3YLnm5dAiBLeiB9imqqDqPxm
v74WdYRs+RJLSZbUasG7hw9DulK/+IYWc+IPpYo0PMdtMBUUdKJlYtlznTaDEiIiGWQmKbMA27V6
76HNgzkEnb4dToOIYdnqWPn2HYen786dfctqsLKE9uR9RQoIinAufIdkIQXZjMR5DRQa61vbKPMQ
an9ko3hwBW1P8DGIzI6K2bp2DX7vgUqDevoOWotmAgq/KTbc4RMwlB4kzPTNYrBbOo51VKMomBar
MgUd7b1ZeZ+djDxx7lvhMlLQ7y11BOrbA9xN43YcBbDOogjGh8Ia2kThjMHfL4ZE18WzP/cgyApA
Jj1qh2JkUmwKARFkw8g/Z0o9eF4T7OaAgeWgVNt6aXecShQ7WYZ+RNGZkSe4HdqyGzbWGCAbYAqZ
WNx9g2TZdyUCP7KWWaZdVr8Uut7xrE3l0pQbu1mmjSbZELsZ92M15+Ut0BvWhtWViqu+rmLoXRmp
UWXuLihNDUbL7rGwDP8AOG8dTznYoxJpt9/Z4L01QHgdEN9CyMlXfcJ88c2i2khBZKWjjlpo+jY1
YOwa1JXQF7Ejv8xfM2jwQhSpSmhnltCr8YZwylBmNGZI0ZGeGgjFrDLV7ejEYNnMYfGmJqbZiI8E
U2RcOXUJ1HBm4P/oDWg2nmvdo9eQmukwUBcEOosRTnyBuLyhf9S590qnnkYTAXgBsj93nbZVKFw0
9I3NPO+WEtR4/WBDaYR9BXWFkTR9/mwU7qeltA+D56157boEa12D5gDktsImt/zIrLtYjlMXTxl6
22eWZ4+5zf2oDMDrytDCqqg1QPWs1bejYb3Zw+DddVCvSFoywVgYqrijjQIxm5yxIbOPZK9q+v3g
mvwZDarjHroK+p6Ae+1lsQFvccvie5FbPDJBSRQyG82ohtH2SbM4KQ/g8dHZ+c7pKGEwAhAtjK51
05dBfZh8XEjbxmFkM9CWptuY2yVwoRMlVYMuXz7y5usIi5AKiM+EyH+bn/3KHoASNbpiL3yRfwua
Qr0sQLs8ixKECjm3+8NkdUQCeUtyEuVswf2oelASQ0fTBDG+i2bQm8kqkbDymb9txl686UB2b1aW
tY/KaNgOkNcurvIGyjnOLPc0mLPbqQdrQ1QURh4yU2MzAYTvbjztlyk0NBkJJZtFv636anxzqrFe
Ir1MOMdjU0rQkFSUffOR8Xp2DQ8oC0HFknJD52QP8lQB6XHHyEC8xMZARapheIMaIJW3pCq/MER3
L8jIFWxjGm4xhFLOPYgUWiuYYOZKZ5zqG1l0egFg2vfafD+PsuSPwCJ4fbyoZbQTkvnlHOlZNvNe
ZAavt5CaJjUa7Rt8xiaQNTAhKataWGljEm4fiRwnGuWv2WBjyBtpkmsoxczZlxIFjyKyJ8QNUSCp
XT27GvLYn7HQAduBJEC4aSBHGyfVNUbrpmxtD9xW3Cn8W4MX/VNOlv6HW9e8xIkZbPTw2Jk4FHyq
O1hJWwN3iDZJa2NIaOQJr+p0TGszQyBr4X6DNd2IVNfU3b4dJ+U9ONxvynRCPuF7lvkSGjmTFCzO
qZ91MbErV24LosYpXExL0shE4pTCglNRXoH9Mctj2eWoLuR4lpy0Aicwxp/dnsZth3aTpC+ZcG8J
PAQeL0MGffhxWhbjczP6DZSBqsbSdtTmVOgdR53QuEGCOfe+Ni5RLl5af5qS3BTifgLugb1kZGRm
PFu5/2KbHVQUBmXRYscGaTdXYz9zepfbStK4q/xWJHyuzOkbH1lrflb1bI0w1mVv3eXQmcq2TVX1
ZWJ0BFm2ldGi0j9kkNdgrIXlgB5EWfsC9wCdRgBuF36zgPncFjVM14Tkk9nldRBq6uifAczsAC+j
KZYwaOxJPQ5BO1s7onxHXnsgLXvEd3IJWN5d3FbwGphlzCclih03rRz9wOCmyULkvINx308FWcKc
+52TeoKM13btDvVB9yazbyWYb6doYvA9ctCbweTHLqflaizAd/imB4ZinUYJ9gEXK4CpduD5cT9k
k93iobEFcI5Q1BisOxP/WfbEyIZDbtAWtcxxdOWNM4BnNiKyXMoItdwaUuqVhXbeTNRZvnMFpHrC
KcBTGk4EHdMpOlTKZ0VaS997eetDfh2PUtZGQztC0rUb8POkdBzd3tgd1QrpSz611fxEQCWiHUg3
D/XwbUFtPqQUbwMQRobzLYfXU6ZKmc3bOEsYOceum59ayT5LaFCAgn5sa2ivo/Uot5ICt/0KL49J
wBJRzfjeZWU+ClG5XxaQyI14Zx3nSw+8QocC3AjIiRaWysOced6h6UvxRns+mftycecedAhmNYCB
oZU8qr3VL/SYMuawaov+3iLKwTn1M7aTIHcBU0TrNtCZsq1vwwK2/nDqh96PC0bd/MZvqDNtOlej
vElBb+eCbQ5kWDH3yqF6BUNRI78ZuT/OQO+qwqBXiBSm9h6+UkO+ge8CjOnbgIJYT4KxuZvxTfBE
ufprzlE30XFJiUHBZNtV2lJ739Nzb8atHmd4EBzyLF974EKbDfh6DL6EXm/iG4Q1UkctSF3c3s3y
yBdtVvM1NTqCMX3phuyrdpyOJGjsCJyt1JDMk2j55wNQZbLhQSPS1nUH83WSvcUOgyMq4FeWRc30
Oij6bH4jtirhT7mVWpLO7bw2XQxLgqI/M3G6dyzAqXOTGrZxwptrom8hnUsEPl1otAEHdAB4AfBc
4e3VDoFDBK/E+YkmEM33eTXM1R01tO9Hrfb6aSO6pjdRc5yHJoJo7EK3kCZovLQBTRaPeAnK2Igs
XmE9gzjLRmOQ4ejhDV6q8Fc3AaFdWNpNQ78AhmK+dETk1oYCOuOE5TJ45YtD2Kg3Tl4qmtgjD9By
XqKIuKaQnYYcerewrStuuMq7AzO5GnftIvUSZ6aYSWwXA+FJAyLS9lpwarap1fX2EgdlWy6RAVbB
4HMJGioPiSk+sESaJhpPXZg8FeamL0ELVC/LGgNMbUeeMsEl2noWMgVXdoazA18cWDqQNIs+F9E8
lghPNJKWzlaDwvwHof00fhunYOrTjNJZpJZYKjfSo1V+5g6U4DbdlE8I+bgs0bskM7qIwwj8SH7V
jSXNvsxOx2UkjMlUey48D3dAlJD80ZbHrmfhtzbqAH5jX1WBnMHIS1qDJdrllh3rou7zF5LPBux2
YLDUpWWuIpDzB8O2DjrwfXUtKg2hkyu7g9CUQnEcAhXAzOeq4EFSU1MhzDGDpqYZcNP8voTFqKIM
23BrwvvgyOi3Du8W9I3TGlEAKXk7QaVvmOd+2g5NHThtpFqm8OD3nWNOoWXNUPAzaV9A8KJWBAJX
fT2Lz9jQAsC8eaIcvtroLYZ6bdpmhicBRaC8SUFqDv7tumlgiIBS2Mp6cL3vtA/K18IgTL6M5aA3
HBWhJM/6IEuRlxM3zJv5hRSgdVzfRy4diC5EQuhKRMIH5ZOTnFk1OXTyBHird/kWbsUKqcNrkAwL
eM8vkR58SF8hcYWEASJYILHRL3gyVgHzIZEVD9sJ6QJ7zL4U9vRnauL/VyT/gRV7l6X5UJF8lLpn
//Wof347qmP++q0/q5LE/SNANQC4W5QSVy5x+6+qJPkDaTiEZADGocHSXCFr/6pK2n+gZw4P/VoX
Qe7Ww5fo1qH++Q/8EjYTHdFojEEaBf/+naokRjrJKYHIBJnUAChatLbhS56cDmFBbEVN+lkyDdMT
uSTD5evy2acM4c5giCtjmIepgtTjCASvQO667kPhTYTcO1CSeezJLNCIDpriCcpbbQ8tbnes5PPY
dgZBH0uh1rcGen03E2uQICgct+ORLc18HqO270wHlPjW2NW3fQEQ3xeqM1LBnhfoG+4iHmixqMQw
hsCYNyIbPa23BnQwM8TlFQq6OpxV4wC7oIk3z7GL3tthyyvdejEsB/D+xBWLsfd527sPOYXY+aHp
ypWNyionD6R3frAYadsUZIqgrjUgWxiUrAvbWjhowZm7BX8XxX68nVA9GagJhWB4WeVmcnsEVwjM
kclCYVTTjcDzV/5grRDDzjaHVQyaZCIZWVXQtBY+c75BSLPRSWv4RbfrnYUjTnTtSiP7I2ZGeERa
dx62KCV3S9wFzWAkbSttmVRDu0D42VeF9wLOA3ztaS6auO5mqCUj+WJ2Yk+1q1CBqYmb/cwrJjJ8
RYgKRYbbDQOKX0PubQ2Y0/7aaMcmvynybrF3nimnIFGjnJyHsmvH4RpkzSh/tGJQ5qF2KUJhX5vt
t8WAN5oi9VPSR2ekLZw0PbRo/fK6mqYGnxjUWURhzVFWkFZHTWsXoF3N/bY6IKJo1c2gJDTTSgjl
KBTEsvapHClHoRcQqmo/CR81V1RkZ+RsB908joNHRVTrLkN4pX0X/EFdZ4KNUFkjS4EGngTYHfRa
tOnQXpQCamL3KWLR9lNTMDYhMdSBnpij8D7dGbM9iIO3wGsCflhp8Ai02kRcUeBWAL81LN+0EKAX
ziyD3sEzqXTcgBcvJYYLQKzTdBTh7azzMfWJmqzIztEG/mPoJFIUFggaMTj6J2OeuSVynA0oAdWb
A69i2fRdPlWfZ+LkXuzBYQUeBi1YU/doMEcU6TLPK/NTXk+eTqGpTM0b2ZZqzcFASWrf5U3TgfBZ
jeunL0s2zYmZTyNMuWFDqduNvMovXORHW93XIYMOOh7XhdK7MlCBCSKRaYF31ICUzP3qKV740Vi6
iPy2VM6i61NDUWOqUpCYASngaWNhG8+rC1qlGaiOkJszNDw+pFrrWRrBJ6Q2mnpXdlYH0uVcZyuH
/tTMwsYHEdLbt5UDdzfCtfDmYKPq2rcYlA2kaZeJWQIOeSsauCngZ2bSc8BVpqkVddXKlrptSi09
pKnqgAVY8hHe+q5AhhfhvGcoB5geNuDm5UnWz2pKarVYBFRk3K6HJzCyM/vLXAoQ0bg9L+UXaqng
i6qEfcireYWFmc4N2k3vW7Ykpjur+YrbY2BtdOfKLHTcBZHf3KCFwP2FGgqEESCcc0AiTwMHtR/0
ctojrm1hBIWMiZgHM66GoNE7gUINWNEQXdghbF51n9VOJhPOoTWOdVsFemFFkB9F6GmzkCHXOV5B
kWFWSEWVLjKSxuIDrmY17Zdy8sUUyWE0vlJG9QJP0IAOZLsgtwC7HDBES2UJrzjJfUc0CSKuGjGT
42wZ3ESWTtA8I8kCVzbfGnmF5gu8I8oLIY9qpXJexnYvF9/sYteWpUrmYLZZGtQOytGxZrPXbian
b9BDDZ4w/8FTWg9XZguX6jaz/HbaqgWczYh2XBfU4A4yu4CNEf+mYl49AcuKDNzzwiYkYZeFO2MY
WDPnGwHA5nTjImNFN2iF4gNSOyBVg/ODDFoBC9g6KtE8GDq4v2Kqfs5iMkTiDZOok1kjkNlWnTNl
d6xjmXVVL0GAa2x7tfUVjBUVsPdFxdpPOVZHJSOFxmAOhi6/pJu28BV77QFR8W917TTubUCE+g4T
UPLd4NLM3c4GMcUOeAi5CtDjvIRqLgLw7+SOxZMMB47ueB4A+wmC9Mr44rQdivZSKtGmAATmSA0y
H3ElAEjtrcSm82iG3R9RKfRJh3RwK/2okRWqExL5pGzvBQrpaGQ3nDEOLE6MsHZxEsG1xVl5w8HI
j5cXL1eBMmBZLQez8ukU4jnlWSyHRT2wzCjUjWJTO10Lo0Bg7lT4/F9E6m+l67kNkuekstJh9HOo
WpQtbXeQ+iBi19eFP16BVn61mrIBjZ6mCw3NZhm+AZY8ughNZTCEDJ17a87exhLAd1lUOsmyrQCB
nXEjlAmYQaSoQOHVb/kSxMoeWJUWfme8+bZR6wMlsrohZM0Mla3wAWmGs+OjZkIMOX6nSF+geOuA
3BwZnfnnaHa+kXRLp/yvI7iI/D13Jr/aINLpvmeLBFIlx9AjiAWBO9h4ulPfMtSGIeTW+eyzKmpk
nr2sL/MrEtQ5T3gGLuuNYXm4Yzqwpy5EXlctu8brh+5W23UGpIlbQ9A1N4iBQkaR6/q6nz1F0twG
cnvDtByq2xqRjthwgBC6K9KVwfTCg8kWb93iePUeCK6x3za0ESZ2D2FQ6i/jQhPglp3pJiC11yTI
xAGy4ECvD4pvgbZJYue6nG714Hhd1Mq+/bIQveh0Ag/1FPW1mDuQPjS+2HSWbhqwuCr465Brsb2E
VLbTpuh1MECPr0233QIf4SMNaBfMSRZp8jYR/4+989iOW8nS9bv0HLUQ8BjcCUw6kiKTVtQES5SB
D3j79P3lOd1VVIpLeavGPanJKTESQJgd//6N3iVxWHVWWflTr2SZn5ACAhZqdCmRgbqWpnyuWO9C
Lpo5nr+xCdV+cZK8vwINLPSgVki4CJVeS0Y/MZlt26xue3Un3BSTy1X2hGv+VTT/3/3hvxBD/PH+
8EP+iL8W7zmQf/2Lv+8OihD/4GoAbfEkDUbkfBJSTz+6/v/9lyLsf9DD17EeJgQEJpdL4/l/bw/W
P/4iG5IuDgnJsv5FaRTaP6DoGcj5qUhPLhP/zt0BI49f7g746XCd5BKCuYcDx9c4ZxMIznMVPv41
jY982hSmYn/uGXnyhkbD4G4plj1EbeyGZ0PpVi/S6E5W0KYPRp3HjxjL1So9HxtRk6HMKMnAYsSw
W1Tgwszt6Kc3jv5gtW2+WZZm3HcNCd9pb9GQdb4rLXrabu6L00lWHpqko5bqM0gLSD8O+kQLucy6
cY8FK5jkKPQ5BMlnpTcGe1ejSmoam7z3b4M1Nj1ZQAnC6FpfP5mtkqJoy7qdxiLsyZSIlMexUdIX
NPlYIRhlHETxaF33WsYfXjR9L4rY9GDzWKFYZuPJjJxTT6Nzd0PW21egzsaWTWDZT2xk4L9ZsxFJ
RtISUM+NaqXKHnaduTFdOd5EWq5u6nkiUTiJmhc7Gevv+tgLHMDNcT+XpRHCLlX3qr1wwA+m2KzN
MB/rjNuC32i5eAZeSbd2ratf3NzR9z28z62lxclBGfPuRi/K7Jr2PybVpcOG4s5IhYFFbhV7hZG5
FkIeYj1F6tqXYBJiptVeaVwJTWAifx4XY/Xpn2d7Z1zcq4hg+VCtY2cnmxq/66kZtkmfztflnHb3
i6EYD0k7mDvAY6Wnm9Frr7GpkI0rau0z3Z55lwLg7+VY8Dr7edmXZV8Hi7YWX5fCTEBh4uXb6oh2
B9bcXCmVxo3NadVu73R1dV9zS72uzB60qeHoKAk+rdFM0BJ1P5G61YRGIhuFjkZaw3B3lNtZqZpP
o+E21y73ik2dRtU3O0uWR7hL2hdrGNWnRtWrO8727Cpq6RVtmn50dtM8ZrwwjOR80+niK6upqnI/
EbjODaWylquy0ZofRtNG236O6q3LbaDwm6hIawBbyyEjTdhtRwHWW6HZduUYNM4t5AT7rnVm+ni5
oUZdOHZxb4SRImn9K7l9leCAFuqZGX873QXDfGhwuxXU/CNU3LByiuIqWodorzRT9iObTob/HIXa
Pb236k70pQGmanVVtpH5OJ0KFAzi5iS6Hgwr8nurYWEWlRE6dS1vMNKPOJ0zfRf3sDIrOr/b3hDp
jen0covQdgkW2+lvLBFHx3Ze212maERHrWqyq61R3MyRrL5YnZjuMqtRX1I70bZdFg03sRiq6zFT
MeUuRHsY1alavHqNzX2W2NWhz0o8npKx3/eRllAe5xjNZENd1sDa+vTkjGV1n7A0n3HlqHVPqqVL
UJ8+VyoCrVVbuAU3mubHzmhdpVPVYUI8yPQrbEvjLdWKZt64Uz3ZFDzloPjSWuwbwe//Eg24E22H
ok1Bbo1J38u4oaeABFv+4AYIWo8dokqTfqrfyi6yR8ySenll2lMemtochwV3Dum5bTx9g9ekhTk0
/tRbM5sako/Tz/DE1oxoY7lYT9WiOdw4VGJzyOuQz6vV9Xdxho+LVxo2HY0TrP/JKp3ogT9ruBAY
jP5x7EvqsLKIs5uYwhPyjC4bH0L2kIVQDIgus9zxDuR02tZzT2cTIIW8YNrLYbKk1R0k2+qzU3eW
ervo9nrbpsX4qe20iFjn7qRwz5Vs9abCoInQiIoAqEpJCsuzWfLo37pqvOpXdzyW8VRgZ122urap
zUb+AGhtDxYw0E/ZyfHeKpQWQrtrbtvEJV3OHmRxS6M25k+5uYH1E1spTTtRrg8dC+6pc/W8C7om
NsJM4yKByLUhzBIJPA9iL+3JXTdF87/G65VilCl8TN1UaOyvtaPTkpYEyZB5Mh/0SsPDNSu7q9S0
mlfbqUERTCfdupHAmTRuuvzY9c30EzKG8mZydDwlOXu90jX6dVTUzdMqM/gN7WzoR2eotaclLiWR
AY22QhdLcaEVk01gW6u2n8246O5A/dPrwenNzxjjkYmpiCU7TEklX6N+7Y7MsvnLpCWY5iHKHh8s
4IJD2QIorGWa7oY4Kt7KUzHH327uFbfEdYlOlQbbu5sUcuuVNvHl7E4PtSvTV16UYLdY1va7UGTO
gZrqP5JaEieTpkVARF9xW1lSu3KtxTmsdjTsDTtGDe44sjiscdoHGle9IKtpxqxFYV/1dtNulUyq
VyI32JbTdjZHyvPEfFyNdfrqLIbxbZhoQutJUX6batMlbbypt8bq4J+ZWWn/tSFF4Fh0A5ysvEvl
da7aJ8wIkYHqIwTQVF9T5/FWL3pu0WIGhbLsaKUdN4zTU9cU6eIlI/WAn8arc6Dxh8y1yCfaRnk3
K4lf5D13uDTrjGuuiCcmm2vl4H7WKe20cQp/EnZ8K+syIxsD5Wi4FIb6SayzPGC8Yf/E+s82Qtet
q7DL1vVYQJSgJ2NCnfC0EX9ljw+LhCDrlWrAfVC4Dz18/3v6EKyKqMB8nI3AiCzmfBcj8S6VdSf1
ulA3vZInj7kmoOynkfLmZEQcBNBDizTo57b8yQqD2i2owl+XpqrJ1mvT+dbVEtXwJjXDwdWpp+4e
meTEbyGyIff1IVe/FgIvTdrQ7XIXt+n4achAfnwnMuYHKhrrTonVcWtHKW5woCHd3Wgv1pZ4j8ry
e7biDISR3B8IATbc77RO71Mt6fXDkqNFOdJDb5RvzpJbxq6sYqGg2F86JfVEBB9+8FtddetdrMRQ
e07hA07m65NeTYe1EvMDzsHDiykHoJSUdha3/2yXIFF+mNn3Nixi99lNlf5TW5tFMLl6vCPPY+IO
ntZ5ODaLdtd0JG4XOUUYhaTucfnB9U4dtc3Q0MqahigPe6NqwtHh9kqAw7D2fhHTNduu5Tpqu8G2
pnlbLFH2I8ogMnuRXnR4KUsjKxFqjLblG6nVOoEd27MWFC1aMb8Fzto57RIZYTlA2FBnFf5/jxYo
NOJ48OtUujdQEFRtow0pCZF5Y6MmmQkHu4Zeol4pdsrN2+QA26e6lE/SIQG076sIXKkqr3NLDK9N
li3BPObpTdGpcROIFW5Y0Mq1ve3jiMb4oDMH2MyXn5OpLcC6jnR/FrqrELhH1cySczHChhb1aucZ
LvZmInezMsn7aOnU3nPlrP6IY9G8pZGbHZATDA/DXCdbHbNSyNaZgHMGmW5q2WNZD4HeVxUMMbQG
0utaS5j+migKt+1EyCsn04U933TgEdUVcJD6nK0TJZIzAwNvxjYyoSrN2fAwNjVaczHoyouSgP9Q
dRGOFpSq45xogMOClQ60ulDgKUQPXcT501Jpya2dOsmP0SZS2qtt8NJNp1PWeu6iz6Zf0Ki0d1Eq
AX3AHslQk6rgKqvVa9L4iZ2U/M480lhP6PxfIhUOnhfbNSiQZSMM8dgbU3OfEsomQ91MRieE8Zpo
oYRs9T3LFLv2tdIpDlPjQofNuJ+/uPEEODeUp0NZdTLnxClMZ9rMjd70vp4ZgnSNvqgfCoNT0jfw
1nCBVhPbpaUsq+dFQCX2kqgF6RT4YZInVmWC8Dg9NyPKrb4wIVgmtcbtHqzIg/0DIy8rsonlrujZ
o7TZA8MUAe6JgxxPJ7NTzF04n+Mp9SJ2xVtV70ChjbqmjFkjWxt9e1mG+WBCKeGbldlS+VDSfhAt
MVq+S0Z5OC+1jWH/gInbXi3jGaoH82oKdREpBpUixIh9g0XoK951zj4lSGKGr6CVL80aqW/LoEgr
0EaqxcCWUqaBVCCzPJ5MLob5Nu8T50eCXvdYK/ywSdfgAGB0HBC9sOzY38VukVyaUtR4mzmltgKA
aMJqdaOntScuydNixbxZFpDq1Ou6uFo93QWiwyZEomgdcsXeJ0WeXs96b64+LGV5O9IMv45jbb0G
Q6GOUk3Dzf0+Hfg/iHRFSSYWe6Qxs4DzUOkzb73WJo7JUzqDrnM2j3YaWKYCwW1AeVYFdTGgS5sR
rm35R63t13wu+RyPWAZ6A42BeUcTqHywFH1wdplqE5zRze06xx415iLhKQqpsiwEJK4tBP0Gw5wp
ca6mpe2JMjDhW01e3jqFlX8yFpnYNVCRneqwd3ULrgfTvHH1t3EUS0BxCIJYGO1r13dZAJorfGl/
Bf+iwMsqo4MDZhb7pRi6L61lGl4DgR6BLiDA1l6rPijXjNeBuAdl8CjvLWNogkhKFZQHBvqPPiUm
xpSq5euKNX7ST1RId7HdQ5urwO3Zomc3Vqxkn/Ixcu7GSok3UzWlui8h1byNcYoLKkawOxoX0VcC
xOJ7o7TEVTYLGgoN6YBbHCLTEJN3grMTKmOvziLrpVCjatNTiN3Vaaw9lVNsXbncRJ6SeVXggkAj
cHfc0+R3Nx45cDUh5d5sXQIoFGx9vK6ZjNty4XsBA8vuVXOk/KEZRkMhncf2kzGY6RBW7lBcsHT7
VShwMnYHhXPpx+I7iyzs3DwoVzR9krpxN4JV0+AMk2TaUumumFgpHA39JSurX3UCf40H0Ru0hi4r
eM65GSpYndtXhnW0yui6d5Z9O8OHSBpcyBZYx+8wJLgYS1zJ95rMX3u6f4+F3I1ADHwucBE905J0
kEd64EEoG7rVwM+c8IzPXefCGzzzsfh7GIIwAJjUkzuwcxIGvZMYiW7MC9VUj0UbwDNM74FVyAGn
K9kGJZ2Qa1hM20tkhpOI950G4n8HpUd4in/hNZ4pF2ljmBH6h+NyWAdfpdbZddvyxggMb/6Z/Eyq
wA3zvQi5jVTXFwf/6COiKfnn4GcyMYiLCEBqcTS25mfAn+lmvUpv4mvjlpyha2eXHLIbyrPkklrz
w2dGbo6WC2Ot3+aqpU8FdG3t2AYzFLLGr6/TXbMFS7mpQ8vjmN+Lr+1hfbrsiP7hA6NVQ9ulI/E9
56nMSSLGYdWOi63TkfvpVgcH4346iBcIMYCVv3/Vd+OcZvS7qZQigOBGpx0Tgb+umpVvypw+Ukn9
/PcXhv1umNPPeDdMzF7YFpN2tMcqOgyVkodSmNmFz/XR6juJ0xzIZg72lGcztBerO8lYP5bjW2m9
ufGPPz/Dh6/q3Z8/m4O5ZQ6GyPRjbeuHomsYwHl2ZvuCHO3MAeV/1hm9IjBkyCbGuRHxMtUpnV5u
DjdiYxAWDtdwU+1Pvvs4RVzYr87MFH4fDI7M++9iJ3XjrlI/Fvt+X9xqlQ+EQGNfp/zF+Vj4pm9s
uLjoT9G98vjn1/nhDH/3nGf8F4VasItq/biuQDtDWDuHLIOcyuby53HOrAx/f8azKV4BRNskGh+X
YzZ6fzuIUUF14RBYuOhG/nL/5wEvPdjZXFdW8BIr14+DvItj7tV9HpjYxlmz8h89GacAxlFYjJrn
UtO6ZCUkio4xGsh6vBM7xAz74mrZcAAc/z/s4E6f5F8yuP95k+/GOz35u1WcksgS6YzXBvY352hu
BLGCw+tp1++/JBezfT9czu9GO1vOamens+JiyZpxFdThCEwXFrT48Eu9G+FsRXP/TgoJMyF9LvY6
i63bzlcuDsvL5wkTEeuq9uHmXzq8T0vqt5cI6QzogO7RbynJ09q4EJCMYwkY25h3rpvilFKGNOdv
stkOUt30HPsbOgUonOWjSC65wp2Kgz+Nf7YcNClnOvfGMXe6uyReDlGBAa0x0II/abDW0CymzUS/
5z9YFO+e+mxRTNaJ2sNTw7PZZHm5Uwi5qFI1oI/79OeRPqgvTza7yNZt7aS2PavBhiUHFiyto9ZG
6gvNB/mYafWyQf47A4Ej3vDVqZbBnwc9/fyzl2ri62Ng7IDpLsDOrysDRVoWGYN9hMRXIHJJa5gg
BWiMJuYLW/YHJckvI519PlVaRLTbFp0ApXhzdJ1YwNjO0wBYUfww0ki+tklpB2V8MXHng9ViYl2B
WwtBpyhuz14sEeX1qLcOSSgrbIUy7sgj1J6M0g2diUzOP7/QjwajbD85ymDE+ZuNypjqsbGY7jFv
9DCzvyXmExDRwbwUkffR20Q4T3lHj5fA5rM9BskHoIt0j+poQRhaN4ZWben6QhiztRcZL4/JZF5y
Z9ZOzNPfZ8upqHNVAfvz3NUaNKpD9OscEznCs+w2XcfWDQFcc7qDXNdtHWnbGot1r+nBbw3hcce8
GmfnUSmWY+RgiRvFt8tol+yL8bW7PLc1kTFVvYF27rvL91boV0SWQ2Y5CWZgoFc/alQceN8cJmmG
3UAgNYbUsfs5LV4r5ZvbPtcnbmm1HKBZwodKQ16GB+61TVzVH8eSeIJu03Y455EmoY2tV9bGo9Wn
n5OcRkyd78v5azT2/mrqPoQtHy0QCtb6tkmSp6VV7stGbPr5FD1l2huNX1lnlqdC6TRn3U8Kddcs
lZcl39X6U6N9ElA8Glf4ubRJ1BXxVsSan5Rw3p28nDy7lajwZo8b8Iu9Rvsm+2LEnyEAfu20NJzr
+EaLIJjMYORmtgZ00+HKWSKYkV1N4ANm+yzAt8qkuB5NXnLnvFUuboN9j8jSMJtdoiHRL2rQQfFg
ZE/FuOxsOd0JUqhhB29UGmBkqe4sC4uc2L61S8tDtUfXzN42EABjDBjMiM9XluKuir5HNFgk7BlT
EaGEALTObjB3WZi33+0l58tp+X2UV6ANjcfREKqjHWZRc0OK263GfTyeHxvtp40ocyFFQRH8UtPc
afFuFjet/VolPB6ga/VqRfYmWd2wVaXXttf2+FVPfrriQYmg3tIqrXcdBN9klb6TvDr1Ny6S0KT4
4Gp91+hKmBJb3CJ28WraNOsuJ0K8k84RZkzQFLBUQUXHyrwtK+PQ9/rGXetAy4YvBe6RPhfeyItT
Zyv6ZQvAHaIEmdTPSrRXZX096J2fYrUQiI7aspb3WvtqVyu+U9E2Fg9okbcIRfZ9Ee2ck74VtI2P
8FlPtECjxYZpJBXpXO81lJOleINtHcbAU1aXHbv5wcm/DuBdmiOQNAx0sIwANMhvUewZqr23eiAp
jtUaOwxjoi3C2ZM4aaiDlTbDtQbI2tHBrZxnGqhhMpg+NhC75NQDQqbvSxH5MyK6rsD01hG7Vg53
NOCCNSMv1IpodjTXqA32ULE8vMsQE9TZuF1SNfYX3amCXB945HGtNkmK3itSUXo01rawqgtOrB+d
fOzMroZC3yGk9gwWyBIF85tCOUqVASe4vE9oi0fA5aaY6HRZCUG5OA78B0ffu1Hts6yIRID51WN0
jDL3q92Ia6WfjwWKkgsHwkf3IoK1cX6zuBPBhzrbqjNMbpQ2ju/7YA40vwybm3T7rdpDO3m5CDd8
+CbfjXVWGEaTMKoZ6U3+swv7050/9pS3eef68SP7VPHJ2Iz3tNBumwvF4UdlxPtnPPuC1ligQZBI
D5V0r2Y710z9Ul7KAzxL2virjH//Js+jaBecaOiSxvfqQcOJZDE84Xj54fQ+7W3sp902OyyX3+lH
J/q7Zzv3WTEVZU0BiY9dGG0TPz+sV/lT7lsewF/QbLIDjk1hd+F9fvyoGBSeCFs6nK2zmsWGuZTo
anxf7Mv7PIzu4ptoQyuXKPR6G/nGTXGTXSh0Lw55OvzfXZLqCJmrIeJ7+yEnzmfwU2vDphgUm34n
DkWdeuyxOIle8ur+8PW+e9KzCjSC0B0ZWXxPK1H3F0sRaP3hv6YL/Xr0vA//fnkGnvPP93pWhWra
AlN4iu+XqQ0S3PT0nutnlqOshAz056E+ur+j1XI1RwXSgTR9tigyyPadNif3bcAdzdevYEbssHoh
mbPfNqr3H3xA9hhhG6dNFF+U8znTd1VfjPFwf/KXJCmPAtvenGAY+iCtNwX4T1zlm0tRgx/tODyj
hiKIZNffBtULOCD6bB8zrUo2NA/3uT7ejcl8J2XzGQnOBR8x7cMS9BQOAqh6yiI7e6lJvxZdoTrH
yV91vyM8fTsQfbp+ih7lG21R9a64qq5RW5B8lW5cNN53yfHSNnuaJOeXJoMmEN5O+G0DY/y6Uhyj
dx3UD8dC5Opra9vVYwwbcLlwcFwYxT07n8y+yZ3KdI6DJnr0iF2Z3kC6iS680I9HOYHEZJKCxJyd
ThFaRhagewRtejISfdOc+EcXFsKv3oGnffvXiXm2syixRX9H9PfFeqcKODCdJ8WneHog5vtZbe2t
qskNDnHBhWF/nyp8G6SMkA+AI3+zkdc1acXYADwm+3afh+JlmnzImR4pqxvUA5eW39k+JjD+ZCbw
v6ql8rjnN+kSYYRADfKQ9OJGzul9rmDg0lcH0xwuOfadiUGd01hEXLmCh2MZWObZC8UUK1qyWH/I
eDJJyClV0wbOtZeEl5J+z1s2fw0F7ZeqTGA1+bvzebwWdjkaD8Y2u1PDxqcyvbveogm/K44gBhem
ytls/G20s/rFNgdkf4Px4NpvMTW4+/nPU+K0MN8t3L//vLCYFvjAOXQofl2487rA9dCMh1NwpLxt
idzlkn7odn8e5cOHeDfK6b+/O0hHa8k0BP0PgpzpIRFP1tokF97TX83GPz3JGSyFgEQUizAe+s/1
ft7Eu3YgykcEebi+5LGfBPXOuF2YExKh9W68z68dD77erfSjC6fcWeX32ys9LYt3D4tiD6o/P+R0
V83ldV/s5ORceNrzk/TvQbST/zQgjsmc/3UQU+mb2rD0h5kQD8c4So41+2n1a29t78oAmeO/GdL8
9wrT/jXieZIpvEaZxKbOtF+wNLo5nTHTnfSE73Q3pxHzlz/PmQ8fESTcsgXbJc6u548IR5vUBPeB
q/q6Ke+1p7nz7Zd824ZLYCVUDJcOsfN676+X+m7Ec4f/3iEGRrehsQX13ry1DuNDc5MEgMhYD/mo
3wKUkxcmy8kb+bcF+H7Ms7JWX42+Q9z+4D60e/eFV+knxDJjwfJIbzJUfO3B3q5Ib27qG5qlPgFR
YfI4Ijp6Ubd1gAzowhnx0VLVEUMQXGFQop0bvaISVeVYRg8IDNH9tvEuM923/+TL2tB5T1s1SWpn
z5yqC3osET0IiLtN/2zRyTd7T+us7aIT0p7g6WB9y0ngTuQMMrl4WjpdWkAfPue736D9uoDQUTtL
wm+A2nkwU6+9azBw7DYRpuPLIwHgFxN4PjgN6TwL6jOSGLE7P9tp3Uxbm1y6DzShYZ/guNS+pfZ9
j9HZX2/3/3RA/4VH/buJ9puPwFP8VX7/+osM6PQP/mkhQKgBxzZRULBH/vJ9/FsFpLn/4E6Cngf/
aM5BAOp/ioBwL9dBlVzCsWwcYKGC/NNCQBF4COBuTSEnKBFBqcS/owMy/8rW+dfxRaGE96uhEljD
Tku2mHt2zk/E7nSahZDEjk17182diwfaMmBs0RqGemOZYLXpAwZR6i1kStiQoiNysBMp8fEWNgLJ
0Nxa2A0dtbko7xf8UV5hyA13+K5pj9HQOPsRBlaoLL0btEo5hq2w0nTbFYN2j9w4CZU8dw8ixYPA
Fw1eL16a2/0zTuxACmUxDEd2BuEv+boeclkb21ovqvvKFNFNimreGwdjIplQ2F0RQK6bDH+Ga6Zs
kr4t96U94DGWtSJ/SZahh5AYG2tzzWKpyypczQ5+1RFFDXS2kQysfiUj1R7n5hFF6RhRxcEH1YRf
FX2zPPQYrdRXqGgQUQhRCmdj5O0aZHNb3OJqDKO1muvWi40J34C4QIyI8GNBpDia93om+k9s8WDG
g+tUd2qr0UXqFaF+VR0FVzBtRRvdT6qxcU2zPS5Dfcj4mBia1OvrjKPSbkJajbyvmHeYIynY6ck8
nLS5f+X+g93YNChQssTaK1/buV2+owA0MzybFOVlLLCtU09M/qqsFc9N8QA12/SW6WXeVE3fHWb1
RPwHzHQgKIvI7vw+wQwikGlSYko1T3ipFTVKZ0InSNbwIsNq3CBBpm56pqsAoMXC/TZKc8gCaOL4
FVUxGURenLnDbkSegiMh0RgCSDib3yRev/vchNnWaRMBOg4KuaCNYVeFVaxh0TsRingSbtaEgyEW
cq+6Cm/Iba47Y/Q6aFH+TZR1E+ZY1DmeKlexPiAW0coEHtpsXxdLUR7mknYFfoLw8LAMoF6uppcF
wnrqL8lY7K28F/3GBnzYdJob7/QGi0J16rOjPYvGeI6J+MbaDS1360Wxpj8vmsxv4xJfwNoymVR2
KdcIbrmeX7e2KJEBVSffuXauNYxUR82UASpv8m8nOGVt0LKgkyBXcEhHM7Ks15PSpJ+XzpJPPVqg
TWQk2QqLb4brOTYCF6ulK3EShF37Kcv75dXOonWHT2R+0p4Z0yvu0RV2qXNZwNqvrP57jbG3iY5Y
Ia/ScJL6FWsFpcJ2Z02/5PiPld5a2bEISokmkCaBrD7NjRDbtG/dxe/g6PtZo1bPmAWqASlH1VWa
Yg6q2aAXPUaGQsynzBF7Xrw2XmWNHDWtD3LInLeJ5FZfrtjIYm6WbZ1JgXDrxibu1d00OZ9aTUvx
O8T2FBZUkTS8pnztUJ/U3TEdDApVPcvfRC3F3YxJarktZiX97nT9hI7FlVAXx84aH7E00e6FoZPl
FtRyTfAWceWUDr0/ckfTMZko8gbLpDx2i59x2SBqxDPHWod9jLZhQlwGTdnLJt0OcrxRY0+2Mvlk
pSvCgs48uZzo6xJt0TeCsNXj6DcdoiNTG0Dl41N3C15kE8o6cZydFeUYu3GBXj73bgNhHO+8utnQ
88OhLsZVYrsOo3kzD7ldbs1C5pvEVFc2t2LtnHtzzgq5nWAzH3CDkN+4m6D181I3j6xtPa1DurNg
sx5SiVnwJm0TZWsscfF9GEo8cCdYwsmaTvTKurI4Knz+Z5T85RdcUdpd1M/NJ4c1u+umeLpuJP6J
5aixyJd22o/GqCd+6mgyCY0+KTcI+/qwU/UmxEZCfYjiCVEROJKDIQxNxa8qfie+QweRfp/IHzX1
JYZElNC/kspDZr1Aufs+t/WKbCiLH92xIuu8KSzU0K2dPZZtGn1alHy5TdwVqVatuT9NvcivhgQ2
thjc4coelvWepSy0sK9JMgpy9WQuWWIxmnjcNRJBX8rEZ4a44sTXUiV6dvEtDdPZGr9lRtJfISeR
eVDT3SVAFaK9J61xuCsVpvWkOMauhkR7jTLf+IZ1SnaNXAATqbIvCgStA5MxmeXwReDyL0K1T2Gn
q9q6RbzEKoc8S0dNTfWTS2KytD9VvvN9JuruyzBXzQ5n6ZFVGKnWXcru9LZ2puVXzrIektRSA6PE
b5ajhEsSdnRf1z4J6E3NHtJu6belMT3XCsrFq16TQxipyfKjhYh+cAtTyk3vpKpXJ2b/ie6Zcz+q
c2XAuYWJiyBAcSZf1LjK0izrl5+pRZRkx86XJ8NLpOABNPpdi3qrxjRwKlGs2DiJDHU+fc0rNb+b
5yS7bezm2ZHwqW3myF2M/m/jjpn9PKxj/pCa9hgMs4u1bGR08mHWFMxtRnvkq3F+a0ObYmChx4d2
zuJnHcQC7WmZvSF5r15ip+SFabgi+HltRPvMQuEqECh6KwT+Kz2RbkJCKo4hZT7km3pw2zAa1nJb
mkXrLY4Luj/ilgaICjEa7z6/H+YhjC2ba5hl0lArMrx8YlZLj44p0GIX/W46OOGglFZwoszTz3St
J0ssa5izwQbOqS2aGtEU9r0z+7Wo+2CxWuNKX1QEfMiIgqU05cbt6iHQBtfEwW1adlUs12DttOom
w5lm362acjtZmRqmdfMtzxXpK9WINYJS5uGsJZmfD/VwUFNLfNYwSr93IrfovDlb1C/tmvR36zx1
uyiz2bs1u8Kfeakt4xihLHsQvWbsLJb5Y48mJfpaqOp0FfW5k/8Y+J6jV3JKo8SexLCBp1jAxU80
+WWqHWzz+irZIQWOjibz4QjajUcsVsubAl+72z4R3QZ9XHTHpFwg2i4YFvv5PGspjpMlgl32Bx9R
Zr3TtAH9Z464EsZzsy2mKLkeLY4uVzr925TM7I2r7Sbqvm4nR9u0mTr9mAXqBrZQTU6oEicyOgZR
WP442OW3Ouf1gI+I1wF3DOzuDH73kkMt64wxxBS8lX6RIMcJM7NRvyxahGsx9xXjOrHtocIBY6hu
9FqoqP7m6QjYYnGupxQ66Ch0mPBaZyQ4BJPYfBX9N3nntd620nTpK8I3yOFwmKMoiZIl+QSPtW0j
54yrnxdNbVHSDt8/czonMLq6umFSBNBdtWotP7e+QXeg/KSeyrhhyaeAC8z6xwpU8JySDWs/gvq8
M3X0WbSJd4Rqg0I6UaWX/y4pip7r8FyYVNuywP3/b3uU8vBDCurjTsfS2b/+r4+iUm9iUTc/EsSi
/vfvMvjj09ZIDLhsjQz9P+iKmqx62XZonBLwfiNIUI3/kKFlk8M2yEYLacrkvhEkaBZdskpcxlZU
fCy63ujVqGf5D9y6MvIStg7bFGHF/6u90ecQCaxuZG+IcE3zoY0h29NW/kNAzbWoebMC6hpHKFlu
U2jCDvU4fK/LKEZPKDJ2veUVJ891jPMQqNJiiKGB6pXeOAvfIei+t1NLmCZ/CH88eD36/LbsxMtw
PBdBqD1OS+owLN5aQWJdWjB21xQ2ay+Dlvlnnhak/TxTW/u67J9jSUlPvhRtYkQEzsIjcxNtnk8e
KpVtt0Pm1NI5pX6HauOB17tS34ozSnuaW68xP9quvdezVC+by4ir7XKW9NsPP4vby37zU9XDFIX4
sA21+AkQmoDxwoDODtXUL9tQy9OjvEWAzNSg9yrK6iQOpsQrw+2qeH21GdSLnUQH1NpvHcJ2HXHt
CGJdOVp9ohavbdW8qFULzRj0AUvNl9VH0exi9h2aUWuPvpnVK5af7pK/k/ao5zpADwpC7vpI9VZB
6xaQmtrqI78ZaJ6cMXyaeMWRsW+ejVDrNr1blysZSozvA7VF1JJrj//+LYnMxadvCZK/iUBQBsBA
4ODrtxT1eatncffaNWkD7Rj6eaxN5Gil+qU9o0Iso3YoqrSF35nRCorTo0J59BzWLnc/BlVxzvPq
wdO14Tti5dSNTfZMkvJzp3mLNoZvOn2Nxm74brAIXDVRmIH20Z1nPfpDmKmRGVZJaaOtM5S996OK
q5M6pgbMF447S2qzks7/5RN/jl5xD05CJ2CT4fzmI3NPf74HzTIJYaq3XsPBDJ+Mosvn5A36oyrX
bJJ7mO5bLxu+e7Kcz2M5Gfe+nJkR/5/8ux3kw5Y9MLoWtQ2OS7SpJURJwTZgCa9YDBOUgLqcM7lV
nZ0UctZPNsmDk5z4i0xxp3SgxDq9gYvAPwdjj9zrRG/QIFFIVazugP/6s7e38najW9b9v38HIuD8
+a8O7ABNYYuHGrW8+pfvILL1iN2h/gPaMvtoZ91U9B9Wa0fxB+oXM6M6QQ8wQvVvl+vM8KplFlPR
R7nbMs8086cfV7+7GCKUBC0VhKw0eSeXknkjmb6/KHvH+v7uqrvNxVViF7GivBfKBj9QzG+WUtu7
rOq04lXyqmgWSKGx80xZ3qZmZexYVshbCtSMXRo52LpiHWYV660mGJ5jnyoyz5HOlpm6N8oAnbew
DzJVdS3EVZt3N1vppHNvjf+t3Ek8qq9foUUplSFPSlTUVRECBXPw+Wfk1W2E2h7c4QYoQt23H/JG
zm502B2VGeW22Y0RuNF26hAt1onZTdv4r2nXu4ekG4+t5Jo/O7+5l4eweIorv+G/bmUA5Eb/WKXs
iQgbVM+Tq9c01tVVjo0Yvux1VGbgvqbHR5JKEN/EnbLxeJBvaz9DeURSjk2SVbfy9OQpExnCxbG6
Fc+hnJboy6mYvgvi6ikmZnOy3cHY+4kTAPQz+++gVCi4jJI/DGm6Fz57yG7sH/R4hBTTUx4iJ3Fe
21R7qCE4fX23fDphRxXveidv1h1/L+ozzZ+K15dExOPm7MEsvLamQmLS8vFtATP0nCpY5fWffB2/
ex4yOOzdkQrzeVp5/+0vLHIkH//CADugBQMNO1W8sO36kqPnBw3TWuBQ8eqoSz9xYy4WFNt8tMuT
YzcRoiOj/5KW9s2gZO4vdGHWnduHP6A2YB9fmLBEjOrboKZIqxMV2RG7NT8QgzIbYRdKtKFDrpV7
4OCEnCRT3Qe9HS8k/hbfB+yDTSjKapNywzOrmatFQ/BMLo2dbPWEDrN20Q+eSWWALN8jyZhZN9SE
20dZS9hyN+7G0rpvslVmLF397GaYzkTzc6ewt4M3//fnDJGSTy9hi9QLgWjF4CvkBaMoX1W8UeWC
bs4GUYzGNrXQVM8bW38Kze48a3iFH9BcZ5rM/f7edNLc28mh/+ApfvycJS4EKdH43Y0VKs0J+2xa
X46eFXj1s0Idvtvv9n6yj3/av/hHKIwIf8gZk5WWuJAIqEp0Nm3p7PVw+pha458RC1OPkAbd6lNL
mIokC+ZfPOo0uJV7BwzzmFXB3II0e1MSVriOF0NLGE/OwuM63jd69ViX7kn4f7mCbLbesSi7B7gW
uLwDBDRDJXknlmJmkZQHvZNfwoFI8/zvet8XdrVfdhspByYqrqDXVrO0Bn9YimYLIP9egpxKYZ6x
UZpl1yMIc+nTTPfeXohzX0KZJ2WPtM0jqv+Jw8uPoTcihZ40+qHtkn5PZ7kyQemevRKMayWZzs+U
jVzfub++DCq7CPaOwun2ZYe2Te2V0pkKj7dBLpSEhvc2SIuCnruf/68yPbsSakCGXOvPkGaojyUF
+ddWTUsLS/qm5dbkKVpi3ORpTH3jX2eB+Bokudt9GWdA6XP77/fAl3etTa4FnBjZQXAqKrB688uL
wk81iilTImmsmyDz77dDJ/VLyCnH713kLlHC1r9JedxvnT4elmItNfxpv/oLe5xJy9TN9G9DCHMU
JGS82xLq3Q/R6FWnXLKaWREhEQKEuvGXbgWvhz3Ad2CVegeIvoW+KLL674IPqWnIeRD2OniZLCPg
0ijA1mWIUFBhzbU2RUnC9o5dJ62E6YN90HgbQNS6ikgn2ezdY/+IOutauPQWYYV//wbVzyu2Cc5B
vsyh4oIvkCUqHNefdk2eJA8oj4UxIPHiRqzJgWBXJ7FEh/vnnEVduhN21ir1ydFKODASUy9e9VhR
5lbt+0c0EfyjOLsc9PKbF8f+5ovdkzUUHibfLKmgSxEbnoEQpCkv//1TifTz9fXCVpOcGygVXiyW
w79fXy9ogzam6yABevk7mlb4m2jz8EyGY1x4padtG7sfnm1ijnVX2I+JCTyBeDO5ZFkanknxIUlQ
4JbHifNQJwbqvt2OQnb1xigc/2wHVrhBjqOdQxLGs6pohktvMq07WzmINmWEJJ7r/5Y6MwWz5VMK
AYKB4GxXQ0XiqrQNoqZL6FrI5Cetu5DrWr4TZ1kXKXfxkLsIPelvtmvv9Uz4ZQWKBpfFnhKix1d7
6oNay9k54Ce9j4qSZSPZ8e+T3YFN7dyj2oHmUjmzKfE+dk5PWIBtrVH4yrHV5N/51LKm1tRXua32
iLZ4uoSJ4LFujeRGHgdUquJueO7JTi2hYEC/aGqaPixu0WA9XN3EYjGSM9Y9fvbftETNCQLw8e+s
mVT+IlbKxl8G/vF1h+XwBI9CW9JmBaUpG588BBQavnHOMtM4K2m4siG3uhUmFdq3BYrvyVp0lp1v
7sUAQDLGWRxs6A8vA3RDWl5+5XVe5IdWhZzZ4L1ZQyf1qKbxrFJtYP/QXhFqo4RoachtCazxe2h3
4a0bWOUdP5ESeuKL5dKYLPhUdhzeXiyW9/OyD2vqMjxIlV+ux45MoXjGiqYyNcXDWTRVZAcvvV5u
FmvRe3X+x7GdZf03NWWxj/n83Rs2SgeUHgCAtMFlfX5yqEGkVwVCP0gpD/wBcm3byoO6v/y0yR9U
J0RXLjY9zqsTMjxsgN5twoPbsTqJ3ml8WZvaokoS0tFjZ1GJYoVP4syzSAk7WkWkpc+ii+3aez0D
UctKG5WgGZDNYCl+9rqUbMkoqo9sAJKdzU/kYueNsIXOkN+2sIdyAPW7M3z/7I/MQMBrwfsvheuK
Dkzmy2+XYkUdMgdDAwE8/Xi/PHmTwZIDqzbVGaF6BKnyiSC2s/xXpTiiApL8UerQLslOXNwYrW8c
bN6ocGEXwavuHVPdU16qwl75jlnOyAOmP5EhmyVKZvwu/fBuNIzsRYcfZc5L0b61nYb6MqvOdwFq
zBC1180yIpj7kIxaSdBEuww39Uz/LfvxHaHf/KXqDXUOe41zO1rqJkLxcsY6sz+Kg5eVPdWrQ4Te
oxzv44CyeGGDterNxU/T/M+lqddX0YcX9OcXbje9uMULOooUbRvnjjJzRgMkNOTeK6VOsznJyeHW
1TmgGhaedLKDwkOYRGcayBnaQhI6itNQ0XEd7xpS6s5iZBdO1IMSpVa9G0culw387ux94dISUT+3
KqTbYVCR/ovfAoFhlaQzyBmavbDV0MOv5dx9G5CGEjsRBojhZgUXfgWg1kEe0xzLdWUN5GabiSNb
lxeyUYP1m87sNsufDGsgTTsQ22CvmlmIXFHlWd0Pgx+wvrStjV1qQEXlhhw4/PM/NWCJ7B1/ktr8
6EqZTLiCbJpVPhiNpgmRDZx+PmOXnaoyGL6h1eWu4JPMtn/jAfQWzv2OVyXUeEP8o9Qt9js+N0lD
KtGeod+gnGR/5cl+ehsrFRXu05lw6wvujYublbnySW4AwJU73UzzXQ+nNNXOqd0dxcGsk3bXkQCC
kvLPDtuIzd3b1zVSVEROom94ajTqsGPDdytHGg+Mug7gqA69P5K0NubkFzoyCS3iPyQv39pieZJG
3k+TbMYW7eBxH9q8dMX/ecj5GEY5AmwPVW3ttiPrqrwuxj3KhzfiI8HMntyiSWevchEzaXzJXcGo
tq4oGzj4aeichqhxTil4iB1kSU/CdLVTkijNuxSi/KtNnLVF8bdz5LX6lFixYs10s/1heVGxJs1O
fOD9QIDy1IC9IcVWpuTYRvetNzN7u1oJR3kyip7S4WvTbXMdJkYCoWPUait4kdjiBBCX8b4y1xK6
PuDGdbgim37TAN05i4OiBurFQzSroqmOsrWqGyM6ZF73doCU8mMzHpLoIFxgNHtuua3Wwvdqvw69
2ka4+FoEZ21rXjutxi8O1l/v0Hp9dkNg6yEEkrFNCiu7CbWk0KZg10OBgtE26ewzBEOIjeiOdxSH
8P2skINgy/r2Yo/ghrqcCTfR7CeRpc4Ls7mhZ9bRiuFZgd8fctKqcZcem829aF06hA+avvoSIQh4
gwLHOlLRUI8QTE1DxCG1WfW0yWWcHiFOVTuBtszLRDvkkbptEqm/FQdk74bbckge01xxduPUEnYD
tAIVjSRMr76F32mHbmRx+j5cnBVmdhkOZWG7UXyyhWlPMaGE0hfp18b4FlZuuklDQFuiiap6uHRT
VVqLZu54EM/zrNqL5hDmtxA9mrfApYgVnsosH78FY53ceQ5hjGm+xI/yD9N3uppugi51FiheGt/I
bYRLE6rUzXV6eG3cPRna4mR1/a+kT5YJm87nyiY5H7S8fmCusp86qQOHHMo/VEuFysjT/YMUAaBK
MjQZnVgZf6AllsxiaPPvBqNz91bc1QvRMU0pEYp6TmN3XBuoB1ymJKy6FA4GAdVFNTb+IRmj6jKl
7pN3D4b0ex6Ody48rd/irkvWpj66m9Hx43PaUuIsnpefPfTJw7OJYlw94Bm4q4M4+Kb2WrL+f/N4
v8p1jgy41pYleTs3x+7g8EN6tlrL2xIDsBeiWRjwkY06tPke8B6ks7aVU2Xwy1VsWlpXngmvAcWC
ZZPz9rC9Mnyus/AByEp2Z5Htup+mFoMpGPc/TF07aTTX2eUcqGcJnnswhZ+nnqg7kZyLXln9Lzt0
g/2ZLD25Lo/b2Whopya1qh8qj2+WZlb6zUELbZFWfFM5asmrLHHGoxGQntehn9xVDn8d1QRM00Cp
eQpSC/oLs4sftD7hLdejPJoW1Q/DzgbWMx+uR+oRvbJIMz5cjwLy7JsJkenlehlcjCsD3OFRlyJz
A3MJhfSJsSYPF56UQMkWFi+BZxgsiYASQsnUYTUUAxXTcVTOk4FvqpG5Y6rG7rZiUCC1HwY5mSf9
iqEbN/TwbVAap2+D0PzstwgbhQhDMkhGPvw5ierLlYhaXwZFFjXj4krAw/5ypcA9R5SRwD7gZCdt
6PqXQkP3RKnDn4FGLKdOq+EeeE+/6T0bTs/eKs/gKNOZVbnBT0jZ142qji/BYKOmiBD4ofENJCQl
lo3mQDQPlrbLbJQnk44CdHLfKUW/kTvZowY7rc7jNFtuBvahq/SyXutuAoislEqonefJKCcvKWJ6
a0WKgrVYwhXjUu1q5yWLrS9mqZLsvzFfvYFl8kGnQA1Syfo0yV/nHtnd/41ZTJL/T/8n5uipCxvN
rZ0Ycr1uNv7rdau20tZIJwXrvMnZPRvLf/tMYu5x+mKCKWH3yft6ST6q+Exi7to3+0XfqFtFUiNU
nHSnisDcNtpGbuTCP1iDUz0oXgflZuB+gyKw3matLF+iWBr2hCLsD3bx31SDflmQXPkGQq25+Pet
Oz5Ar3GLHmiEaCqZgZqHbdF0j40aJUs7iOzjQGneVrf5JcB2Wd9aYevM01pXnrvMfyCEpP/+c3Rh
5ykEBX73WOTdX0ZPNSizEojnckCmYwvRZ7yxs1K6NWKVjxhD2TBow1rcgX7uoBFj+i9h3UcLWILJ
jMVtQY5qiDfGoEq35EU+DJKhsl1CZg1+WI7r+6FABJQKgVt4NOt7RFnNLdRmDdmqmoL7zHIIv2Sl
thbOfzOC14K5jX1Cq1YOwgx20+AwNuCbYGArt16q+o8VfAzi3aLA5Az+V4pvCIJJN6kNtFp0pHnw
2DR18BDZg7eDhBvN9On9lvsLOZD8H18mBOt8Ev1iQkJy8U0xoo8eWjXK3q3Zw4IRkPzo255khkuM
qcu1RyDVb83qc1P0dlMv/Njhpq3UN+d6akKqocwLglbsJFoQjiHg4K7yzHM5Nt5djBaEFMrGWZiK
uktnMXKveyBzxvmfBgyWIu2KrIceBOnkO3tQ0JIi6zbLXZnMrWgbKuJePdDZO2cKeGgdelPCBj0P
Pub7GNEtHIFbv80DiEua1WXvLgczVg4J5LLIzk2nY2zLcNtryVJPWDh/6I5HdXxzQh4D2lI5VleW
frBExlXsKRLW+zeYRPo1Q30MWdfJNATHS0t0/OnVo1OEhG1V7POhju7VpIbGLhmfMy+B7FBmn5Po
OtFDVQIl1sq3wmtM4W6fzFcvzSuH5zYLfgAzlG9VXoj3PV7CDKVIuQ78Bqq3adDk1dWRfCu1trTp
m5Gn1qYoikMSj+5ebhqkuBCenBmd7e7FQXQMdixdmsKmm5FVfvCpjQyYekKM4YujNU2DkHaCeEZu
7BWl3fteP7I8z5J7S8qOMeuTp86poOpHCmAhmpGdh4vejPydmkTa078NUgOUE7pkOEb9GB77wnHn
dq74r05AdjVSm+dmLN1VY0byJmys+hGKv5NwGEodLDXqPScxUm90dw7jcfBaBdGHkYPsF/DYa8PM
qoebonC7g2kS0pu7Q3eT9H1/0ICYr4wYmmNgAzGIAdOai/ujnprq1BR3T6Iob73i3hK9PtH+S+91
bFonErIafneDStvvog7JHBotLD6l3qyLIhsfOyV+aKaU7rvDAFRq01lhzkdIdDjWDXNrIhp7Mqk0
mHc98lggrmbEP6yfhdyiYR+U5lnqWaFefdUa7SaE4TNgJBZA8L5csKDLt242FvdJ+ouy2aSch7GJ
jnYaVjsRiegzrdqEPin0S1zjr75AABNEAUIwddNmQ2xM0A+IFy4FIEvCfcRLyIoh3V5nz1cXcVYq
1rqhypo895/bHDHU6xgqNjwXN+AEO7vVbqqyngG/Ve7b6VC5GrWwCUGJqHLliw0gdEva6E5YjLY2
1how3LnwFzat6l4LudP2olUYpX2I0/wsWuKQoiACqNhwVtdB2bix/di9ExZIrt5mhRl6rrshz6fI
0M8LgQgTX1NSEwyxBomq5yn+Q/ig3FZ6AAXyhAu7eItTMUR4uxXvCmELbbfYNpO3QJEBWDbOl7CQ
aFutGsz/0Ru95ezohMFjobzUeqfedpkNOFTKnEOQFSfR0ka+IMsOnTVqNuk8bCULVqXYyxauTl1E
iYzenXDUA/mXHmnWTowQ9jb8fp22SiX7MJbZ6Tok9RV73UG8/nHaNjDWo46ac+Ko6ckbJMh8ujh9
MqryFZVf/Xe6DQNj+J3m5U/SzPa3JpSGRQlg+2RZbGDarrI2YizExu0iSPTkKTKyV5LlBmMjKEt+
+LAJrfIiq++RH6zvizLVNtBcQfc92cShmQjCZTMBGT7Z5M6u7lfCW7QpUtI2vDXfhsReLe/VuI6g
/YHtr9v7tnkw8xyGv4bPqBe2u6ypZn52k9YjWNcbpyDrvXOIGxUswzPhIpviQtVdllLRI2ZDEYbC
j3pZ9769uLznRLuc2pd3mg2If5lJ7GYuTyElSNMZouTQA5VhNRevIPGGMSb4j1rlwUp0XG3CRXTk
Wvo2QjgLl1Fvg1XsTbp2MtliLbXlHXix4NxHkIj12kTbP0V0cm6Fo1ENN76eEDW99pL01udv34qt
JvkxQyvj2NtJsdCRMJ8bhtQdDXNEOnA6A7Q5SUklfUEQpnDB5Wfxpk3Y3g06FdGxNYDSd/fS1BKm
6+Fq8wIFuiXRg3TeuGkkey9aVxfRDKesKEiqdCFFwIThOSZAB4VncGoz9LB9L19CbQZqPKH0QTiL
QzLBt9vOv/FIc8V3GtJts74qn1zkm/bi0PeBubd6H741IPbuWk+0m7x0o2Z77fb0xK1Wwag+WGkG
NXupnXQgBFvCaJPubA8MKonZFE3IrLSI5gFisK9RVstzO/TffHnPheukjd98+zK3F3GbOUsHUUAk
7RP/KM60urgzwC1vriZh/+JWNQQvDL/ghkHBQiRHOnJXlzRJog5U16WuvLykU0R3jpgXxS26vLw6
Xju6yZtSlHGDIK5M1C0IneQhkmA6gQEyPjWs2c9e6O26KSWK9ECx0Yh0LkXCNJncysnNR2ZFuIVg
t2dSLcsHgWSoc+voI2VzI3AdnS+PG6JnyQUdIZAY7x52SVHJJSNbuCblWGJ1p6H/5ZfGuBVLusti
Lk8d1n1iySeskw/oK3krTLAxSou39JzetysUguB4Qwrhj6QxuU8i69lVWhNFyVLdxVrN1sdFyKLq
CsLiqbGKPF8/jRH87l2MGhhIVmNvjEm5p4ImXA+mld7ZETcMulzNs6faT6OmeR489jMkBisKf8rm
oSyH8EVTkp4vvjXutDJ8myjQ2reJ6pTwAHHtt4nGQHpSC3AeaemlM4qC+oZ9u5rpLAQQB0EHUCtZ
lAE43pZG5z0Mvv4UEsF/VW3SCgMsYLf6aHsHq2BzEE8dGlgvlpb+d60OkpWjKwS/I+cyMlNs/xX5
57eRFGB5h96iPoq19hLtsWpX1L53qyDRPhcxhvJA6b7zRzpaKG/5lnoKHW3cyb4Ki1mu9N+kMD4L
Rx7HD23i8zAYjXoVWE61a7pSOqld8zZVgDzMX6cKdGnd9o40E3sxsWmTeetZyQSfmzZ0flgNB0pw
HkSfMBUqWAt2KsrynwZZadhtQEIdwEz+aHKLYsiRevE8JehVanX60KBxhoymoyBV4acP+lCNq9Qm
Iix64cL2jqPuvYpOcWgSb+ZF5FJEq58WVir1wDtN05uZ2yCK3XWhudM1yjrFgj9ACw3wRxEfbL8b
nqwImCG7BYmn1levBK3WgzUGw1PVHMRgMZdmSe5c7APEXASxrnOJ3UJYVebOyz1Qw2U4F7jEriUg
UMShdlmpDp+b116xrL02xaLXQB3tMlYsia9NrXXbndqVSFlzry77MW43VMMUL04qzwYnjJ9kj3Kw
LqK4FYnW4qXpoVgGjGnd+MEU3o+Hs7CL4UFZt5t2Gj4AeBXDPV+L9lE2Uhtr1dLeVNBmaEhiznQX
dV2V1/9j9bmpJIY5Q9833XNLq5fea/N/OhYdMO3xOlWrtOld1Eo7yhJTClwq72S4lXNGh2Rb+Boo
WGoCNpVMskk0i4T49NVtkqT74pZNo8RsZay9zTa5CXs6zQZKpVsa0xLj6haUI9mWsT4GaMgs+7Zx
0bPRyztZYXnquk66RO3JXSBzzs5ZtFnju+zb2+pOOAobpUkuvIwJ+58v8wjHNtL/Os/1Wl/mGaZL
Z3wjyzRrlYWVjMXeabS9gP+ITJs42Ll9sQu4kDAJzNC7/xVGJDrf7Z3OSxshPIZbTHutBbhOW4UG
l4snhMyERRJDJ9v1KtcpJ/s/zXHxSi0mcqaP8T6Hi1D32wtE0yojOsrpXtztLsGKkxHa28uTxIyr
verr/amZHh21rejzNmdnJXwlE8bMzqCgVzxJ3odKbTBVZBv1ZSiqyBaVwqVF6OrXmAfSa51SziWX
TXWbeEWzLZqmR8qxSM+oMFG1OqWDcSXK8tE1NfwGceQKTatM6hANlKMt1cXjScoif6G3VvlCavOY
ZL37y9OGTQILy/fY0fu5Ko3abdME5UYMktxIPoE78C6DjIyKC4nQdkTB4KDbxne0kPq5PA2ywqLc
SHr18Up+X5cv0yBxJb/sN0bV/P2VRlXWjxa3upGp7J2h7nzuSgDQVO1qm5A14XPXdje6DFiOJIBC
bbFxJ8xyMxab1kFZD/X24LnJMmOm+oV/jBSiEmDghFekO90hyokXial7WQtQsGab8D61U5nZfZ/F
H6Y2QqvYWP5QUTba3KhQHJyTQP2dj3l3q6NZcFsN8i/xBBt9g5r5yFa3ogkUou+gWh49c6s4k/IX
ap8v01i3cdtbpScOZBn9L2GWTDJxYmxj+zcRYLHdFSiXubG+t1AAvSLmnAlFd22KszhtL24uWpXs
1H3VXHtelt2AN9p4DUARLwDK6QwsgR1bQcVMJ7vgRABEglDduVEvf2sMkyJbuR3Xja0lT9NI4SBG
elXyNrKbRvIL9HZ8FBBxTlduldG3ZpdtBDKuZxnyhaPIIYtetZnqGactB8Le0u5tZ0E9fr+NUZI8
BlJD3XkpJytPAJLbuhyoffDTFdzM4x41OVKYrBWf9Vg+RBNc3RzgZALG8ITMVA8leR+yXInSo1uz
q3p37Sdcf1+r56iW+YO58UEA7nxSc4S9Cn0r0HmFVcmHqqufRKc4dI6HR2bp29416nt7gjFeNg55
FN/4DXsubwIGiFermbfB/tqEoC/c56pmz8TLU/SyqESUj+2FSZYqH5ubsMt5RA/6sOydrLnh+cnT
eOpFTL3+0Cz9Ml1WlJg31lqBH3ifpE19r6MzRElPJa8CL52i1xna0zCIndo6YGscakBsFOuXaIkB
48h+SW4QyRO2fnJLGGRn5IEVuCpauX2MmrKiRjJ9OyvfbaK3DPjQVz/RS0khStl/5zfwAnMbdTEU
xtKMQF4vxLbF8NEjnk15tN3U49YNtVRif9PUprsqUximosxjMc+iWzkoDSTirNapz5qaGSw42QKV
PPqFQY4clCin/jDo0IrzFUTN3zFiYk8DJqIafONGmHuBo6Q44GoSuLI/PZvJM3clZx0qUEo4M1Ld
7eXal6tGboa2bn8UV7+Y4lKTDx/af7qE8sSoMATLvDfkrRFL2pOau0cIgYN7QsHafRy6u2SKm1ZR
Ge2SiQBEePW9Uyz+ZtBojNq9SkDdloNuXyFcFx2z0Gm3jdn0x246WEPVzSMbrnLJiPqjOIQIjF3O
RFO4IHdszrswWFTleIMQeX+wSqW8E4fJJHdGdwhMr7rju0U4E1PrtN3h8jOtu57qBXhQch8aBanW
tSc5lfYBoNJ71dTyez01YfnFXOc1j7+kYDfuxOBgmjBe+DDhb98HlbXX3btlW9zzeS6DEChF53Gq
ztOk6l4cOlP9w3Q9yAAmU9oPNs9i4IxTq+jL+t6Dx2EVh1Bx/NMgpS7lDQumkxRbv4wuL14MNqsL
VnDaFgH64uW+RAr+Rc+QsUPux1p0g5W/1E75W43R0KqidLyNav3D0AH4xVZ4fRiqUBjilkp1Qyqi
moeW5K/Ej0scxG/wS4ewiR8hjO8fR1w27GF3oxqZf5npCwbyy0yXAddZrjfCl+nhL+gioh4oj5WH
66EIfVSIp4OwqW0OUiJRu5noKPiV1ZfTq49j+9qyKXpnplc5gQZSvatCbUFQFYpmHrMmXUC/AyHJ
JQ5jRAryoPjEUwxH2Eb2jsJPN6C+sOHM8nJuvD+8SZtVzotxVfk84OK+rQ+pK/FSmlJWBB66HjL6
vkzDBZD0WF63rtHu/gwWUN0S5WOCrEqo7n2FKo1FWuoJ6pO9wu9UK52nPo8pRtB0sHdePh4y0/9j
7LPyRx9Lr+JksvSTZTrxfLO4nABUO10u03teNIfMN7mpqhoOpKxwHpMBgVpo0KtfFrmZKQ/aBfm3
WPKzZ1XvINDTw+B2KuXcVOGgbK+jg9KxUSL+c3Tg3YnRcF0fjTQ+RDC9rtGbpFiHbOdvJzW7tbjj
xT2tAaXYRR3ED5EU3Y9xAasSXxF6nuU66Z16JWIzkZL9cAC73arISAsvYRZeMnINK+qTVgMqe0tp
JDK+401AbmVqD2ZiwGuL3J1uVsu4stJnKE432lAmsCQM8qzQ1PQOyGq+K/QyXL17NKNJyZpaw9fT
3Dp9254jTYJcORmiPX+Q+Gh1Xb70EaSAkmf42VS5+2uQn+O+zn/KrONnLALbsyTp8oqvJt43bRMf
O/TcL2O65hT4Q7aK5RI2v65j4e6rXXWSDBlyvckYTs1eh5jdDMJwQUgZpY9SQY2CCBbEDq7Zqdug
cKKDDNY9WkB0MQkKGBC18VxfxZnzy44NYyX5Ujgz0rr11tcqhWuPKFXQrJJ3mx1KcwnY4V5ilmHW
qvaxU8vm8pAWfy1n5KqLng5YmMuVNhoPVZPnT55RZEsYef3NpTmi2QBbjXSMQzt7itjNQ1ElP6od
y04oMc7/h7jv6nFb59b+RQTUy617GXt6y42QZBKJ6hQlqvz67+HS7PEkO2/O+wEHOBdjmFWEx5bI
tZ7S6UEespYHSGqESxrkA8Y5z0GtqkXQiuag1tz96Q29v+pauFxSRhbQkA7CW9mPORD9UaRGSrhy
O1MHFhU/5lB2IaaOir8NKGEW2zR+f2umffkQOO46Fwm7cay0fBBSgZqI5Px+LiamAW+9vsKjwC4e
fPByz8CT3g4VsEHLj6E0UVI070ONQBUH5kbjErcaectiMEsrRLIXCu6et61+EZLDDaDBFfFsoicr
8ArNKfWh0+Xr5y+If3KjDMY21CqsAFJWWQ1CnmNlz/9hkFQA/vaRuxy6Ap5QH0hIGFvWUereUc0A
bTgE6NBh3gNHP2F67t7RDpjauJSfB+M+R4PnqPzH4NIc5L4C9GGGtto2bN3A9bqncD+9UHyf6kXG
7uZkdBVn7TXHz/ug6y7doA8zbQOotC2hhPTadoZ/nRvW8BRXQC3hu9MapXUOcgU+mf6GJVEy7ewU
dtfUaiOdtMITQu2p9WMK6aTjU662VEtTNDWOmTTGAo0G6Qa3Wwye1W8I9FMgA6GTaS8Ztva7AIC6
DeF4dD32lJ/rqT+eCL/3/6iHL7D7UnzMQ/UcBhiwLnYf5ghv33hQTzd7pG2QANjQBp2KhTu1G9qR
Y+vw3krhLEMXle5MrZexFAqj1t/G9gl0NRUylVZubkNHguOpoyAUGUmVhdvkv6qQjA9Ocwfe1leD
UUJNC8Y8wOfBc7K/mmA7POPyVACPkq7NnR21Jm13Zk1f32FTYdx6VXhL6D3ZjWJnFLZcE3rPgp3P
QgELDg6OYT1jasLnwSr4X1O3QwiEh4b86amNKfs0ddzlLR6H3Mdp1A82E3MAi455uKms7v1dnOA+
7AcTW9ZeBzGCmVEdp8est9Rh5lwjDzJsQJwHHhxHipVgfbOjaBy0QaH4U9fNbg7d6dZL0TaAOqt6
2Mn54CzQS2ry5OR1kMNa9HB8RdgUXqpUOXBEchfUaeqg+WXIwD16E5+/dHmLU6EtC5ghy8R++qi3
nPwuCyCnYMNJ94Btnv2AuDXiG0H5FZkraxmpEAy6gHs3eRKLhQ3Foa+eAb/UWuHI7yWjOAV+AmNc
3dCXwy1QxxL3G6M62ILV6yJqMRPY2rUwLLCiU3OLjHy3hV8zf80ryPzoDo5g3fqyBER+AbPGhA4D
BYOWYGWdd9O7AYTY9ICpDiDmrZdgM19ArQhMNGrQSwCIC8gvYO2VUTkbkMnDFf0yBtc+tBUXj22B
MK2a+Ht9j11E35v1IxRZ1eHS/9f6MQ6BJ9WIO/XPPCPioHP/P9T/Oj9d99Kf1vPr/HRdAqF91Kcl
mOeIKW8ziTxLomR+m0YBW0ro5z1P4wjpIMvzv0/puO7lwBP4CwdLx5+sN2YilBIV7jNCcPbSVEix
jAK/9y6NrCsEapJDWaUwFa7ZcC6ZX61LF0RZ7Mhwuxqz5kubqVuz8iFs540LliaYO3KTc51X2ddc
VPaCVbX1AOhUtFKNnV1Pk5Xu5FT0h3QKsD3T60WQNb9N/rreAChTcO7sNyPsfqSd8ef1usiGH6wY
sTKIPw3nzkvqT+vtGWvWCppJe71oL9X21631vugyjsFjsP616MyW/1o0/JLeP+Qucf4PP2T+sV5h
B+Z//pBpvUUKvtH//CEjbYO826jcJ4iX7M244l+AWAyXJu4l17HryH3v1dG2CArrVuXQgoxwA/3W
wvgIwpjGjzIvvuWdWT3FCaTbQKW3r8JS+EerM2O4Syv+iIAVvK4qe/ph5fdIxBdvcTNBSrmznLu2
tKutgxPvIUSI9qykLxG0cJwXK2NnGhPbnxflxNl03bIYsO56iLat8M15USlShd9GHzsgfaEGOIrL
ovp0eF+Uoxfl1mNxX8aA/Q4gH5YwU/kR3eZVUP7se1hdWbXyHlkY1eu6UM3J9zLnwFsXSm8hOESQ
SoiXk/DLb9yV64zL6idz7OuGdxlOyTVbGj4LrzN8WLuE+eFuNN3p2oZE6arIgVwus+n9UhwSCDB0
+Jb2CmKiCp/FEPFgk0FVFccwGCvUQa/gVJ10j5/XCTelal6nKfm/1ol4JvRCM/W+ziwFtmmwGxiC
+tVPIAx/X2dpd9YOjvPhbgrEeBKGWLuidRYpBI+eonHi+84Yi5Xwne6paAG2LiyDb6gVtExzhcOa
3FFrmqt0if9+eqRWrxM/oS9QnakRwil76Bz4t1JPZBXY8Jr+Y5gN4d1oQ59HX40bTXEt2uiFRggc
8o4wq/zLUnLR8Q1NSEvhMpaIo+XqyUqQyKOlUKteihuCCEONeilJCRm8MInE1psAE60hHLWADAT/
Mpb4Xtb2OJ37qc5uZdb/hKMq/1JAtWVp1FhSFVnNw5SDM6j74/TTrGMLapKmxYLnBCqh1D/L0myr
VN5uqZsnv8VtrV5cI8j3vAGXgHr13DrIPA8e3ATyAmE5wc1MXw0/h2+NFY23wCvmZ0DxggVNE0aW
DeVCOH2BcQevLqyOVs06P1i64EFeVkfz0Ooglvq+uggemTRPmgXplkEnbxul+zBy+T03uVxaadK8
TLn1NiAx/YbtHvg7UF9YRDBAK/oG/8+ofrAnN/8CCjKshqLKehiqwF6lCA5d87gWgNZlztGqJKzv
Jlnv3MKCh3sYqDVdxY4RAaWrdN30Jpq8pqtkjjdArxanLx86jD9rp5yvUoABu5BK+SfLrN4is2qW
EJO1Xu1iuoW2IG5aMj9YERYmvfqrDY7ZMwOwF/KrpnNjZW27dXPJDqF+6EQm7zeIfdR3NM+g5xnz
4bYc3L/Poxj+iU6KSOJlHmRm6ru8AbWB5tHr4X9Zj+PF7o3wIjmvx+BFMa/nD/NAazOABjGw7gou
tHC215yQ5N/vho/Wv/frFf9fmOW/vdp/20+vyk1G3Gv/tPr/eRbsPpG6GnEiTW4GKDW/qT4sl5Xn
NPCS8/19jq/Bpplc/6GP3Tds9QGiS9ReNDV/9bRCER4b9tXQQ7BoBHplNbaNes09oLx1V5xW4AFo
GOpBum2+bZg97UGltG54BFQgdeF3f79sWVtvcZjI/3jZpJtcMOaZ2PeRYsjJQCjGS79OhfTXBdS8
97G03McGm0mqN02tLD24wXHMMnkXBO13kdrYuRRFvMQhxTi3Na+uAc1zF4OBfRjcNnHM9CI8seuy
u4KiHoMbNRqK1D45Vs8fEQ6MwAeue5jl4spOBrI52MovfQa+iWfYYuuaw/CKldE4Whnzxm7vV6n3
2JcWvqaYzwNZ7tPKyrH/Pul6WQi4n6WTcc6YfF8ZXYhWpqSwb5GlTNdCcAZxcwPGZbxgrzHEpRdl
ChK/HAL7OosAomWFwV4dPnawVnQcgDbd9r5Lk1uqr0ekJosO/3QcrweAeiAr2PD4SxzgDsyE32yp
m90LCHHH8YvPrHEfJfCUpfpo8M/4uflQrek74O3UtExKXO6yDh950XkdNC8zQJsYGu7O62hTdkMT
iRrZV1oH2CT9c8CTJdUHwbIVLqRNILMAXrjO0/bYNk9OM55GDk1cl50oE2uWRQKOBISpKMcKlAyE
MVrgqXOdzQU18girq+DOBo39NnPbRxoUKYGNWRxZ6zkx++vUlnmiK8Y+oE2/Tc0HvpO5XwFTCvkv
0gCj0ym9y+L8kblhur/UX7qxsnxsrPa98VJPw3Ujh7H7HuAvuVMmJIPnQAH86SElpm6oBFrap5Lz
T4liCB+lX8dR9OGjjSIVH6WPcSnSITcNwNWaygHBu/kifxhqVuWnBXz0/Nvi6JL/f+PKHBmmOvTE
jgV4wJt9wFYwwcy+TRyRuEp9A5MbQQE/Co8dj4qbUcBXkxpY0Z36wRZPSWtZ2y7JIGk7KedxUukN
dbAsaUCtebRuaGrHh+hmYqf5fze1Uw4KaixaH9COU7C3p8TZxhaPn/MRtNchntqroTXZk8rYHrtA
cWdzZWqL2iWnXoXbnIO44BpbFz8HXV7tIS9cg2iEOaIOhy6aklp7P4Ddhp6SWvWUYxLUd36O/YOe
kq7kWz/fIZRWFS8ImyeqBhakVuycYitHUhI69EuC3k1NdWXWVvVUqDbb8ZjJrTDF9Dywbksd8kB9
HglhR/yqNKovtkDGnGIA8zO72s+EHWaY2GWk1YHYOaE0+h2QYMOSWvth7O/s7oXa/tTfM2S/s0S7
UhP2lIaduoC+28H8Ds4P7++gNYgAQeY4t/Tu7/2o9TKW5utjMe6QK4gQIYKMHgN+dqmGpjC2+MvX
kMaCkrP+KUsbwVO3taLlzAGycEdJ6nzcXsLUg64D7HjczhDrS5mG2GmDf1jt+ltoI8MUAFy5peU2
4XUDAto1vXOgmAgMc5vsLw2QgGXIvxTL+qMbDaBJ8sKVvze43HmfhEYEUX43NgCGtytTh2yQuGRA
bE3NwYBo3qP04gNFQMaSx2uq55DM3c2yAnOWCf58+F7rnPbgi1I7G0BJCfIoVEXvPuo1Bvr9anWe
eJCaQk6XErhI34BtBfOALRV9rjXmQwCB3jUTppAtYbFRrfsWPdedfAobx9xUU/4zYiNceUUrACo1
Ars61Y51D+NttSvLCHV5bUIHL+0HpGNxisupcsJO/ES96R29gBB630IFaGdaHThh9i4CaBf85Xzq
FiwozCsqs3EyrgYeQv8ZRj9zA9VRK70EehwUL9q9RgorxwyXLI/aLYGHvai2rmNTbWZROCPscchp
8m7raRk5yL1a13nhLTN/P7LwaDdmvW+hwdMjHD/Fp/ltnwmAPA12jIq23gM3FJ+olV6Q1oXRiA3u
uEp5dsfSbqMcZT36vZvdOQCHC60CSW0fpcwDLeyj58c4YESAnVW4b5iI9naWKF6AUs82YT9Vh9EL
q1uXhUCTanmOjx517acbldlwk4bS76IvzB7BhnYsls4Qw5qEypEMDCjE2+nSjoBERuTbekxlNZ2o
aGpwIxWLLPppKe+9UZcubZeRUFT5Pqvs+uIbfQhNMPKrrgLE7eOjK/Xnd/mYENTmV7J6uHx6tgNX
5TC3nGPrOUjgsdzezQyKytxCiEM8qGgwzmzA9ogYF5WFcEWPAN6O+Bg1utmlPrN2pVi5ERLYwuw/
v1zqdLKoWUDonh9KUGX/1K8d3TJZUYuv5+pCXx0S21+wCYIlidYCwd28BqWwOVCp0BHWSEt/CKUY
3CW8YntpcMyouqq79kA9AkN2SBfGzubyicRGdAPk/bQzqhDh7EvD5SO6dIFNDSwl8nAzDPiOVJpR
PMTZD0CHrNuUdeUJjjl/rP+1/2SX7/3FOLkLFpoFeN+eEbJrujm0VQbYuzm1K7ovRMK2z/0YPjga
R0lCdvQimpEtO6Gq9aWuFY28Drv2cwPVUZdLA7wag33BYBiQDGlwAjI6WqZxWnyHCAYLKhOwtKhe
+chqn37rgM2xcFm6lH5lHHLNj4qz6ipoJYJommAlRj/DM9msNoEmZjUOGGaemb7kQQAF7wbyB20M
riyNdEWSr6ET8OjU2QgNAdE8ICyTwvak894QF1tGpTN+7XjtLjnOOBCfsouD6dTB5tI31khLRIyX
iAWom47DkKZsp2Q/QkkaNkr4FVHRYgkIMvoXR8UpQ9jxUqTWS+e/j+3i/rqqvR2Lm4e0dZAbbyAQ
1OBXiLA4X6ZhE93GjTtsudcBjFf76pw3cgTWwUXcAINIDPUyKIPVQl/B4IgGITe8ev9ZZ5G/n8WU
e2/YxXIyTwyyBcnyo1j3Y3Pr6syrrkLOxjx5NlRRcsG3AZRy7gCBgN5n0Dj4bjbuUwlP0Fmxlo3e
CsRl43UqG1gChGlxhJdGenPpkUzeytA9gGVdzyvCtg8OzBojbSPC00U6llZk7CotEbGn20Hn9HLl
VR0/0M0iCN67jRHsgSBwuW69wl9OzJNfEwlYkP5H957BFyEEvx6SFAF7W5QCLH+Q1fBbfu+LwNqn
vgy7rEPa5aWIof2kdsiuI6cf5MUAk5TcWc5ACU+X6yZ2YHHFzbUw3WDltCq5N8bo0dSK4SCJgdEa
V3ATAhLzvq2DR6k19qA/ES1ZN7zXj+h/qf+1f67Fxn7rf5nHjOD/kZY7CEs6AJda4QbEFX4FHa/u
AC2aEsortXdO27JYtzVYSoLhFobzL3s1R/feT3v3Z9Df5swvk0VXdfta2eM3gxlikXJVPbUGK1Y0
N+/CcIPQWjrPjWRriS0cc5HBb4t1o+cOWcPAefHYK3d8gJS9ducEvr8OoAYNzejB2xHuxBlz6FmX
/UPM+v4cGb3UDj/jSymscu1NCbppbUXdbcA3+4HrbqVo5YLALdQt7PHroFED7saXbjQbdbNNUa6n
xs1WCDxq85FB3EqWCiCKjOFrBsF4Ap103LkBZ9Z4iaWsV9EwJtcpEk578KCird8V4rasq/dB2AHM
g6wkuAFmOd803PfWtdY8KkYoHXVaDIlPnndEYoFqqI2qoV40SLB5LHDdLiOosywh74852tYDFiqB
xYZb52Aox+K6IEC/0KZiNSRz5qKPViqWYFjeSs0D0AMGWN9ArqHacA4dJ/yEnBWdFqnogESyomMf
FU0r/FykVjowUis4lM4qmeDw0rAIUHYtvJT25rcGYctd4oVAXemiJ5DeTcbCR5w/g3CQToUbDsf2
CSHFmYowZBL4wDbHJugfJgJVKVXeUVKcCYjXWYWHUIxdPOaOkd71HUxsYLsF+5aBi1fWQXUNtggh
csypeg5aCJDp+hanOCCRIrj76OLH8JbL9+FM9WCUQORhxTnU35EZYCs2ZmzhujY87cvicNkox0Er
TpOVHWakI/UQBbznNQySAJFUpXvQIHpx7KShQVTq8JAFLri0TzWzrr0i8e7aKkyvywE6g46h2AsA
KQ7+wYO9T+Ga9WKrm7Du3GfssKtjx2x/Sb16KE0t0hxLLCWDqGjLNlSPJA4MzcCg29DoYUqe00Ii
7JsW9U1oFD+peqxhugNyVAAeHC7pTAAsj7l8gi9KdWX0wCY6rtEesSfzln7Gy+Xg296Vi0DUgyPU
DoFg8RrJONtyN4q3MaCGr4GV782KjQ8mfphXwNnkS6qn4dGY+PNwkNVxtzHcjQMuVH5mBigQsAfT
xguVYk90ZME2xD+oyHkXOqWzjDTMu8qSb3FWy5vKgL48vRssePzQu0m/S5KouaF3l37QSm2XNWj0
7Z6ZCJZFLKvORdF+S/DB7OCqALV3/TLXTy7eRbBCCI0tdn7VERAr76YGenJh5mr6moUZVEHrKL6L
gFU5llMLQq9u6BREChoL9wiAZ7aGiBMcqsvq2XeLLXXA4yRbIQimrgo9JbQFPk8Zp9l0LkMLzxNW
bmxP2nd+GRdLZZbVl8oGdhu07Bgo+OcSJOgfU6PeArD3n0NoE644Ulk3mQzMrQCV8hA0zXBF88CW
0r7jPMjneRKoHXbu0K+awWXbiKQNYf8A3V0LUUMtiEh1pa3UDjEMnLx0HSO5Q6u8qrhpX4dUgk9Z
vMSZu9ka2WBeAeSN2GfYfiV4PL1wB9QKgIeLAxWZl4OrJpqvhKmnKs8H4OG3Hr/O4ddSLSKQwffY
SCJj6jxXsQDSgYXBqfWt8dncEVR4kpDQtyBuCCaphhvb9rTxwAvZ/DbGNuESFca1tcy8RKxz6KTo
pfNzEvF8BUb39HVEKjBOivRtdCDyp6zUvh14BYfvylFbM0uqB3ghgdKnu/QsxwbBnV7KyK9/n82s
VfeMSBDkQneeX/D7uGbOvW0mDRzVlL9zIOZ5L9Lc31s2rKDg2+je0wv6pz4kyqmQNTDP2ktA8rwv
WeBBpawUkFsiAWCi59rD9F4ZqkLBqDFLd6QrG8GWzXYCe3aZsRIwJnTJAenjugA62hgkaMeR7W+s
QHY4/9smADSQ3drQZq7XkDkTtI+lUQl/Q3s7q1ziA0TSE1l2HYsb4nMfiO+0XzVsP4bam/gObQzr
0dKlX9v0MTHOFPQfO/MxAHXpCETmsKINzeTXZ9EZ3UMJizDYXgHdnbTJ4zBN/EjPb7jS524DxmvD
g6MnzXY5P9aTFo6IulcpI/iZOZHnfQE5b9HLLLyGuloKGRxN5AVkPojr4BUiqXLtMdEcU6FCIHVj
KBxrIu9/18Oa6vRGTFWzcjOFx/kUpytfWAr3SBSpjl6cnOMB/vvbS/fWMv1jh3PNFEwLJmLnOKsk
62I5luOqGjWpiy+Meiq/2CocIArSlls66bk/zdhprkMZ5RtyjAjcpYAs9GNWyu8VnAUgKyR9sGM1
i8No4b86gmqxpiK9jFZ2MkfbOBH3Q8XA9wPm+EBtVEWDGq+y1kZWPY3GgMS+RsqCISOvVdy2KyNn
zoqKbTNYWxOGn8sc7Msrojv4XrhsXN88EO+BqBr0rowgqLegflQeWYA9svwZu0N5XVXA7U4jvBjo
3fDxLoYw1Vx3eVdBqeZzXZx/UVFtHnzgoOUIfgvd1mMVNzay3u910COBZ87lhs9dNXem239fuzk0
z+A6NusVVI2yQHQXQKmNLWwPUmS45nLe+8A/U9kVXbCoysQ5TjbgDlquG5y88DwEaiYPUVUu/BG/
nDDaYgeGHoURneOugzol+tNL4LNx6TETPbQg+Mcc1EhVlzmojnroOdTsRfNxhcnwf5QwcNxl0Qjh
naR+f1FNDW5MzoMlNTR+IrvVpTnzl/UwBVe/jaIOVMdgd7eqUqtYtLy54zJT9+nQq3to9u6mWAzX
VEpD0wf4qpZr6oFzZwtrjX4uUQ9AFOF3lUCfeS6KWh4cMNQhnsHCetn/Mx2Nz/x0lTIbkrluKR+n
sERQA459j/GQvr8bdN2kWysh2+V/7Pf31v9ilriPYSbIp/7QwfilByMkT6tsXw6lWBPLw/A97DaT
9nZwYud6dHgBKR5wRCCxqlZVVMqDb/b1SzJeUfVltD/ChKexCwgju+bC62ykaNPafpaIGLmx89SX
7nD2lZsvoGZgP5eOhFVilBUb6oVt4Psgu3e8AxwRWYskp3CW2F6ZzwmshLUPjwud1ENjsnA5aml1
Y8IZx56gEi4ax3i2hgPsjxG/sYb6YKbduMbTKTm2SV7fOAk0lPjgFt95LtYTNlOv1ANQH7mxbOPa
06HTEbq8yOlm+WxOQXV2ubO5K+5IygFIzWBt9OO6mrgPiMcAioeRmvIsK3dNO2PaRFv/VM0MOCoC
7LpGrvHcONicqiHu2EJmeCBAw/M8F70QAk5BOiR7FzY+N27Z+DeVbTqrDpCLddFbKOoXq3fVLobA
DtAdKFI/gLChKgxkYR4yW8Muw3lm6gGTkuHY2fJxlPJmmDp4BWl9dwFJSXiq9d661/rw0FL3T6HI
Zt136uG3Yu5P8vAWY+Miy0CKGHNWaJkEhA+b3lgxZ2ArKlKDhKfCNVSDqIZeKsj07CGY/nhR+ag9
DwFCKscSQdM2K/vNJ6pc4xnPXhUPBuh1QHjBW7NxIfXduFvym7O6+HPx0kq7BgCG3lsH36kODI6J
4bgt8fFf12355gbSuxX5AI5zgt2Gxc06ewngUL0A6ypdxFOTf6k/3gWDQp0HVOSANO2J3xLhwzD7
ZJWWk3UKzag5cc8rQAPyo2//ajdsozk1AYILf26HSNMzFOCRmEsS6I4bFcTG8N+xcJpbpkHR7OZ/
hWm0YDSV04KK9PIxIOz7fjdWibdK4mBZ1DJFNCar1/AgVEeG7/61U+EkQwv/6OHBSLuMcPTKu2bm
Lgltw0GMJaDDklWOPM16pjZ1cP8+f/QzPJaBF5eby/lZSI/BzhfhwcqqJZXoZaYy0sNUIjO6wE/o
p+vX7Q10YmqAgBAcsjiMUWBFJM/UAIJztaAoUAnZnrmhQur+JrM9eG75MnyCRiPUH433xh75h0/T
/TYKaEiogfzhOpcF0IjEDN8XQNehBaTOdNDc4mwzIRn/PBhqRLIoiOD/PHTdSSENySrzNQwMH4pQ
GZS7tO0cc/5YbfX7JPKM1xpYyTVsVEI7WfAS+ySBH/0uqnCEZTXoIdLsOf5NIn4Lg00fFd5bbJfm
whlkexfClnvuWvIB4vDG8GXMqmAdlF55xQeoY9qhE2/MWJgPOD9UCzUEzg9oDGnCUQ96ysLNneih
12OUnVZXbZYkV52Vp2ubPci4Cgyw02S0mSAZBGh9z04c/2lwsPHu8pJ3sDSu7BOc0JC3yRH+w24v
zZA4M8Jx88dhcoJ0eAVjeZpvHFu2dnKYlJKuEr2Q9BL0NLBd7JoYMsn1MMsxUSvrp2A7sfCVvkpx
601X5oK+YVRRIp2GDdkHRZVaqJdc9Fy6qxqnj1hv/bh+wTH/UYqU7WFiBi31IIitBVTNoCWSW+OV
KAykR0QITn3UB+tJmti1+sp+9lPEwo1U8mtzctKn2v5hecJ5vgzK46i8yYoU6hURTP0gnntHp6OG
V8YyafJmR2ehOhrbw9iC9+VMPWL4H527UaV705XGKgqfgtZt3pjd4pYErYX7LMNZEDbBxZFPRXaK
jRYPMWtMnxAb/kEBcCudxyjfwBiJkGhcmy5ESYth5CtEjWaLryoHGgdUumc3cvwdRBf4/L1tovf6
CNjBXf1Rr/sjDuM/27r/r/WXeajeasAw5A6/Nd3QQeQlFVD/TaEwUpbuXKR789hDB5FaqXhpnTv/
t2MjhZl/6/xRbHWrwlbRDVwBleiQb2mfZkIO+jT4/h1YUe87P+j1/6jCnl/NHUK/hKedNS6pOG8Q
/RNkRIZ5tzipvAHxIEu31EYTJml8TyWvlwBjRTbw/V1nLMzUSt/a6XuSudEPGNx9B+FYPPUVIsRd
ntcncPOTYwS1mg1PRHP/yxj60eoxcCoWsEbHGJer+oSISXLEIcHe4N4m7s2P6xh8Zhb+eh27hvtL
0rvAZmtKPcQxxFWTOo+XY5QAdXUVSOF9OlrFgh2VZ/rz0erXQTTPOHrBypywc7hMlDLI1utBVPXX
QX6afAXUXJ4N07a3kwd6JGLx7pOJr/nK9GIAMyrhPnkB9hv2pKYrKqaRuCpbb7ytWZs9dfWGxpQq
6W7SQt1RH1t5xnGSiHtSI83PmQC14Nf5OXgTEJ2lg3bYWsu4SZpNjHTGQxKn3QIua+ytiPf0X8hx
30VCxRiBh8eektvSvop4OR5pUMJhgUODAJ8tN1Zh5++Mf2xp/S1roufLpifU4mezPEDXq+4AI8kb
gGyt0C1+eA0iaVUSFA84FlabJhmsY5Xk05WXh8baTZL2sc3x36Qc2T+DTGuSi7iK0wfzCEgxW9JD
KJhwkAj67B4KtlwDnt/r86B7BCr+vZ76k++f7l8CgniI8WOgvSDEms4WyHRn2vhB6qyBcBuisdQ4
xKk69a75SI1U5ZnZmfkOMtuiKBYsT9jShiARjNyyhz+5AX40JlaYIUoCk7akhHqG8uS9V+awg42i
7gqP+/hYlkO+9cpuvLVtG7atkXBes3y47kUc/TQ8c2HioPamhqxeTCM+pA704HWayuRc1KGxRwBN
7LqCu9fIa0EW0q7G59T1v3R6+MMg++DnlDZfi8JRzzzl9Yr50LubogxBVXua9lNXp2drCtI1REXU
YwDwJAxArO6txX2W1iCx24VbhvmKsE+/5GXdQ/kMlkrAsbKDG3T9VVPl6Qbieerej+Ga7JopDGuS
dps0ffizia1tlHnsK0LwPr7uRXvve1E6fwIgHydHZGY+fwIicedPgIYrsEPpEwgE9lSm/gQYMkFr
LqzkDGyTuZ9CS+z6XL7WZm9deWCbImYO9tt8Ngn+VLbb0FsFXlIhfTbVD/HwAPGjHLvgT28AdCzS
ReUgYa3foCnOsu62pIORBOZx0yd8E5DCbWd5ywq/j1ONxOQ1qBw4HGgBW233C7kY59Gvp3YX1ma2
hSAdNHAwkjogt4eRskuPUwcyXqmmx6l8AXCSPcXumF673PtGpZZ1/l7hf7qkYh6l3joIeKlBloDD
1QEUlKH6fKRinTinKvS7W5qwMl9cu2eA7CGBoSd0QFC5Tr02sNdyAiUEzgi7OISCnWFwa19KMwch
KvQOfZ7xvdnBryFy0mRX4Wl+kgbE0R05WGe4hucbOeQZLHu6Zp2q1rg1hZqguVAU93DCW1dZ9L2t
pxipUrzIuj6KrhnObBTt0mtG/OQy0zt6XeQde7D8khUg0Nhdju4u0HXUgEdVuwhC0zxGDo72XeAE
ey8o/AdvquESDOKX9Pf4CXnHbECuDiYQwDl5gh9NfJQGDljX/aTMR0z/bLbSBkmYmzDzsl59VXUg
U6AtidjXFkmCHmGTXeOn+CjHtMJ3rRLFPmtKdpO2HXxRumwLGZ9iV0nzkIKVdDRBG1j4HrhJYePB
WiZiPyab/7SbbIB9pQrPOBQY9gKoY9zLHWQeE6d0b5J6QJpSmgWwN+qEzFK04aMLOBIS9ofKTT6/
TKP4V3HQdTHjRoH7wcfbeWBWIG11mSOLsP2DqC7ALiO8Ukr/JugQKmg9GOdG3qvTOC+W6tgttznw
eRzbKUhSe6/YrgP8OLnjqa+RmOji+KFreu8VXofQYg9afBHhgPwcQ7yY+kNe1dhmoQPaou5WSrXu
VVI9DRBBOSSJgnhxhUCgl4/fi3go14i3xKsL9I0kLhCOfm+Ayg2oTW26AcIGcFScEG/oZcxKQHc6
/yuMr4P9pV6M8v9x9l3LkevKsl/ECIIGJF/Z3qnlpdELQxoDek/QfP1JFLW6Z7Rm73vPeWEQhQK6
Z9QEgaqszHx39YU6NzQGAKRekAtwHO9yQHzf6wpQ/Xxxvs6iJia/IevXnZONoL8W3obX0/htjA90
xgpxwgfrBcxdJl5BdV2fG4uXIE4wpyNw7UH5CgIv07dBDLkH41m9ioCNWRGkrcNO4B6FoBRyoQs5
TFrHVlC783NmIRsfs3TRA/K5AuUoTutEq3S9qNgnSlLLYiUd7yTGmu1dIjrLpkZuAgvypj2pJH1t
4/8RT2wBXCb46ikPAOkCJA9DsD8xhSPDzxdQStWkXhBqNbMzYV4YL48jCTem0t1HVdi+OM6IIqgp
++62PXieQah6B4S1vTOAcF1fPLSyNxYoh+13pLjq8g8dtbRQGkM1fJewfK1zoEZCS0dkStnCBprH
kW802QLlufWBQtcgesUppkz6A9k6rR+WOKvITe5bvOvfWta0G62D8lYvoDP+wpXR4lO7Marm0wiu
zUF8ulYT/7R++zI+sHT7CKo9yIpWp0BP81egtNp9FPMOGjN6+a0HYag/5RzValnZ3XkZgmwqX10n
brXyeBzvJtXE6BwZgXk04zpGYzsM3T6J+jKDg+snU2QG3G7u6VI5JUg02wb6Hhebbt3nmVbedYok
88sgCwdM0HQJlElFiXWT9fkCRT/OEclJ64ZMeDWbN1No4EEM9X4B/APQ02Qkn7QoFgagDcA3pObS
1i3ICwLi5Nv4Q+7oxylMszxxtwcpDnJcZLp6pHne+3GCnSjqEJNl2AT9qWsK8AinabIkQhG6iAyp
1KLAuul0clrXlTaBLCACFScSsww6p9BOZuqC8wvoRyCctu4BTKkDxo8geAABzdQD8lFMIJtVUD4C
70EaMVkPGmRIE1L5kt4EBqzIhcpgANb8PmvXXu00u4bh7zzbjLboEQX6o5uXXnCIoIe36JwAaCHC
BFl5NqC+3+1PliVvJ9uIdlyZyN602rjSKbH2GeDou0xfyhaQT/yGp/pIl5wnzaEyXrA5q4/AJIK1
hm4Rwa1QhwFO46qWzEedOTvp2LE8cd4sKU0W2lLukFNEPFQRv1zdZIRjgxlUDt7XQ/nGTQv5mSvQ
dgTuVglH5AtLovQI52DgcAlu67W2hdr+iSMaM1hmtgbcOl9woRXrQWpgWb22wegDebXAaz/7KZNU
JdarLri1D4fePdZae6SkY6eSjjg/ukecVI4d48CYCTubm5SRJDcapDxmUNplDhpObvgKOtS3G8Vm
blqLUurh/O0NWUm+/g0yrLrtOkC3ghYXFoqIMqhMr51Ma/eGFqyu+EsC/hIw82pze9DXtLGYkZy8
QSZiSb3k7KlJdEzyZZQT5N+sgbXbCswCN0g0QQ02ccGhixZkFFBCqu4gJ1jcRNYqDUzzlv7hEbZd
q1xrzSU1PRMn6rIanA9wTYn91ICyJnGjbVHg8IPHI3Y2g1k0x/E0p768Qn9syjHdzc0Z9cBjczsC
82JpIRTTZRL6889/xrj29keQxHw327CKlLsOXB8opcBjkygxRS+IrTU9QMA4f+QWh2y46qQLTUoD
NDnhLUlG8NR89Eofr+7By3mjNS0HkrsYEA23IxyO9UTf/LUNxHK8ZNqER1xPxqNlaRJnQhBq08lO
gNW4dH8GNTbfSR1ajzLMoLuqIcnRaCKD7OrkrXD2cFB8ijEU+wH4uUmGhYVyTlBTAuvgQfsc+pPZ
bag0Iq+QCB2lwlzG4kgACRAjwBVyEqCMktDSICCFuowdlADVcIknDYlsMcZIziaROEiQYKM+AQHl
HtionQPdp02UNsFD1nVKdMngP1oeLTLUFH9kPNZnX30AfYkzMJBrOyCoihIodxCDi62o34ntpcKr
Y+4QjEEkGcmN2sX5CXzp4yN4vE50sOV9Pi0hbKHt20H+6GtTQggc5D60dtGSNY5VcKBmB6UNGdQZ
gNVYyq72v/lebYZjWuuYBR82+F2MvsoPV9j+bzD++Vb5lOOUHwitb0goW7qjJlfmMCQ3gY2tD+W6
QkCj1mNkgrxNpb4gQjb4dt12J47X04uN3D0y4i9fBlXec5raoAKdyq2Yeu33l/3F9hsd1MUWqxjn
NdEda9Vv48meoKjW//yr6uB50EWgvzneQwjY5ge2b9YSAPDpAIRrdoeqJyD5WnSYQ/JeDW73YNYu
tovQXFgBh8ve9OGB+jurKpZFK5/a2AL4xOvYwUwsdqC76+U/2npk6is/gmoWVKZ1C+Qlfwxu7KDf
Zyb3CQctcJpapV6IZUVhpgfkok/RkN9Tiy6GHd1lUJeZYdRf/C1RBZBhye8JY/1f/enjaH7lP7VW
BNIU42BJJRwL+M3G1N0SZVbgBIIkFegVUJRQKi21aNSfLQQKXowMxWJeE6Y3jpOU+8krUEWiBulh
EPgW0R8YbEFy9GqQ2QP6N5jGvwZlLhhyaBB9Uv/PINsrHwPIQQjbQYZUdIu6jZt7LEsZWN0r7zig
cnZn9brcdlNq3fAUlZcIAo6PZdkZQFGy7p2P4bGoPQ79OuMu5FXzSy85eK3/mdHIZHOfRGBUZ9bk
Hdu4bpdm5EEdDcJITgc+2x5yhSiWRLPpk+yQ9wYyPEWJAHcl3UWoTcUdOXNAHpejcs4YNFvHrLbx
Z8e7o97wgh9aoywenEEbz42Lra5Q6NjedDkCeDLcgmcbL/7RO2ARzGe3GIdZv1Ubgr+40WyJpY84
zsONhotym4xBgFd+GJenivSXRqH5lezaswEOUjCWohnndnu2dVlDd6CrbyvrV/vs4bX7qypQIlx7
9nMHFvSlW3beTda60S7WUxs4LrM86xpvl7FVlMgZ6O/QzoRQ2GOi8+5XYDi/jQ2b9iiq1DnVQG8B
/AL+vKBs3mVosJ9C4KBKf5CxwLFBy+MP0ygGvw3d5EnUOseGB5humbrJliN4iYiEIY+hlsu1a4Gv
4c8pQQzAfk6Kqz+D4pgJFr0NjyR2SV1r6Ue6NOqutYNFioPuXrOcETQbUcTmXpT0L42pwk9YSsg1
Lodce8ul2I1BvLKCEZhsyeznRDjQWy614ohDmP3savkNNvrZHRRGh+foyVM+Is35bZUUtzQizhj0
LEFg69OICkpXmx4I/hX1shjklahWLLbUy4zA8EubAbmgZjJTxCjFAEyhZ0Drp2JnD8crKBoM0Ufl
abfQoM+e+iy0Uc5a8LWr2car1fVLcpA5C5dDY3nHVI2MwD3k65EefoCR/S7sJNgYGy/eh5VtfRku
7Sj60GItXAZT99fh9MHXkV2usWcVTAL2/8/XsYcKJh9p6Gg7wxGrYbI2+QhZBhfV3wGIWZ3qNv+g
F3OSGEXg0whp9+vGaLzVdYdipxlgtfY071eu9t6IRh+xVLGlkp1Yx959gnhIXobtHtyD32hvQF+L
PsVwoo1dhzjeXTYD+VhESwCEoPV3gVbqkwWtBIQ8yY3sxgSmVZB7BuDqMhZcL3HwCh3tNq8zcQem
09fCEc6+VC2yd44ZLgbujhtq0iVusA1xo0lbXm2JJfUNqh/EgmaijjzSXCCXEAi8fAIonPgNSgoX
ZKKPIX8GuTeW6H/9MtcPKT3n88vgCPv2eSKQvDRwmocEMUB70Bum2+tlUkrDAWpuNokePDPVok6y
X92uNo/Jnx3vbUBUA37qrFte4T/JVZfUCcz5gsVKW4TIRy/J1pmBhgJBNSCTd2RqqjxdlihR3kjT
jHZ4P4er2PPG18hDhV+YZOmNBT5MiHG4s/3qlnmo2Ir0nu+h8y3XvAuznSna4TGzh0eK1GpBAe31
0cpunS7qjkgQ4+ynIrUiSlHF37TfaKSlRgY9RoXJuUj7O7y8sMjZgAjE8qcb6bEPtT7tCXkRbelZ
Lc6xKpZuADq0taSrgcivAadpU6avHWfP4OSk0Qh3dD+5Gu2y9h0x1aLOl4l0inPJdXvfOPgxe32e
PxYw3rvVWxkbvFkAl/q9GCfnmCRO9lhnbbIa3bpfUxOVk/aeIb7pt2aHXoa6jYQZiH4It17Z5mBA
YzXvvSUXOcoSgmhto5RSw64WOU9W1bsJ0VMsfspbxEgVIftsgwPJGqxjhk13rmjcigEVmHnqRhAT
jcIT2aAZ0IrNtQfgI9QNTC5okvXUvat7555ATNIGEkqP3HFNEKdIq7+Fk+bcipBjGYdXzNxH0CM4
b4Xr8Qh6PoNkD3GMxAXWWzDJDo+ydBCZNTj+/iMxxs33ZSQfDcTAt00oxSkpUQ3TOpytIohNzYEF
rWyGvcnAZuOOABVSsIF65w7b3lOLLrMLdXjYIhoRqCFVJcdvFR9/bevlWIGLY3ym3utFV8GFsBnC
Fb4yQKzOEO2RXX9NSQOcbFjVQNnV5uNqUlLjieiRm4cWJHhdavNINvKbqnIey5TbNMbhQgd5/UYw
u9qCytEGVxSqR+ZLFda/2aiixNGGCsn53Mb/AFQjwkzgaEpaC6YmCoWyLtZU9mdVfW9D+jf9NLJG
Ikow4V3qd+BaWyUkNT4vFzktGl+XDlod0kAsh9ZzdrN/BabbA9gU2+U4Cr50gmG6FdhjTxWLnozG
rB49a5MOddEvkKBCzfDk3eEXEj6FTfrMjKy7oRY2IUBitGF9oGbtoGYYuGu2pWbuomqrlR2EnVgR
PaWQONwEdtYvhWr21lTtR0sDQ5aa2M37AgwD/U/6Cs7kjLeWo+2oD0xRtfpCMX2hKobIV64IG43Q
eJyjoFWJvZYJBd5N5dnx/XzRAAr1pLyhFshQkIFJigO1nClN7sHP1G4isN4troOSHifz/zSRtkjH
DpWxYeG96O6KQkSgvg0PcSycBZVVObrRQF+Oe7MXkLCxU29mcGERtdquqBKk+3urPX65KyBF8S+b
wdpdaYHlS2+YsxZ1Xt44uft5513uqHfqw9c6BnMlAclF3zV+ptv1kQLGJkd5FJ5gyAup6DL1hqpJ
0WXq7Sy3Ws45qGLkW4LBmF4jDqk1rMBQiOj3FThDd4AwiQPoeJdG6Fhnitx30QA8JnIFS6erkLke
AhXiL228cKAT215SBzLS9GWOUryVTcWPqNHZ2jyHCqOKZFGQBlD9Yhvo9e+2ImmTjRc/IqlZQdwL
pXvQhYeuu+Y9QICuO9jKjqTIePSK1ARWDErQwhwBcEcUcxzGAtvHgd0zSEYjTwWa5YsHH8DcpgFX
/1+9QCLqrR3Gi52WduM25rG3iOpRbDWteSNEEf3H0OWKKLp44HFJ1hCMexd80v2yd7wXLe113wrL
4CXMcJcr25feqx/isUvAANIjU7UCrZPdtajtONu5bj7ZPALZS2+diQJUOMmXvpDhb/SXcRfPuk3q
G2m7bxcLzXv5lMvYv3zK5TP//BTWon7MRH51IzwwcHrg/3yP+3EhlX4EFt0UiWkvfRxqRR0Mdp59
PnXDmXyNYeDvnTEACuR7OOP/MOLxX+59Y3+6/21qJKVQxGqXIGyowUbdTt0s2uwF0zrRuv6ZG5Ox
yySoCIl3003YbCf/sGu7lZuy4WkE2XkEkJztgjAgKFzHx55+uneYBdqgRvb7EBSgp8oAgQfnRfLi
uvrrLACDQZmLmmwaxCp3AmTkINzKfLnUVSIy3t/oeMf5pPsGIeV/qjTVwbOPig1rXfDHU3lC2zXO
giJYiRu+Or3DdhTUogugJMNNYBjrBgiqA22+aVcOajRn48oBhSeX8CL18rA9ky/ZQTXRrjIvk0so
ExbgJufe8vowBhfbNVZMjy/52bGWbE3NGMBlgqBt7gTx0ZyS9ChRFb1CzJs/lhWqSyh0eM8Rff9p
u0CnQ+fCfjTUkKZl8TGJuvQISnDhZy3QPnpSueOiqbrhU60u5ytTgkikr71brN0pKEUvcgx01/UM
dePoBan+cGptSHyAzuoFQMBbvTS97+rGdafsGxR5FhXqLZHdMMfFpPKY1wuKBpdFkrDT1TQ4XbEe
lS9SpgjRJlBnG5O4XhJHtFfHyanu4iX9Hcgk+qw/1Qie5/iHLvOwcjZUHtoDrjY3K0U8RL2NHjkb
alLvtTlpUNNk6fdYT6Y3gKgbP0B1z+2UI6SCbTL3iwqC8mAK+XtHEWDN94ABPbVZWM1AGp2LcMdS
YGYJzisGXj6AjOcK8E1j5vnQNmI7ggSTvyzZ6OvtIICrV3JQJfBJx8poV7RDQdQsXfWpZ28Lz3sU
Yel+6J39lxvLdJNdCX7rBeIb7W0ty2UyDGpjkyv1VDPS1pR4BFilvW3RC4rAbtH1baGEgrHeYedQ
htkTvdA4EixOnj7901OP+rVBPfSikyjZUz1xwd+MvCv2lMDkUL9ZGeBLWlBzvuh6s56TSdBjRxlI
Gi2EDmTI2ETWFmVF6QxbxK5mAYkCd81bb5r5HXLpVGvdRAqdoPhVrR5CHLWwfNRrCOhOz/WU6DtW
crmSZTS+eRX4TJwJwuycgQ6o5S9cjMGjISe+cQyv2LJa5o9J2n3wOMq/XxygKgUSAs/B/m8Judfk
2HfqvU63lamjsArhxyM1rzYTxZEHDBjJt07jdFf0/BHixSiVHlj9oEPcGyIIYsDJTBa3TYZ6EAG6
QhDioMBUIYKvvkw64HzJom/IzOMkIPrvldcU2y+5F8rCSDZ+l2D6xTa3DBfYx6LOQaVorr7Ko1HD
r3a7dg9pa1Z7yuFc5qcJaSC5JljhPvPfiRGve5TyfU9EfAdxX/N7K9K7i+XfNwC4yVUIhpXdgCLg
RS6G7taCotfO8+xxE2oseQCODaWCipbCke/INUffr65Djgq+zNU9AM0CVLZ2eGdedjUaUCerKTdc
LA5YUq4dovP8sbfqmykw9K0TghJpzMMBABAT0ZHJcPbgiVtfcQXU2SuPUZr67jNyHqeRBgL+n6Fo
3RvaadHHgFKrXwFuhERvkWvFxaMyvPY0V43M27rPJCnwHwy1Roa56btRoKS1th+k51R3Xm+BpRzF
lmTiaVf5JWp1DqXyoAEAqoll7kSBivUiBcWaSazNtGzw0gaVUpyk2WJKo3odqSbk0619DHkKVEJ0
ZlXfJJPzYhkZZLZTHVo1vP0GRddhOXmxfTIRiTuMKZDiutNXz8o1q8X0PhcgJ64FLjCFSLCRIN8W
k0gX1KSL29g3Bsh5TrR+AG8GjfHuB4VS6VJ2EHh3S9tDNW8RHyMUS62yRPfpKFapCv+hasezMgVA
D0HfRLI1rSx8NBG0CsUdLToOAIvASmm3lz7ust9aDV6/K9Q7AZKrcs19nFRgCuhfr7loslNzgEJA
O/tR++Jc2UmwSbn7ION6Q3F98KafszIWKNYXKVgHmupsM4hi96Aj3Nouvh0LEYOPUUfxXuvthuL6
lpWcSxaLx6Azl/TLCviE8hMxN+jH9eUHN2hlcprSJXb/ZvcMLmPvMKfeVcad0u7UpEvJTD/uw2D2
QAXjTusbbVMXTXMXZnqLU5e+ouUwECF24sYE9n21t68ayKVmgzV8MqM4Q6VAS/0fbZuDmm9kiiml
dZq5fpJWaTdPTtgqgDlY5ZxEhNSpb2rpbJubwFMEC6zGjclvwY8JRVbCGdUZsD46qiG212czTqGs
3jDr6fowmcwJQYWIFJWDK8D8fo1q58T3hDE3wZOMJuzzjUw/b4bUdyOQ7I3QYMd7Knd3umN7q2wo
9LcQPAMqhluWYChA+bt+4P2Q3vES+FsK7o5p8AaBjf7BgcrPPFDL+KQGQgLwttVN6VcpFxv6gYNG
qLrlnlzGUOApQFBlgnZZ9VZDApYuOwU0TiKt3UXtnur35kVgtBsB2mbQaA2e/eqhBOaGKLb02n3V
VCuYBr4bp7H0uz7oNqC3QBrlAgUKrGmtZ7Z+pkeOPBwB3qi2jnqorRkmkipxr+ocr+xVlL6H3MEe
yn5yR/l940rTFFX6PpdjuAPyoT6KbIg2ZpK8sxgwvyXZytrtWp9udSyfxyCFj25k78A8V/7nesaL
VB6up88iqh2kNvC6ua6/4JspboTi+bis1TX46TdmEJu+xDEFhL/15F+ROgTKoWaE33hpc3NPJkLs
kB0KhcFa01AdRR3QGWj3gDgd/uN7OMD+qBdHcGajxJlez/S2ntt06zS9BLwOZV+Oww52hZjnwht0
cVJNh5pWHYjTmOt/byIG7uFPEX3PJg0AK8KRVSaihqpJa5YIQ3tuzlGCS5N664vzl7GVUYN8KbDN
DeGhYlG/mQaDMCIHYqppBKibkZrBkQmaUqhnyNbZ0I1gn0IvwaV0WcwDSsgQ5QK6fgkWtR3KJt0V
juvDW+VlS00m8mUykhgTIZJMNdvKHiCP/cKU/U9/shdWE+9EliIcY5kjzZNGVbbpqJ7TMeU7LVfX
1ctw8kXU1Oa8cF3tAypTEHsf9tfAnZU1sT+VWrAjG70tpryMfZ0bwW5ShCwd+PBuQ3dxNc8kMtRm
aujYhfgzfpkq1dJNIPthTw8IvqpSck/u6tJEAJdsdJHQ4Vp1zrQZXNQrfiEJc0STbIWZFn7eifr8
UquSod5Ov3HbSW8rJEweUbOz5HVkvkBwaTxAPLdcBKrOaCiDfOXFMUKQfwxikMhcN66FaHjk1HdG
ChBYAUmLLTXpVUo2kIOxbTpkzd3VlhngIxY5ZJpZn4oN/YBQPNCu3DHQ5pfptVlq4LbR8A9YtgjF
bLrCHpYWSFYe89x0T46nPYoepXcoRgwWomDTnVTKrwZngZ+Gtbsj36Js8o3jTcOSenlt68e6+WDa
+EK/5rSR1o1q0U/90qI+MEFbN1bNZk9qcbToLU+equ/ausyZJAEUgNtYX1PE/XqhKLwJIQqkpRFC
pI45Jo4oJaSx3eY8ZKI+SHXpYrP67WJAueUAvI3nOzbOlNde6qAmENzRRmWgE250By/QugPdXZul
BmpzaLD+053pffzJ3oIX6VpOSi3emB7dINIfU12AlLi2zmQa09HBERsJNmoy0B6uImnla2rmpfVN
IrjoD1pRv0rOz7Hw8vskR8KTs+JFMKN+bUYr3YxB0wMICC89LX5WMvXOLZbFh9yo9oEOrygEZgoH
/AzkeIF1l3WGd/AmVJCU/AyBOEQOqcrXBGsnNLyR81XNa4czLVAbwM9emIvNpOO3VYwC0Gej/bi+
02nRr/HU+XnGEO+7bMQvvvOmvR99AhHqVaKKfH5dV4KZjYyWDbc2q2Pn/QRQ3S/B7XXLVc02qL7A
8wlazhUbGV7ABngdBnu41+qyPgVB+JxmUfqSOdPZgb7hHZOiecJPTB0bkhdU05U3EVSqgOPJ0QxB
xJikjrGkZqzr+jLtE75V9XqHAgg5H3W00yFTF7pLsgga9QCIfe2YXECA6aKV3TTfQTm8AcQls+y9
GT8wvGZOEwvZOgVfHLhY0ujUVRzYUepBSRZuw8apEO9FciZtb+o8PyqZ1KOrsrOoRhpupWOZoOMR
4Sqp4uGWOiIbC2rb5GfyIBN1OhZQFYWOt1c6ZQES5VGEQhnLWFIvOcc52CAjw/ZBB7K2HAEIQ1iX
OHOkJTRo0GwLlKYwnoQbaiJTiZ2nkY9HQ/UyOaCgnDkPeevk955dHsjL/nMOlnWb1C4738G58mWM
qjdKADIQzQL2/6tMml/Mi6dnpJkMkCMLMCgZIVhhAf/e6vkkz2aIIrzLYMo9QvV3yBMkcUUbH2UD
ligbCbocm64nFk/ifsIOpGGseXI603nwhp/URZbW9SM8w49kmXi6gMbJPf6426Yq28ehAt1YHcbR
qzSR8mr6QHwUpn1mplP+QmXxgg3lAD5lKE8A6hBi/9FgL93w75VVvtcAt3yzbfMM8bp9ZiftK85b
xlKbKrnDXqt9DYF/L3ntPKJss79xFC0o5mxfc4DVV2BTr7Y0yuXgZSlY+BABRH2r1+KHKNv+iXUo
IBZjeeqctDqhgs2zSvvoeE6JVRsX+3JHXqMhE+wbUKD2pYOG0wgvjJNd2Jo3fxt/tSHrdh9WzNiS
6foV6I5sKItFhYE8lk3QjD42pOMp7bMW8nkNMsJaRUWyqMVUHaiAnU5kS8Om8WvuTOs2N6COfHUk
nz5yN1r6okNe90xb56LTIT9ny7klB+Oe+mgjrVrXPuX557hRzXLx/Mu4WsUE43r827jKbMKdV4Z8
IVLrrQcN/qm3EWdL6rYGYzV4U8rGsUGyNOAIqstsPfei6GjbeDWIm7ScP46hx4/AHwnU68I5as3p
DtuxFfmSCZVCi6AI+vt5NoP/Pz4qzcpsTSOTv3zUUHY/RLsSjYh+4CBzphvIZCNSMIQ/Cm7OlkvX
5Ub5kLPzz82l63Lzx3DUelmrwOARArH3nFvmL6+EbEyWVa/4ipAAhtzsbRrZ2VYHZ7UqEwZOzyrD
leSQ8GmwvfRHwIZ/5tnDZXQwWOUras0+R2dyQM67rMJFVcbD2m0D3cdpT3/WRmZuUakglwCVAU2X
pc4KWRqxoWZsuhOYq0CfSU1ud5E/QXzqZnbO2QaC3dM9j9XjVajzo/5cIz98mzjBLfmMg6iOChkF
QSrM/7//OIsl0c2ItxO4H91o5SGnMmQ1e46Ybh9rqxQL4gSNe1ArAfeUI23iDK+oCfUD8FXPbobV
gnlU2Xtkumc3qyxHcrvOZl3cNMv6OlvZWsM5FPrDKEX0aKULa8ok6sZwYbJ8sZ3BPlELDHEQZwFR
8JaaWdpbGz0IiiU1Sw5K2sJgH23Cu0eHN9HjBGW4ePptLoHCrt/mAiNlsTVLr4G2uolX74VVGXQN
/TLy0mHxdfM95kBuUQ95A2LiN142vBR59tFAQupd3cRsnG/Sf24uXZcb8rF5cR116brcXH2KVmwH
VO5suxAIPwsM5n5pVKuybMPvQNqA9GCox8dYIJvVR9N0QtAK2NiWp1tUmjtn0L8WoP6Jqhdhpd/z
FpI3brOa56mZ8ZS4Qn8NKxOEvGBPvdWHVm400zL2yDIbRzwB4Rp7jvYhRVTAR/GI/q6+h2VhT+YL
VoKKFN+jNoALzENt+Po9RhGhGk99jy5mxRJB3+oljuP5e3jgsEk7/YmHU+zXIIEAk9F4H2S5cwIZ
lnOiu6h3Pu8QVoghjJy3my8d5Ezjk66/vw6lO6lmorskbvExdQ7lc5kbG5A0hQdtLJqdPqZgR4N2
+k4qG9KZzQ6/6c+7IsBj0gXJLon7aZNPpXMnQigSm4bMPkCztTQQ9fopR1Shpq14dQqtR0gO+nf2
JIMdJE6mjaF5fB6EqsnfBnGTPwhHW2Sjph9QBodzoS4mv0A2ccZ9zqeuf0zXQ9eAF9oU6fZpAnkz
vUCSJB8W4Foxd/RWCnXsRmSSWb81v/RWfWft/n/HtmqqqzPNnGbpC7gfzHjc5bxpNkAj6KCP691t
dLnTICE12+gOdAMoD7jY/o9+Wuw0GxRip+sx0bNbQ5EAjXFj7LQsQGT+jyOC5zm/GnNsEdyHnVxN
QKJ3kSd+QOW53SPiXfu2K+sbgEqKZQPc+RvKMYAtkfxH7BUfBZLsT+Ug87V08Oswcv7pqtXF7Job
kn3jLg6wVvWr6wR7CByhb5PalRt96Ponu+se2yjJvisHyRr2gCLEaYu9Vv8Xh17NEEb2NM/AkBBG
mXszzwDmkl8OCJrOFiqJe83wsOke7fOXuzrz7POA9Ntfe2mEVL2t8ruOtcL3munOodBBVw+Rkcc4
HLsHtzwPgrnYOJnWg4Zo4E3eMfkoXdtYOJalb2vpdo8gI242eBkOS+qdhkE/4mwEok3VG6RB91Bq
CMpjVrokozFPZuXxdKuN5XsTnNK0QFW1C1L0IWNv1MpZGu21XnBEfpn2DCKmAOT7RriZfbUsXuA0
Iw/Uqw3ZOXeM9G6MSu9pKm5GNQYVx/OE1KIJM9uxF9QsoaSzckDhsDEZK/e2JbWxB8MjRFGYWa24
M2rvoYFNUJnb+h3owsyNqATfuWIwb7hMu2VkZflr2xr3tBBMGGSmyecg3UrYXaEGATrNd1UYQb7Y
q6ZF1zFnMXIIufD2tam16EdlG54/2TK8C2zoDHWge0W0PxFPoM78IA/bK0463tAvOKKwFXipuoPI
IS3cqLliZn6ZK0IJ0m9zjS4odmr8oKfULwbmoYIX0bgYKOmDkPEbheXI1LrTuDTaMFtf43Uga9+V
wuhu/tMglJjtcR4Bf4KBkGMEAOX9YGnxPQvEW9hWKEVVJqgGgcq5f6EusqjI205EyFhfbUmJZO5/
naftMu+2jOd5jia0q3oQXfY4NOZ9EH9W5dpQxcNrpU0RmmHQVb8mN6hHL/J0DXjnZ9INsUyrR+Ff
gvU30dPP3BvNZsh4DRRbB0hwxL41HeCKmfEKZsIJ6CE7XhXK3Mf2k2EP5T0C58VNGzum72iT/q2w
+3JhesI7hib38OAjeqvsnYR0Mh+SfvvHrGLKp11taJ+zMqS509H7fda61kEUXDtiAzx2sMBvm+/r
0hteM9CB9N744tktEr9gNFnkljW+SiSJ//TSEXLapRnkVqAn752tLk7OAcKBrvDOpl17ZygTemeE
7uONWU6e/6UjB7bJn2ov2V47NEhYXuYgM02N+HW8qXLT8zlSaMteLyPIkgDXM9nxtMrdfEI0duUE
TfCWJ1jPRauVO+TM4qes6MEdgH5kxGvI8iXxjQPNl7ObgbQuQQXae6BJYJxq7aGE4OXeAH3DPGGB
COMQeG/RyH6fsKy7M5IF8RniaBNqhcvVmMXNY6mXw21qG9hhS0RLwe66tc0UxSmqiQehhW6gVR4o
aHoZ9D+cfdmSnDrT7RMRAYjxlprHnrtt3xBub5t5EAIxPP2/lJS7utveO75zbiqQlClqoEDKzLXW
CF6mW9R0vndCDGjZVrcUeRSo44Q6Ixj106EqHmVquPcGKtWlCmFKL/kBbiT3SKbgGs8Q0TX6NZle
PU0V/Yzy2r230m805iaduWE23pxl/7CG0nypm9baS+RIZ+yzVUAyS8/jCpSmnX/H+vaZMNFA9Kv0
pm+hzrDnX3X3lbyLwrT2hUSpBVmVEvma1m2qGztmfIc9YqH+VB2k3EXUy2VZOckmynT7gQG8chgq
GQMfDLDNDMApjDVCkhzciwp/8+YgJtd6SL1Mmx2i0EnOdj0+6agBPGkDcud0kU6ldJZ9DVV2upQH
hpwr1EpnMz2v9QA6veMXMnOgSb/1sjKglY7TGVYQu4k40PIEd2kryPW+OVxHR1zU75o0SjtrS/nS
6CdfB+KfDwx/piIPUhQ0LDodio00Y53W6Z6aNIXQh0uTprg2hcqrXZv/7TtwN1n0AIOf4077KbAN
fYK+To94q2HsY822zxPgUcsm9uxvTqGvRKnZ/yhTyF/ETxGHqa9MNQ+bTMhlyaCJNGDwmy58lq31
wzEs/VcPAiZsg9tqenVGI3spDR0Zw9DMb1KeYdHmuto20ll0U5o1cjW/faEno/+aFjy1rF8QuHqd
en86p2nVBYbj9HhiWeM/no67OlbBYOf81XHuP3VD3a5ip9OOCKLwQ4oLb220vvlAPoPysevbErcm
8mkr5qMeePIXuT7Mm0phuRtha9XjWBbmuVKXNm02Ec7lK801jVnURpnFYnpvhvvjsnOT/KENu2ED
LUZtM7mo7tNFdujDNn6NuF0v7BFLdHA2hqdhLMYFDRiowU4A2Hr5N08AZuuFLDpHXbVPg1JHaa1s
MyF6dUutQmUfsOTHzVmBAi1kuY9DivAKjUrlUETFZwebi2gjpPkU1YUG5rcRWwAo0aQG52ugzYdt
Bd7+LxEb5n6eZXwdTsk498eIUs25MdX/0T4FWng1IUILOe66rs64y34HyguMqIZMp4emQrTdZ65z
csRonM0YwevS8OLXKTMPtjk0zyH4pbeTgLJ6A6balwwl2/RV/asnYOJ4kiTRWi9N09lMxmBsvKyo
A9xVqydW20D+sNw44f6a7Av6+cJUv/URdl5EUoTAn+lzvAaE7cj02sM/U1MjA90Z5ZOt3LktL+6p
1qOSMZW4+gpPBFlYz8TOWd7c5V7vPqBauD/wsK5VDfDwzc3bO30oETzPuofJdvpTqOoFoQqRFo8+
M++9pK2DdGyntWGXGR6dQFSqLGIiED8ramluqb8acWP8S7+yp19icoyLvQt+4aAF99OSUJz6CLla
odsACBNo1LWQ4gbB+XIGgGpaDcyYucZzDfcbMrarHpQJ6sIBj2iyATiQL+w8/AGqtnwzQwdzD9pF
ujTyDWXfKA937Xu3azRRFJLoXrVqNRA0qA0RbaCyqrD2YLp9pO1RYWSgdbCnsAl8CIptqZOM3+yo
1eYh+Pt7p9nmocfOiYtLBoiMjdOWKO5WXYYnwWkh9FADNKGv1tRpvQ2XE7LYEqnZ2Q7sH84BuSjw
N8rwzItOBmBD5ptRi0Z/Ka0w3kjJpkDWsQLDtCM7Z18dNwshOqB6hPIIa3jMbY4LbjMoDzKy1awp
4l3ReCwtHyQMydDUyIRExTqvIrA3xlFsHDNF4ZihfOVYEMc2mGxhxKd8bWbYCxmAOD6AjuILSN9t
cC4l/UNRj7jCWRkuaJBebpBQvRgnYaYt+h5iezQi9d49WmX/hVpAuc/Tycq0USGLyWm6chLhogeb
Qr34luoDqAoAUlmGI8IVG01rf/ZDP2KHyoZq06fsW25XTVCXVb+zsdq87SoNiKQ0c197BFY0uwSF
J/jVgIcY+ENYcbkhW2jFXGyRGHPIFiDrYtXXo7gpM3ORSE0gm8DBseqgzDZQfUpY5PPRPAqUGf7A
yuO/7dRoiQpwwH9z0Fso3UGjwfqiA0kygF4DZ8tvD2C34XudgcHQUkS09DKar6wzxT01khpM4H7n
tlupiIPBkcn3Eyo7Z3vq6y/2WLjgz8NAqIgQU/fZHhUr+Kv9aUtz06novSDGhnpp06gPje47IGmP
5KYyc+cQWX66nG/XUY8bjt89ZOlkH8BiBWYVdRvnbjv3k/1f+g3h2QeAjtdODTQ23V7TELpyYZd9
NQsdCgx4PuwgXGA/uln6QAaZDXkFiCFEt7nlT0dWgrugVnfuwjKgjxz/4Yk63wcBibDayYZVPNrV
Avnt5o5erKLrNtc+zYYICxZZ3WasjWoxYDWnChaUTcO/2QI0C+XIrXMSSevkck1fIBYVv6KQdROH
5fgClr520/Vxts3sqn6ORXIkA5FzlFokxsUT9Vj6olNlUNzuNxn0rl44qmTXiQWur7K6iULeLNrJ
Qdiks4LQ4Na3iPegt8qAprEcr7yJ9KlZmAq2oSxkLMAOWBnJimoPqeKw6sA0CP7aPXVRYeJbv0QR
zB6UKihglnoILbLftmRGXXT01l+2AjRHb32tofNdVwoQgi8GQxzyHOQ2oKSt9mkMipbeCw+mXYcH
5mRuEyDpZDfB++OPpuRN9nRUZFa9BuQTD5rYym/alj3SEpJa8kOrK4x5DJwKBVnSUtRTLTWWg/xl
ZTYe6klVhcYYo1CbAXC9vD4ZUujxzH0+RSHJhoejBaYLHUV3V5/PbYVTrxyZ3GqgwLm3Esh/mqEH
2krbTO/pBXLQC7dkIfRS0CVB1QE9Yf2BWuSUlAkQ45ool9e+/5xoMiv7Jk1AUq8eYTZioRaoKs/0
oKIHWjFlbJV6oOsji+vAR1saTLhlrjTd0lCi+zuY+HFealEhwtBBLRk4tcu818kdawiYp7P15XLQ
Ekus6Pcqi/4LSuD1M+0WkDP5ovuQ3KZfSI2BTvAy1jQok1Bj/x9+PnR2t0WP0HKtRQ9aiHtJH9bg
TzRMlNNX3o/C6HTUzLD4QdVqrKXEdqt1R+sm60BWiu2ZDSXPOAKWTWo3cZXyJZZO8TdWQ31aKbo5
lfgO9Rb21BpdvrYqLTtkrl+eydS37XemzKy/+2JANDRDarrSJxMs/2C5q9WOup0QbTPjBMtJ1Rwd
5L6q2vLOXtjVz0n1lTbaMffNY8IcO6Bm5Vfvnazou109dSbk7Y0eZD+oRm6RLRv7myHMVwCciHt6
yQpIsPgmMOGtHqMOLQSlYwDIBiDgysP2vP7G8bPZA8+i9I57X9NMJNu6xs43spUwX6hPCdgNhI91
jCPAV92++JAqgCSKraMSFPThXjMMgZZNw003Fu8HgLPFVTH6/U2HErjPHk5TDdB1dBFD8ptNrHSv
mCmOKHfyjnRT5qpyVnUl2ugd6Z5M/aqrVlYfu8hxvlW/OdU9wEMuyEHBI4dUc+Ap7tfRbTgIyVOx
TtkYnajv3fDVBlJhYIq0++086wiBnk0ZgbXvchYjduZ21tf4piDIc2n7kFjZDH7bb9oYKiBSIQYQ
BQ7cKaletQwPYu637s0IeeudpuUFliOD82C5qPu1FH1PB5Qy2famAxZk03wxmbCzUxhrDOnZMt15
FqpNeqW/wF3eB5brZmfbAdokqdwVYZg1n13MqElmnRFmqwz12gtcD5soceQvYFM3UMvof731/Hnw
wabiaRI4FW/XGkPxNJiLUboBeMit4yYoWamwLqNmrXjsEd61D8qOumLDLm7nfmVryBG0sxU0B+Rx
qurpvpXcW0D2OtsZfoR/mmriB3zfjGIr25mxDuyLGmUfjWWUlauCN0kMRFrvfoOEugVxHChyQeb6
mwSIGVeypoRclHBXGF76QOYGKE1VPfQtrmTEu/s7XrsJQuEjME45JC4dEJsCtFf8uFpIawTeGbED
P9ZabJmQOwxcFzXuYHrf5QYkXMFHW9xGCmEGGAskrmI323S6oozTuT7b0aiba4Gcn6JNoe9MRfJd
lJn7IkG12yl0TKGowC3V7yra8BJ84KEXjt9a5O3Whgfi+r/0k32py02koulWiFtDnfvOS8JcZDwU
lENHNVqWOC9i4MWq9HsdqpeZcSRTo7DwBmw8ZlQaSJnyPgRrgkSF75A9jmCfKR513Ua6CRchtBbH
hTvEwyHLevklh4AXyBBYG6P6V8ciJ1HCIWRkMj4cxrgrnyBiEZhWtahr8O6Cf9RYQDkJLCC2oe1y
XiUbrQMVNJsUW2jFnH/ebBuvArGesrVrhR+uZbKJ83CNnaa8BWbiYg/Jxndzu0huzPY0t6/mJlum
0BdvcwO9WAQ+ai/j2CyXKIPWQLYTJQ+dbMVtqhjZqMA8V/isqGca1moghoQYbHtr1Q0CHyDhneJ5
iXRdQCXIpux6pr9c12WmAaBsmGK/8DvMBqjeQzlCIQLgObbNlaAPop7+yXMVVBgtSyn+XC0sJe8D
RLB/0spmnfnGxo3rBqV4lgZapQbLwdGtvxoSXxaHNO5hrKwEonjGEoFx/rVGceoGdGrNmswmSF+Y
OaBP5B7bpYU/EMyYcmdlfHGXmblE8tputPwhaWz5iFOsR6Al7xKUPD/GdmfgbmeyPQ3aZcEAfRyi
NY3WUd7se8DvgsEV8nGQbX+LMvQtDZLDEDVrzaziOzJIsuaP2QzweIHcTUeQbQCsQ22NpjgdwH0K
rh7arFBfnkKqyuPuLXXxQS+XvXKgnZDn2v0hrVDuR7sku+uddSV6xl8Re4uDtiqiJVQBwy3he8cm
vjQJ0kujKDAKt9S8js5g4DdfzYr0NQNv3qqrBvx5RHdXAMmw71XL54V/M/Y6uIBRthomgLKDAgp9
HerhV2U1dUtqkvFH/2v/mz91hYgyBo6VgD9IFOViTP36yJyxeTGGO6JcAveRsQ/dJl4SUdMnq6q4
S/I8Bxgv546+0qeQ792hBz0efqVoD0j7me6ZdDNNLTAAA73l4cuSzcmHcuid0YHgHIHSChglO0L6
cBj+0SH5CMIjF+LhhrHuHNw/ZYJoQurk6fNoJN3S88f4dvCzaRNXYLbDqhWPC6fQEGoKo7tq7LWF
P8X1PCcKHsd/ssm6zGm45rs53QHaL/Ov6ONRex+z6gdHrOFI8fcpFuY65oCxUnR+TAcDgpnJjqL5
1PVv9il2uwtduMj0uoohAwF+evxQy06rW9NuUaEWdx6N0YNLpMWpRdHQaXLCZzuHRJxUOB88GlFB
Lr3nrAZvbPtnFxlYohZ3QNpcrAzsXRbKieZpIUsCosvuF5mq6Wkuav1lejrtmzO1sJFJV2EEvBv2
D9BJ6KN7rsBsJWTcFtXk51tq+hmf9l7m9QE1K2XyFwcWmfkWscP6BiUNO8RWw5sSuhvX95P7qPHe
gWsDt4XfXwGZRV2EtQ4+Ktl+9JTg/satFOw6qCHW1Tp0PNcSHNBMuC/gm9C/9shZQ2QVyycrEvzL
wB7ivkR+CYywW9D4pGsN3FJfUx+KS4ZdPaZ1g/9FAhQn9f8/zqppbr50Us1ALsQyMwEWYxA6Vtwr
jtbIj/6EOuBIkUpRf+nKOzwyWpRxo3/uKkuQ14JnahmS4mWhXBWbJplcX0ATC4ZiqD03Ke5ydCn1
WTsscA2weUkEvZlhgWAlm9dA1GRqdFILJk2NXo21SesXW1GYgDeNjgtOSzeb1QGpmUCh/F2TRmNo
2SJN0fb42+HdI0WV4xph+c4lLixUb1jr1qhA6KG+AvrQFqTMz5UwAycZYuz5lItplfkuJbKsq0ti
QJyia6ZnJwL//MDB302xDxtEODb2n09a4yDYahYZwuVj+oWZ2ooMJsdxFlo4NSfyhDBPshAqapJ5
9exZGePF0x2y9IsM4zXFW4pJe++pV168aBQ12ds5r55QnprPSVP/zdMe3WI/SahPQw79m+yN7jFL
kwy7g0zbCOGZj3FdfqVozH8ZUECnc7A6VTMAYJaCNLV5N8O/GUyONB8dVn/9i8HH94D0xiFDwBhA
ZjCsuaZun1vQ5oM/dkRKLenjp9GJfqGa0P0HaDZwx6TOt6mBltYn08ryZlNH7UreTGlWX81qOrax
r3Vwob3NSqYjGI5QTW1/I1OZiVsr88LNoMToDLkzcWd5Rulgd24HtwCMB4ycYP9PNyIRoP1VVpkw
8M+HOvvpTyertaCjpHg7/+YkXeyUEjXl7zM19dCdyYnmsnpcYp/OdHXqS1y5o/f8vzr9fnvk1L19
puuZXKSnUaeV4mdWLG4SigUnFLhtexdcvJ1rgdIgdIudLSrtODcRBC2xNvSSDdnQiymgO+4Ili9Y
klq31Gc1MjvJRG4bHrN2FbIaWMUwPF69kiKtFsg9gvgmzFnw7pkTljo4lUJ3Tfff+aHTgCuW+uad
v6lswKnprq/3buojG8gtqCfT2zw0Nxm6b/NQ0+mcG2PiCcpnMiQdsimJ961iFuChTM8DayD1mToR
9SnV7axDjrd0HacLvAGllTrHz702xjD6YSVMG++hsgXKGC1ZVrrnbZgqExi9KQMXmsYXDWvLx9rm
uBv36aZXICmyEJEGTeTEO1Orypw/3Ac3RRhcOfShMd6ClmATRmGzNiBVujQMjn2uAzxR3OXmGZKD
F34MWYIEVeRevCRuDCLD6BSk0oOt1sL22g/kDURk0jhZxsQCRMbY+YKoVSLDO+HjYCP4ez5ObS2F
GJ4/YTEZi/SedhvzlsOvwVtq42NHagdiZ6Y4+SVkElSLXiAuDH02ZUHNrBDiFNbxPAdtaiYtD4PU
c99beL8trnNIiEXsyOHjHGThqPdBcxSQkEDhI9QBSJgd23AIlUbVDTjYxN3HLpVDuWsUylxZdRlK
LqhFph+73hyFsppCyAToceasO7OVh3bI5MEB4LAO6HBwTQkcqAZcs2cnwGdNBtCfqpOGyWc2n41Q
q1mHi3fdZEaujRx/MbcDcSPQWQdeSdAXFzUI+zTI1B9K/EoJtPmQ3XOsKFq96yT7uQ3tmoVpMo+3
YAhYoXidnW3FNOgOwAZpDVLkqotecux6WABGnmgRp00JBQfVnl2UtZNp69lXTdASIyFZJyDOW7vX
TuHo89yzzdXnOve7E4Kg6VnM6ZxONuHSAuW3cEb1JeI017eHjVK7rnkFPN7HAbAFAjUIrwY5XERE
3z6iMiMv8FOB6YHhxufoGShcQdVvWCwMJlRG7WwFHnMiuz2NkXlHg9QFfBDuih0CXVeLHhbUulpc
57Bj2Z602JotxszzgxZUhQeZMLDzVdlTpvHkLnTzO6YwUqbsxb5GihiJyal6qRVhdFvn1oZGQc8B
cFvjDidqqjlKcDA/1bqGekLMgcxQ/WKpOTiIHRepnmqPnVC4aWSpy8Rst2MRT8iJoBlFDlh7xWsU
+kjCqZ7WkXqQNpLvqRla/nt7FFeI+9h9hVKOF/R2NZ28vPM2kZ6oSLSTvrBc22J5nrx6gMcjAtam
50ln7TlxbCTlFH301EDVKo/Yc2MV7z2jKdqRQag8UecBqva5xMfvmfwSxuGKK9ZkkRt3Xdt1XyAX
2yyZ2/ooI03MXQou1I0fCXkX1x2UOqbS+i5D7+pkI+XwpdJMIDZ1U9vEyGEZOeucNRQo2MofmyHw
gQR076kdu9GBiSwLujgufxig1QDoaIAwVNGtM9Nxdxrio3dNaHUBi0A0pSziDngDIdpuPVWju+v9
yr0LsY6aLUw3ny2uc1wtRFw4924V/cgM0Qbg26mPtIWnZgS4/7tmopq0o49jaId8GiXfmQoMIITP
o+QL5XD2BCr796OG+UsX1quC2Z99iAC/5N2GqyRAMsXVyQB0IaBm3fZ8XUPXaEMSiBO3y+C/nMYu
dUD9lnORbKoa+OhJEQM4WMsf6Yhe1B1jr8XpwiQuARplqfCMNY1AQQ3EL6vWl8Dq4CHUNDdymvwb
aY9lEEKjdgtgK5qqD1Gj6cyMX9RjW4AaBk7aWWvXBbQNNxPwQ/7Nl8zJ1zZ+2brNjk7qrQVvBOrt
UPDs4E6JohAbkL/fXXT01k9W4FhBupL6QO4+214dYtF54IO99JMDU3Onql/NXWZdspgKiAejnM6D
YmfoHQfsB2XgWrp3xN+52MrQeKAWvUAjbJTBbEPmUc1QS9iI/bvhqzlNixxKA7yiNCBT+ja3rU5w
NaRTCXt6mE+Qj9H0+zSzUWOtdPyeCdvhuZMdUZaBF6eus+W7w6Tnq6GQIKnIQ9S8Xg2VtUXECmQ9
H8qhWel24ezezUCHNU3+8aX9YCwrDfDWyoX4sJakBz3U04MbNumBmulopVsWNzvqpy4apBdbmV1t
P7nSwCe3v53iaqdDs5tOdu26nvGTK0SPc6TEAe+iRTHTY3vnM46IlFp908sUTfqttwqRsmxXCIP8
bBMe7q7jYVd5yzoBIfK8Oh8r23o3h6GW46ZT6rcxlutqNd8Nnncw4uzOq8V6StPxe6NBI3vwBn6H
um1E0Ws+7vxhjG+0RkDsrq70L0jG3LZKJFY5ZYM+fC9qqHE5XcHvQqzkNjGHU1zF7rHKfUgNhSA3
QendDllFkNiCVD5AHr/44SAEA5V78Xy1SENPJENgDqm56SA8FRZet7GwdXquB4QFGkgoHqnpltrB
06R710Eh7mloywByqtqzVZl4lpfTT6tqoheQ+YxgKkrSJQ2i3HRa+ZEBNLGy1Q3zMiM1Q9DE04yp
Xhc0I52Id6IAj5s/7SujPEK9xZ8zfpTQU11x1ftHyv9Rxk91gZUVFeQqS0hdPq9nK2qR6ZsjZQIn
1CJndZvudb23cW/DmxO+pq1EyKL50xehkS5GPZEHGu0beVOxPruTZa49WcWJPgGPw/amZ+IbtWjC
xm8gnqq+C5S5XCakUcMZLhPO3xQmTACXh/RDmy5Ey/uTk+sWEE7gcs6iYV1bpf/Ssbrc5J3kW+nz
8AkChWAkggEDbSs0PKr4hjylZ1kLVwn52fn4zrOyS751+mqbu7LcYIdpPJayK5dlr4dzExdVu8EW
alrGmWE8Grlgh9qJm4CMsYtO76TQ1wnzjW4hMgSeOs2/o8GCeSkYbLL2SM1R1H9MXGRiAmUuTksT
iyHkl4lN4NPDrm8WYuyd4/WF1RB1omYX5yh2b5NDUXu1RBpcvV6HZxtwCgJzCQKVTwM0eu17m+va
3xaetteRZsF7DM+1aYZn1AmmSxQLexDzMVFUN7VNvGeZdkcmRsJQRsfNYSe6DkFbAUhEQCOO8hPK
b7bxEJXeO4l/R7O61SNQ4tWhT9r46CHvmy7pcG6jthV/8bFYtNKMj9TXvB1Rn2iAvV/TiJlFqCpO
/P3V+Opx7fs0QTNhixpznCOd4kIgKo8zzYcGt7e22yBAC5JkW6FTyyGsd8w2vSW2GKgotwD4aFjs
n2y3rZ4Ql53NChSNzGbkRWZgJPVmM9El72ZLSjB9IgZxma1Ws3VZXD2pk4LERkcWPTc2DjNWo8jC
G1ro+7lTbVCsDyyx2gXMC31YQN8hvKGWVcX1bKETq8SbP41ih1RvGghCLzlL3vmDKU7dQcHDPBD7
d6rYwP0c4NBUjvsqHnWx1+8v1f1alBqHMtN1gPJKfz5KZH85uvZFf+nTUtbscyaWVjXxFaU4o9QC
t0QUm2fko+rHpvU21M8lN7eoiuYrqdKlZFYPpnGOgcRBtVRcLyC3Bs4CsztRQIYiJ+Yg5y4Kz1D/
W1drqMRAC4pCcpojNs3vJtk6fPil8XS8gdhAg+SIosbEU6FZuHYiTrgtAveu9Vuv7wcIPrrQPpr6
8VuHf03AhFWdrwMgNLcXggF4Bsq4Mt3EEGA+CQ2TUmKyBAXM0bfL19ZMUD/tGpCZt4243n8c7VBk
tSsrPPH6VkdBnSYr8IGPEJpIENydj6590V/6rnYlz5ydhecFk4DSyGFDpbWAOk1LZM6r5VyR62XY
RNMhpOqRW2rPlrAtdyltPi2TKqpnO7Iw2s47ZlCg8No4PgFP1a+SVLcDbWIALJUWeN3pkF4qp41O
TmZebBId0Njgs5FUcwwes1EfBvOr9ztDsrEjDhKfoURsGmwHpem6u2jQuhlucW1eR0sEUGbUK43q
bSVnYynwwVyX/8oraLohlK6IjnA0tMLbUdNO+DGzy/Y+Knpxb3Qt8AkDewFSzdt9cqI+Gn1zkpor
7k3sLv7byck17Graaj7TmxO9AZo14d3l7UF47CEKi+T76INhEsrASaCOcB3UKK5+Oyr5777r6LXv
3+xKSHS9Qs5uHaXmT4tpxoGuyKwu9D1SnIga0QX7cTRN5GVUl0hs9MgLZ5CuJHo9YtxzzMg4QwgJ
LEbYWaiXazezURPyu+fabSazdJRfQ+On7hNzRWkZBpqrIDa4M+dh7I/N6ygZA/w9zcb/7WvH/rhO
Mg7596yUe2g5moFgXfGI3xkyjcj6UQvV0cWjU5XfgKErTuDvLR65gOSFDt7vNVlc3WkUv9Tf3Mfh
h6m1WPg7YMaDwGDhjCCoC0MLXI7UMfcq9kdsDbu9V9mLP2zattADVLLn20Ir71yVbWhRCFiEGrI5
TgWCBsndYw8OviMCSFwpVA4vf5pqpQ5ORSwRixplX7yI5+IuT1V9TWUcBiUYvlbUvJZ+fbIDYRyU
TpVd0eavQw9ipTHn9kJGHuT9ErvKlmDuA8esFhugrbMzmR0dUGkcXa/7bfXWR6OoIs1Q4NR5Cwk2
niXV/6dR4W4TvfxOYAHmWra7jErzhw+m8+0VIUCjb7azWd8gx2lmv1xdV/I0idA3ps2Q3msQ9IZY
4XBrRjK7rdiCGm0B4gypXibbBj+0WRXbz65kSDbkGj/XvNMRB2iSxttgzWBv2kHPn7mVnBkq1V8t
kVmBhnKdW63Exdtbrr2kgWTtVx5/BUcnAAom0PAZK8ZbF8LcAY03EEQWSeY/NSP2QcLn/8vM1RDL
VwQgPNd4Mn25A8E2u63LbgG9AP0MKAn2XC0y44Hn1fWWRu24sG5jgWRmVLX+YiQboOvGAzQF7uqm
gsvbNNLq9PPcR9OgnPEyDZnQNJ4dWyjaX9GnaNPqp5Pn5UPfg8S4rB3UwBh6/DXn+vw1AIirL7DP
SM6xW/ogwEL5AH0KkC8sXeC2v5oachr2GFs7LCqxeNG6X/82NbOL+CuoeD5P7Rm+d8oz/q3K+Z2W
+/VX07emQLdCcdZ9z70vMueW+nkP6fNIDGAkT2z+NcpA2t1m4HaqoSiNqjQXOSX0m2y4uNde5d0b
mXVbZQ3/GmNPvUb1NlualXaiO+hktfY+RhY1mB/xVJ5UIaUP9G4/32S9ybT33hRCAVcVKpEda5so
aC2c9TqLCLMq6AzoNQFaMbyfIRXZOhps8IqLFJVCoGMHRy+OkpQrhquuv43U0d9G/wc7KKj65aOl
MSzYVCUTgthqXwT4ExUf4Uut7z0rWcQg5G8XvhhPqenyGxoE9XwFFqW821HtUpXXbO2hYHN1nUnE
A2Azqijqbaa5xEmVPoGJ7jQxUaywwBg2nZNCbs9K/ScjxyoM7DPxP4bjLQDMxdfFoRMbJ9z5Xo6R
FdhRlTzK2htWnkxAY15Jc1d4EhjqZMxukHY2kcPtP880iVhEgSaaeSbH1ZpgEt9Y53X3IHCJtnEf
+Vu9wObXzHxwRqHO+4dlb6juToJFMOj1/mKqd5W/xUXzr6bXWUdlqks7nWcdLf86a8WQ3yXTHHia
TR6POEdbbLi64lCVsq1ROPwYQoHv6EmBa0Nd4K6GPbEJVqsTUEn4yRgiEaqf9Xa4BgCk2NCFbBTa
5pM79WceNvyoYrkfwXx3gwQvgll5m/7MfyZD2v3ktdEGFlbqD6ONwukIEKO9M5j1WQPSfQn9TeuL
DQ1ymUEgCf+tgwCZ+ddcZ8hpVuBHa5gqD/DqfNNgy/NQuDo4t3Q/+RmhHtCf2p8DaARRXYboIs1f
1va4Z6Woz9yNQeSu5gfn+MZBlDzmJTj/O1TuhdD9CQzN23mlYK9OApkObFnC57bH39aeHPdugOrK
ug3TDpucCCW/gObvuJmwY1uwaV1xFFLFXQ9wDDTknwyGtKqROfp34bETTxgqc3Ln3WnqxjdfEbi/
nAZSBM58Gr1r3p8GnL/u0m77cW0mLRiFvRhUiwo1dgWRzUeqjzBl1CTjLs1RBKbAZtRHL1aFlZ/v
e9m5TrwlWHsB529db912qblNaoM/ZRzYajYmr2WI4nTQx4M4yc/i09hm0ZIiI8rTc9PxnWcZJ83T
1FS3ViXrU9SWiE2nbnk0xPAcRyWK4i1wIS8NEyzbKPlDu+PtIZEuqDjKrr0HjUGJPbu8GLdInyxB
ZAGOVtS/Y0cnIBOniEFDe5UOln07o0MQEsOGzLm0oNpGLcImRmXhIGkTe4fOGpxl5zv9eSx9seN+
L8En0LAbBI7LpWdVzgszpi8OU7pczQZYUvcnNzl40se6fg4d7+Jdg3dxh/oZufXBKz17Ww6bHiXu
QIPZYxsWGfcMWewbqaij6UgHAngfeuN9Scrl174320gtYxP1QnN03Nq5Gmo13Byo0AZCkSq/0AMI
aqwpwWC0Eis+NWyJETzClFvQWzBpiMZSLC+Nv23zJloSDyoIj/xtn/TR0pRgeGj76TKqf2zS6Cdf
ao7Kl+hIIxOhDGlWI7QA8Q5qhGpX7VhihTYTCc/HREJ85RjGSrsNeOmNKxogsmEapWbbtum6HoET
i3hf3wlX7pokZU88T/VTo9kbu8wPRsXtZzFmztFDCWlQSWY/x7FubFMDArk0CnbWdtXV8bjx8Z97
ZjYql/yi7GZfWUePvd8Wt2QLSYLST90nYM3cOw/RdXK5zk9G1/npdA5U1lEjJccNjWp+hfkrc9xG
bnqDL7s5jE5rH5rctta2r9t3k4+SsKG206/YAj62IMzFA7cMkP3TfkHZDHWWRvcF0l2WwopU/0fb
l3THjStd/pV33rp5mvPQp79e5DwqpUzLtrThke0qggM4AOD46/syKIuyylXf60VveAhEBEilMkkg
cOPeh8bvki2PY3FkWD2/G0dXUF1LlXg/TgBuKQUM0Wt5oA9w9oZxZwADbeJB6ta2vgSaCtauzNst
NbsWUOkUteIXTPazz7H+nbr/NigImHVVqkG+E1k9aZfupmQg6EWhaPBksqQ5Cu6ED2anwofBWcVB
3jxQT5DiVwzKFzyUkeujrgQrWUg8WO2S3MkwDzuPo8ro2X4bmvohqG4pH3jecbA4U8NWDtguK4c/
XKBWQKDZXFJL8ZuZdPwT6K+ahcNydlRtwD8xW8fenmuWa7J6GR9OY2RpDGDGwCv8Q6QetezoVk26
mFaiYCxWtxRQlZXuJNmWplF2JtP7KAUvsuUi/YJJFPTuHT+drEMBdS2pQVJylJqYJK/rSFk7sAx9
nVUkYuEO30IfMg9YnQLn2if3RODw1qKiLFSKTjbKRby1yPbmWSeQpUlzX8NCxhcrKImmd1mWQBuz
LZKNjR2CR/B6P1MNArg0d6A+9p/INVEqvctHV5bGyYaz1j9y3S333gAFAYL0VSJ8gMxq9DjAuGuR
MNmkrAy+MitZkQPqZNJVWXIH9Omxe6FIghFi1jRFGm+ReHNC5UKL/wCdE8S8VF352PeHRJmh4zWC
F2PZndvZFOelucZTwQGznhArf1xW0oEWk1MJETS3HowehSZkoLVlgHcYaCL6Crk6W550lMRuDM1m
y6YqW7buxzbUn/+xnWbN56g2bhbgll8g+ttusQVjrlHTVH4Joe61BNbVOJAVMgqXQrX1AypEAUm0
myV1p6men2uUuS0oqNHrdhv3hbkmK42hg04aRS+4QhWlF54M+bLTgNnXMV/agHPWOoK3xz+WdYXt
97zQrkq0WEfVnvNSRebWGfUnWdmAzxh7XoBWR0s/zuwrhRtcWceqhJhJD/zyFB4pGaIWxrc/Aw94
qm0Nwop6km+nj5w+/dd/BDBvkwmzmRjcUVO1jAch3dW0DJ+W5DyxsoNtsRU4ubE2p2X56zKdFu60
HE+6Ojt4XrQqdRQCTj+rDsW622Ekbul7Dnq9ghUTUjxq8RqXA/QFRyPBxfPGznAzeXf8EEBI89SP
07O0nd2A5QA5kB5z33l/CXJjK1/RkHSVtwAaRx8DJEQRpqt4RXJzK8ih+TxKxvJafquH6DtRVfQd
FL1Cx8DC1tTlMeziYKqExhZwYpfaCMK013MgFEq+U6U0BWYlax6ovho6Tot3UjQs/VwZrrabHhmz
1EwDgyRDgqRqJ8QXm4NFpnIt7YbpQL/WctafXQ4mPoZk3a4qLX4pIg+FJ4GFGeiQ5NDPrJMfKDFa
psLBGqdQA5iFK+vldyMNfWaPskCvI4Fg2sCE2/umDz5y/xErwmNdAIMntf5bn1sWmBu84ZZ5dQIU
iZInN8hz0IS5waYRLL26mp4vMXm0n/NBO7guCGEkwoO8HqZwSKsNN7PGo8rIrdfwpKyahT/o4FcA
IO3qj2MMmmY/i9o/hCaIYaB9O43BNNfCH/TXMegWKFzkzrtwz4Y29dstFAl7mr6TRQHOoiS7aF7k
HFI3kRfR1fKixgPLk6mfuorOKpYDEiHbsgexa5swbatQFfKJ+z7bu6gtW1IT5YwNqJ4U+Nss/om6
Ak9C4a4O7+Kxi8JpIDLmQRp/DNdbucV79/UXWET+RLlBk2Ck9lG+Fuf5gqa6c18HwNFimhqTjz76
THSPqNXT9wGvftojVWSQH/aOftbWqwT5jaco0/nC11vj4mr4kieteqJ+KMJUa+xLYc3DzfJJK++y
weFfM61Rh6Q2UF0yds/RwKsCuYRo6rfNWKzTrF83LOSrmWRzZs/kdh9u/cH77tmWghTGSMsZxRKJ
pkHYX2JNb3fUR7GTD4Ww0P5Oo3Sxbi36tOc7MGiyW6iyA5MQ6KUWJPLiXWc57ZKaVJpcqfiAmgvn
rqoF/rQgLjdB49YAv4co/rRq5wFS7T88sKw9lxJbAKAUTc9a5ToPQVP8aKOif47CsF62Y38cZi71
k39iAJgJ4okmR3FKVbgH2mun/XTqalzvEFMZa5+oyWNqvgVMRa9vzWl3vrTB6TvVDDUgqdoIz0XN
EGhzvyXITIKkykn07disevCkJCLO9K30xdRsUYRnYDnb6Osww1YLx1fvqEQFnedCcjDgAbA/dbah
j06yW37gHKVt8b+256CKQ82V3OngYWdb2U5kaNhnAefBEGDDLWN+IW8Cz/WN4gChvRVmvdZTNagY
kuOCcDSEVKOVoQZkYQ2Zvpu9Y5W3d+MAFDb3h+bPAWaD1OSt1eN+z7XqxIMSAg7jHNFv2B4arvE9
TREBOgVzadvbOzKCpgjqZ3jJojwSAVFdiIsqy9M01xxDndiI76fp5BhaQLJ+VadhDXqwzDvm4Gw+
htCq2xhF5F4hrR4tNdcfXrIk32Ucr+ys8bc5+CNeOgYug8HX/Gvgdc0mr3z3WEG34RhovAPg7md4
XAudwgH+FkdHz/hGeeYXVYbaLUfx5F7nWrYJPRY/g9RgQXCGJOq7lZVm0SmSiQVtwQiIlBHnYObO
FNmjemWK9MyBPbvIHFaq6L5qWQnFOuQ4oBqQbuNGNF/MMsOT2KrrMzW18gW/Mu0R61DnYtr4cfh2
8wV/g7NDiTsWAmOMlgTRqk/y6EBW2cf3RpBiltTw9FNXYAN39Op7xk59hakLNbHH+Xrd1yEZXgNv
1+295zzRXq9rlPozxXy4LktxXcNBujtKszVLpf7ZTdifudPXED1wdGTV840bjkng2I4eC6RAqZsh
x3+fl8ONWliuAXXcG85kdFWP16GozdU0RDYM6wYa3dspVGtq6Etl3YGa4+XwSf6/XK4azNfL0TUH
LOF2cR8yJA8GdgF94lOd+2O1AaBGqyYBaCTHWwq6fWUbruqatTs90aPFZLeCrr3Tyk2cmG4ENqXo
CUxaI7agrMNVFWn5qvGEs9I6ye0Ftuzrk6uV+zzXnxvb82+FcLJ9UyoD7+8U7OMAzlCqvO8gLKwc
pd8BWSfOPM61KcmeZN4ikVb07BWNt/a9NAfFdSmvKGrFMmrcTChsE/+r5rdjk4MTYB33/33s3q3E
WYXi3X3LHOtNVAK/3jeqluXVByHVdN8ZPpPu188k0gJ+klHUo9a5WkPfsntAIY35qVDIFGpOG59a
vzI+IcesVo4jTKwbLANlu4axRdJFrchq9zo75S5obSg2iav2QVdqTUYKmAcfR5sHJ6MYQrnqatfc
UkCXoRY5LGoMDjjRqe3HtKqVsa0SuYbCrJw9ScHPZVOJm9TS/i5lgD6G3ImeAoWRIjOAOsrY7BeY
cmlfIQavsJXQiBX1Djn4aZnMmzuo8tW3qrVP1E/XMIsaJdu/XIP1bvfxGlbFxYFuBWxNRlncYhAj
EbFNVNTDroxFjKqMAdmyUcqPGHNCzBAnA/XRgUq8gel7b5hrvGfDPw8lAYVbKAEq8/Kp42648U09
vDPsAYtFDqGItArv6ED9dNb78XNlOsDHj8a5X0RZtw581S/nPnIpQOJ40oG1oH5duYA2vY1U2gwV
Hq3UlhrQehsPHIgQxKm2hoctvgF0eZ8it/SWpoEtJDJqpdL3QxuxJTV7O2qvOp5cTadS/HAqCWVr
1npHsjZBLcCtUvA1WF2pot84J0X3qI+tt2sVYSHuqUsbX3YeKBmna8WYwU3XIuvbtWgwYLT91etk
1BJuvskTBsKQ3hInvy35MuPIC5ZjXwkFXLUgS69Xrz7UJPPsTX0icNjR9r3FjDj0Gw2cgyy+mxGH
EKqfuqapUvjTg+ZW5DZ2+WPQPE4C/KEnLTZ1kevbONQi11+73saCdnp8pwH2s9CN3NwXWO+cWnP4
PG/D6bw0F2lkGXvqa4LInj2G2CpXmAGAdSAegOkJsxhcVMOwG3iHlePYogNEWiAUhZ/lJvAAEfW8
OAGSCX5CC8WxGAoXafDRzCPsPDuiAc5mjkaxxC6MC3ksjBJoG9sAt86HcZgeBhs/x4ONCC50pq2A
fYf4j/SQ7VED2ItGMNJbfwna+b3fO6/9HsObY/TPx37yJ0IMB/0guUghaCM++lN/Z+UFlhfVQ818
G/zB2PFq9RJlFI4Qz9gDPurlIP9EMe/WFlb74oo8W7qMxddCYnNKFkiQDJpdnlu3lmsr9ZpHrLig
CZsG1h9puZqis/4HcCzdZ9utgpUfBijQAJJhP19SS+p3l+zqRP7p4ZLm2yUdS8ZXzBv5NsFbc7ok
GPskMHeBvk81zOGgNSCX0ozZpwSF+qsGxAgPPMeLQ9MiMA/KUiH/l6lTpdnZPq3K8gD66uwoU13u
ZBGKc6fF1gYzYedi56pYt9jTvWLFATXTUC8eBSs05MLc6qtf5pAZxxPspdPYjdfYMLNRzh8Be8kg
AnmQJfT1FigAWMR5y6OF2SZHy2fD96iTz2HfZ895YTYLoJC1z//BTde2J6ebTsLuLzcd5765MR35
etOGI4FkAmbxtzddpE5/V3d4/VgJcg0CW+CnqG+6K2jYnuh7N/dnyuuugYyf6Hs095M/qMin/l4h
NU7jvPnT9zR2AbeZxx/9qf+Df/uzfx4/0YGNUKD/ATNE8Cc0fcQxiHsbt4jMcGz4j20U2tc24/Y1
jPGW7y3L3U7NSMUPZQSZ9NE4BRXgm4hBlAtBkyxGDakWbQDN7S+Ti2D+rgcDDQo6FAja/uaCr6G/
uVivBBQmcXN0MdcTAqwxJ3CwFGtIGvS3wYe+GdeQmxxbdIDKnkDCkQUHapqBa+1036mw1w+XqqqG
m2vvIP3pXYuxoQ2hv9QsIE7IBlF3hrIc+WcTgd9i6bb6uS3c/o6ibWA/N3HvFGvyRd4zuCgTfDeq
lhUYlnDlPLf9j1eOyeyAoW28Ko3UQPl5WQQPteiDfYQq6a/hAOLTsMg/F2CgP1t57C+INkPPFIga
iyTcE6mGqLR3biBC8BfU3//qNo5WRknxbjRygyRks/LA27THTsvHi+LPex2N3ILRje7h13uji/pM
YCZpYHsJqjHYIu/7+FLWdn3ubGDVade0j6pN2grtS9jiSQYeSLFrMst/FNwEFgHbqi0osT5G0tKt
g2Y3RYIBkm9txf+bSLcB4J42ZHuoelPk0OBRlr9dE1iSMzkQMp7uNlECW+4ME6G6QR64HLfbDDsr
z0mN3C/tvs1NAsCF+FPP5CzD5tV5jo1MWCmWnOdYGpmsszNZ5+Z/GptG1ajnPRKmxFDdrSobyTfs
i++I3A6gxngVyMzb0fYIWefmUATvnedYDUwTh1f8lfTk19T87oDXE9lsb0hPQJkAbvZ28GaLEWLG
Auepawoh7wza84eg1EF6pWubzgyNPRiTgntMjbSFm5vJj8G+hf2gA9aVuMsYIIs73cTCnmfKWrdx
DtnHKjg3EJr4gdK1F7sv00cQumFiI0xjX9kquM/HscgDY3l1bLwby8KK6tBjOxbC9j5S4m31WefO
F8KWSN3YG7VUT3bA+hVovu2zCVam46+uRNFUwbUvVXY0VYGtW+mi9lYVYFKtchMquJi5DOOkhc68
mg1rB/ou0wSHDDSlISsHrsLWWvME4QAMktkAO/Qi5UfhAsqwnrKvOffwBF9YgA2cCg/bpKDwa4/1
SCBY8N45mCIpFtqY1ktEEt/IBbunry5tgweDPdVW9gJVxG1oomwNxWfx0bDFeSLdpFXBWx8tKD74
kUeBiujtRBVl+tABTnVf6N8S3/D2iaPvHO4DxdCI8mpbprsZzEAcJar8Tm0oUDfPsETyUYa2EICq
fwuKdOOPiIK6zw8e07RnCm8srbiqPnA36YD/fMKB3aXwKAjVFK6BP3ppaGk0sQHYtetsGtUZywmJ
PrcnKHqRFO5kJyw6SFw/pTLJ9tGoN9GNOu6dX+P5hrXqGrqb3fmdgazjIXZ6bMhVgbMKC7WUicRG
lyuTY1jL4F7DHmW1tX3Blv/+1//8P//7e/e/oj+K+wKVdEX+r7zm90UMwtL/+rft/ftf5dS9//Ff
//ahy+z7AFgFjul4YM4zXNi/v1zjPIK38T+4GxSuye0AJVOPIKeTdwABWI/FYDxTS+saKB20HZ6F
nWcveQX6Y/oS5IESF6Qytr5ZYyMWGRx7GYfYGaOvTaz8bJMYGWqd7fyzHJkTC98NlqkV8ZMrNe06
9meQhp/6QQmfzf3kX1rae//UiMByTLw0g4UUCD5Cc2dzTW15GhuPVmvdiI0kz7HHkvWyuwUSaBry
ADJJ//TPn5vh69aHTw6MyS6m865uWo6n29aHTy5D1S9UPUAHaz8wFEuD6ynMW20vBySrU9T771Vb
JkdNRnJvtxGKB8e+352lbf8P1jli9gPzn2EMNbKEwJNgh7dZO5YIRjKbwvrTAlR00U6P6mjYRwya
b7zJ9CX+z2Cf6QvkobGoAk/gaGmgCLaMeIBOtwITEWfivsfzAGXsrXXsqMjbNIutAsnnippgXwMd
Tu+sqUWl3g6HaHAeue8Dei7FChD9ZN0apXPsrX7XNEHxFduVCVA0bXUAVTV/CFzo6LFk4N9/9eBO
BqayrNnT9ynX/Wjj+WEEnedRYFdq40ouvn4w0jeT+n460FOr0GI2RZONDqwCoiqPr9OX+W+Gp+h/
vPZ/O7Qszdc7x4JOLWuk/DdipMEmLmwUrZdbDZqwi6n5ZjDTqgBWTr1a5wgyzFYbRbILatIA2ZCG
697WAcywmu6i8ee6H8YyTUMAI5yinFzheZ7VkX1Ph1gp/JMS2a/nvj5G0X1SoU6DouQYKsbRXPvJ
gxoS9hXG+LfRpj6QjIsVC/A9gIoqJPaqoBrZSMeS9viSQxnJR/FljWyAxSHWR9agjl/A+uzteV9n
mHNqrTqGQ3s3WcGdD40AfBXXU7tl01ioKsRYMoQuDra1fo5VBNpzWkNULoo+BY6AbEyXCr5229jG
/oDv3Wte693XYvTIWvxUK/CdL3wbKgm9Za+mJjmyHBhzUdVnLJrh0vhAaxZ1WO+mdioyvh5YYK18
GgJ1+/E+kwM0C8bL0CEch+1IJ7dpLxIwtiLNnAeoEsR3oVC7DBjOB+py2pwfhI8fLDXJECC9vwHn
IijKxig6MObVK90so02U8TRZZqM2t6b54bux7Ka8b3MxnOah/PokIUcHaPPPy0dS7eZhi6R9vfx8
Sx8uTwa6fCKTaEOxMdLZq8HywaXv4dNBLR2S1tZY+GmZ+VHP6+7sVKb3YHe9fx/qF2p4Yw8YHYNj
pZmPk7tXVt52aNN8ya3KeyC/urUgMFyBe9kOqzpZRlXYTZegEchHT/gRAo2vlwETlX/vVvfTmG+X
IPeKu4vIdmykxPCbM+OsOUQcs5+3HxqygVDWfDOgahzk/dRMnPxYBw0YVKvB4gsFzsBDax0snmhX
lurODZr0EvK2gYN6OjRriM7vxVC5C2rSAf4p2LCvrYzcd/76CLBwfDPYc1SoY2rlcrF0IDU1jk2B
NLbrZe6OfOXb2Cng/mJp1YeWN9qV1ykoP7LmhBxNd0bWrzuXDhSFQymwTgWTIYogRtELstBZkCZ8
iUK0Yh0bGcxkoWgyR1qYTeYQBWav0axDqVnhQurQwl8DCTSrWQcxkKB0iE322sdHxvF0PFCfsKFl
QC4d8jfv+siFnOfYebx6kNZqjv0wHg01X5f8yEUVQXknB2vD4xQVYqoXwFx24saiQj/Zg3qC/J24
UVdvDz8gKMWAGkaX7+NTDiKfL8lIB+hmrJCVbe+dMBU3FKnZazdOsUkwjhh6dvbQmDn+9zBS19Ci
Ks2xKrGjIcEXNpzSvn8iI3WBL/aHJx12oiDNUa/XzICYKkedjlUZuvWqMoZ8TS8oEGV4G6fuwS8y
TsTpVRSX9lKWnn5Pb63Sdt3JY3opct1c2lBguaeA2Tq/FYfamuKVgWetXuvg1nbkBVyl4Phv/HMB
5QlU8EWpunR9NfXJEYOhp0hTYLkvFlJl/nlqkuUt9p3fh9i6/pGKJICMQqXH2RrsXPZJq3IQt+Kb
Ql+DTm+mLkEE9KiNsk9RUp5LalLA3CTndABZ2vitUij9ZsJzrrEH/ksLpTtLZAdPPdZHX+oy8Pd2
qmUrZyzSq9uAQxpm8PbU/F1AogmAv1xvWaqH+Ycz/zyoL44c4+Szhw/dvbA+h8wEnq/LmlWR2gA/
VoW60kENfAdKdRMvN3ShOKA/sop9S1QFqMLfBZhDYNxZtfc9ABUJZj4NSnqCJl/bts+fq8RcgjyF
f+dYzi3zHBTB5KESvHgFPt/npISWB7M3QanFWN61eSXv21E/wxZ1snCARTsWo1qGkVY5pE5TuXJG
jtkQcrj3iR2uvbFFXXMAxVemG6+ZXrjpOdV0Kz1TUXHeDy0UFmzUvY5nWAwE01n0djZb5zMUBQT7
2Kvaw+yXm/IH7zv88xytPSdYCCdIrk8t6nqHVhytOngh9i4ri6Oqmh2qtrSvVvlCWckiaIcNUl75
To3dhY0qNKu+1wsD5CtgG1/5KudXOmu1Jvv7s3/2A9DzNXYYz8B+Gq2G8JEWU7Jti1XYiW4HCi7r
cW7OVtSNdLtGmq9Was7W38VaKCL45NrTl9AxvG/YnXBQXoM3wLvnPn1fRytk0aHlNFqlqKptYI5i
K42V7cweWXBmxajdsUrzDJqGrzVvmk90EAzUgwBtUCPi9kuYhwBWjnavqvJVqTiIlcfmPBY1aaxC
ZF/92kVFEcaxxnFMgMe3NRB9XrWpOTikrDA5eDrQD9iOSK+m7idXxhT2NXoNm/xF3qbLpNW+IyWZ
HskaBAB7Knc7+/+nY9Sl4WyY550rfEhIqoz7ZMm4d0YHQNHkqeGtOORuupr7f+dGfZXoUV9jIEVe
CfeRfiV0wPbRXVslBsg68etRUQQWGh/M5dTEfnx9/tU/jtldPfoDlpGcQWRx51Kei8dc3zQe6MjH
BBiqDNLyC/Up9EEgGtQ4QfokHcO6a0Mv3sVJpvatz8EuV6FWvdOV/9XQejDSFeEfRg42dkMrXgCY
x9IAE/SHfgwaSqX2SIrkFzUGNWOQ7+uXLC+3bh9UFzVmGz0F6b9CPioOdtWfDTkmLX82oKdODWN0
+9n4JQYZLYnto+6K6XR2p9LqDm+a4Y4eJw32hNZqTHDThxRFrD2jSPCRjPSE+jt/lDLged3Kdl2K
cQ8sRAKYLk9NXRnOkm6ampmJVO1szX9tknV2/l0sfRgmT4DXGGMtYFTP4N1ON5XO6mNppdXazJvo
OTNQ6UEkXgCrL82gcy4fPCLoO8WWAEtYJu8IOuhheXKGIsqryBcAit4ZJD1bMhLCkDx66WxNnQ0Q
2ai/SB8S3piaIzc4yg2DSw3yaIH+Vck0WEdQRj10Q+ffo0gSbHvjCtvJoD3RBu7C67hZfSuwu7cO
XSs8JviigXlkPKWDaurwaHCQAc59TOnWWoQofSIDo5DI+xkyO+ZOeh8Dmb6Hlu9tym37RX0Z0DKa
uFrblpOvITvLdhrHSozQnvPhdwZ7nKQwEBy8i5jxoSjPDJYD6c8JVYIcnncnLLqTo6Ex4DBQfPsA
yES57FBH/Wxb4BckHGyXAI0uoJoV+caiSgfnpkPlfMPfwiMgo7ch5J8eAFV7DVcJZM9ApHLvGKDX
cfAhL61RkWgw0pXlSw11pQ5IqmqhjtA19S6/ekRe199Pd1qbcXop8UVnqMn6krMoBEUf5L0xGSy/
6K7trVt8VluydtichuZIEZ7Iarn5qmdSfEr61MG9yXOa+OD1exuDmirWII4hvRIV3e5wjCJAlgpX
MDCDa8MlaTKGtVylX6IU+2Z0RtYIUugXOisKpIpzW1eOA5aC9CuXxb6NNCZA8Ggod016OLrvxefY
sydtbuoi/Z2saCps2Db6O+E5YWXJ2YJsDrklbo19ssbS3S0gHJ8JF1r1wIEbgaEdhlHZBuC56liD
m3SB1xVyjMEIRidzltv9PaRlR7ZJZ7CjNViWwcWBqfFjBvDFdEZ9euO7j3QWjNbZb7ZK1wWHO3ft
6lun+Z/oGQChErZp0rra0AODRXg4zc3ZapV2hr1QbG+ACRDfPdV3B/wq7Utr2hL7fkP0I1yQnDNX
EB7jKG68uMCCHXqVyU1dtOXnBnLh5KEn/c3OVP2ZhkIZT3eAGJ59cWJIkiaGrn03lvNQVl8Fl9YP
2iWWcenSdjVAON0EjEiezhYkZGFbxqrI/PzFMKJgWWsyuXgm8MLkW4sWSKkQGgBUm4Lk+iqtcxuL
O7wrVF4e8hQ7DFTO7Eoj3oWgU14SymKqwzGhppUwZ1JrYL7Cy6RBgdGMzUBJ/CHWwaZFXU4w8ma2
gALQkPMYNcQJgaAskVQqgDtGFf6D2Rb5Qdks28TMSb7qUbxPooR/B/35gK11s3oAeQQ/gH4lg7ZR
X2D7E19u0TOIyWXDHzIFF0IzCqGEo/IJHxzkeKTRr71YfAmMIYZCI15kbcXEGQWHaI4vuU5a1Rm7
BfGC/uOzlV50ZKVYsuIzAsdZCpw80wNUlXXMfATlebuumQGhQNQnHiXvJTC1fXhTvVEvQM3k/VDm
wcUT4Q8KgqCY8ej5brseKuGceq1qj4CYyo0Flah9gLngSgfyk4oCjQHyognKWeZWhhaVBMZ+99H2
Fpd3ZrdIPPAVsnrAdGX8FH1oB2ilDJ7sUIm1sJk8Mh56l9kjD7FgqhmE4GMrxcLBF5gilkGJ/b9R
nyWPOmhSeigHknb4gKfEdziBSyfHv99B3FlPWPjQ9nLyzy0P/W/+AuOEBqDFvceClRcj/UF/hgc5
hSPYL9zpb9TS+H0T+ZHiWADpZdPvtM8ytcI8R17SIUKZwHhmFH669AJLAmoDNOxCiAWYN8VKjxL3
pauv9I6MZWwuo5A1dzbDEj3z9eHNIWRG9j1y+efCkh0IIXI95NcgqoqlP9KAtrXrbt3YNYDWrP27
fGT+ZGxQX21uPdC/NfE8LLxs64WCui56DepQvfQuCNnPeiScgDyFvS7DITqndhBhrYszOvCCy6Xg
lbmaDcwo43ZB7QIEeNvpDR4FYF10enEyK1+c6IwOAS/CZaJMa/nB0IBMRy1mRxQkiZP25u362NX1
OQT66qYO7qzeaJb0uUHUfuGWGn/pTc1doTKQn2YPmluMHspt+UueuSjWBSrxP/CoOg6JxsbPV6Fk
Rz/mwYH4QFAprJmLtlbupuKGsaBOm+iMIKBz8DS8O4jIiDhDJgoRnWO/YHSOPGdXuoP8UnoScK7c
cx5AD692KbaVdoZlWA91FvkLmzPnxynroPgTReVfHPWWQ53RQVUEScfaKOldJz3mWgney86B2nap
WZBEhrLsS5t41q5xUWU/w9osC7j2PLSRIR36miHJA/gHtQniRo7O6GN42C6dOE1Do32hQjqQVhig
7dVdgLUHNXIR46lGdXZTiR0qqteQg2YHgvARElCHOvUiM30AEFuFf/MM+KOznjonfKCBBEBUQBWM
LDV4nbdtJ/+cxE5I96RA3gTaFlG0sVLUjm+VhV1vLXO1tZ9m2CxC+UkxyaSQhTxJNWUwDHD/WS8g
UYSqVOx727At9fvQle6yQdn516oYrrQtK7Huaw3onERaBa5x18sfB8BxQXgTGWcscJKP4X2XTeHM
jJw/O8DtgcfRlq9FuLwYnKVexNUS6TfxOpEG90oFoIcS00w6HLOW1Ec+k/4hxVSeJ96V98x9NAMP
+uhL5MXDThsZslAx2EPmBNWFxIVFfcSkRWezC14sE8OWy3ptNYCiYJthJrr2qjC4j2KtXGMq/3oG
PsTgPhmthV6GACz84vfBim21v/jpSndXjVQrPzLt9aSyS78RxxDqZGftygscy1t1QWffofimAjWs
b68nnh3Vo1hz9Kllz89JyJdUEMs1zcU9grCPYB3F2NSQv9iIMZGBb4u7FmbQbggDAtgLAHm/Wj/E
UjNtvOwGUXDQFMTQCMvU1XMdeQ2Q19vUg1+tqEmGvAu+p6EljtQ19KA2HINYrZDmmwPI13V8dghD
96ZrAdg8tJCB6WGUs+xAzvJPbWi5gcpnMJfYNbaw3YDasNrO9Eve+4e+yMdS5bo41ENgo3QbhWZF
2hrLjnvdbiocs+p69yFUT8PDXHc2hjcNVCyBRLllTpYeDQelxcLHjmgFgUyF3xOoGqJaHmpTPHI/
Ci7AaAJeNp65eK+tBqi6rD8YUAj4l3hRl480eCKhGF/HII9IAf5Dgie9SrPTPqU9aEpihnIdZeK3
yDPoYIxEm0auI6EACbmTZWPdgpoqd6pl0cz06rFM++S1bbDLHcPctB5+hmMkIaaMCGwrFaKbFpLE
hO1yUMUCSbXuMUmZcS6jEMpKI+ar9VN7ciNs15sb/v23CjgJzDUg5YTkfZRhxbZAoUh2LTLI3XbZ
lRYIIrHCdZ714MiaVgTe0RiN03JBBeG6ruVPIyLNNsuuVG02R9JAdAi8o9PxGBvXEYSW62eIdA3H
mb6DGD4KJ4KOA/F3/PQgCo9JRNpNrefXSZLlhiE4p4s/iNi2qR6VY8sfnYC8u2en/S1h1bBJUS5+
xKI3ObudhgqG0ok/x1U2xVTWI08L9SN1eb/ww7a/sYccAoXVEfgOUCwHubX2DMjsth5eQCmS9Acz
4rupnJs7oj3fMhkOx46jEmRIM/k5NZsJeuR33j4cuHiyDB/QI9lZZ54Zf+sq5c2E0PE3206xlIBC
+i1vOnsnU0tscyj6PkKVAGpsYOCdPRL7/1L3JUtyI1mSv5KSd2TDsBgAka4WGcPqu8fGWC6QYDCI
fd/xO3OaQ39F/VgrgqykO9wnkFm3TpHKStIj3GAGW57p06ea9A7MPzK57I0PGsyHScYQKsT89Xcf
4o6B2hCThH1v/PLa+Pg5dKI3OtjjsUwMsi2yTgBYIjhsfdgD0Vg7/ePHp6OngoQ7WSTmSdrPf7gE
DHDyu79+OOwgep+ALGq5vheL9sdX//jplubi919/ziW+gCm23z9w3nqiX4EYgbvRx3/gb7xUwt/8
+RH+I/jX38A6ULvPg+w1h7/B3uMznY/SausPsADilTLbY/1P52iV6+WoldssIEg1fnw8/d2krPfj
hyd7MMIqXw33HxyW/zgj/1QfZKC3LB9KaHHWsz/+1y54K7Mq+17/5/Rrf/7Y+S/9l/2e7V+T92r+
Q2e/g6/+2bTxWr+e/cFM66Aebpr3crh9r5q4/hdDafrJv/rhb+8f33I/5O//+P0ta9J6+jYvyNLf
f340MZoEETydPxlQ0/f//HDqwD9+v/vn/81+u8+Sf/6/317Tb78dy3/+d/oW5O8XX/H+WtX/+F35
Q4KRqKQpgiBoPA9Z4N9/696nTyg+we0VFr28ShTIseETUBxqH6ypP1BlqgmapsgyJOA/mEEVSoDw
Ecf/wRNRVTT8IxNV1CQQsv41GD/pWj9e0XX6FpHPSEiyQnkeD6ZIdGqR8ML0+Ql9qwnyVEmU59rg
O2P8BhUm0QJ9MlnXTmFwwn1w5I3SDu2TIbtGGpuoTb9IYz9bhXOFKMmiBhoU+n7aKi7YNenpcz42
jtv6DEcvg6IP48T3rLqPo685EdcwsjZ7nupR/7WJUquChh1O8j0gOjZUFUo6DoqHXPerqJT6JHzW
ik4h1C8KHDSmi3UhC6AFoR4Bbp1IPDddbxU91Ye6Byh23xagZvZWAoXpdpQMqDpaopbepFRcyc2q
9m567x2VSnoOP4XP+07OaV+KoCm8Br0uhRcEXsTkmD4/GXFggZM9Vwm9R/DM2ht1CPSiv5Uha4b7
kdFADjZsFAapLUa1tQj6ppYr5ufPcM7Z+/kIKLTHDMT8gxP8+SNQoRqDVignSgI0FQI97lMIoiOE
0HYaVLk/b+yDAfjrZV+2NuO5pQLcsBVSMskmgPngC8Tgd2+0TGKw5RUyBrXcgx+x6Otwu9Dy5VAT
ZZphlCeAWYk8G2pQQfky6BvWwtIcauRgezWsJoGReO2xTta0rVja2kgtrEL/TfO/k74xPn8EQTqb
6VPnzx9h+vzkbXdtIgZAw1mnA9xZp6vBlFu92wVOYxMjWKMyx2jNkrJhG25qkzdiZ3wP7tS//cLx
FKqkYsOgBK999sIJVyJ7nkPMTKkY3DiRXjW4cQ2tTCA5r5/3GN94rcsnjc3edwl18bGoGob0+l1Y
+Q6f8vsoJxs5lrAUn+DuvatS3iiS3nSJYFBfZpAn0mn/IEKQlwyPPOhMPgCOBJfMTI2NFKWukXjv
tzvob5lqOJqlCr2P9qvKBajE9E2oRZiFDINNNzSSzF8p2TPUJiGjtHcVGC4jfhWKjQApEMjDie4r
BRWU1Dcpqr6DGhkepVtHHVIcCbELeMslZW7Bgl6HJ6rBo9hSDTq9JbhWxLLdQzJiBA0PEpZMzcFk
E7eJH63hl2tJcJF3td6hUf8g9GAZj5GpccRUlBwnGJAUIXWIH0Dsh0KnEHkLDTnQlpUC4OlQMznp
W9W8D2nEhFS41bKWadBhLqL+mCqoeMeuNqYtIzLntBzqIMp+NTQVg3fiTZy3ANiPgT9uAvEFVEUn
Ql2MhxdAXyWYHBbQ7pUIb0eJsBkHROko08rbyhjir7X7NkDRXBo1RjnUwJOeqZy2j4GTR672NSaJ
47vIa2qqBUO/PRE7oygU0xNePJCZIXf3RIFKD1wONaavfeDBzYowKAfi5WaoQ5BQnQKgzn3FuKDk
Dc5uwqPIC8YAgSI1DFZNSqHNFxoefEa0APzrTFgFApxdekUHR1v3+fCIG66RNYXD5WQnkXY3NsJW
ylyjzDLLd797+aShDfZyvOk1tOXBhDwmVgm0A/npxGxH3hGy7j2AhjVloqDLiqoPhcBQAKMr7jOR
wK7jW9H0uZcxh59eBmVpDya2XMJwRdsQmutIH93CNHGdxv4XmOVaFQyTkISGxzus0ScuP2kNsARY
nAU7koj3Y5vZiSobUS1b/YgXmoCFRuGORYmhwQMn8QZrCJ5IFVsUdG0peNA4yUgDCbrovN4prRlB
MlYid5UHjPwV0Ig9Rk9+L4CVhNIbKbNQK7eL/AKaXIKeVNCqV55RdGZFnI8DTtbjDqcGEe9a+KnH
7VsCE2sh79ckk3QNMjqjNLmzATztXUsb2p3vhyaBNtTIEyutwfdPOFZXySogPnylZKbwuSVoAYQG
fX0ceWQhQisu95R816ovAzA3X8wPjZve9v09BUWm1/A7kqz39JioqwIDHaGsjKMBlPdy3Y3A0qwj
HVEpRDQgzV36RxlqkJmUOKqKGscUTMkNBy/TcjyoOWF5cguQHiZlQMEFyFVBabB0222ltR6TO+VL
I4b7ijaWq45AwXrHI0TnUuyqbm2B5LfjUneVR51d5ukT9CGeGzl8CHx4A8oo/JdfXcIfXCF5GMdw
paSjXnSRLfu7IkbMDCUTwPcWjC5gUhWtPbkHPPfkxdKBwyTryuS1DXuYfSeGigryYki38JX6MnlU
9SgAkHmwHHnPqNSEhYVv5wkECmixrsB3gxaQJfMKzvvADEVUqAoxsNZ92MhwC5IfWq7HboabPU4E
0u57/83DVlLknAX82xmydw2bU8WvKba5DgaPGYRI/WATaa7uZ4Sp3cAqjtchtal3QHvHfl8XqLyk
CDfcg9twKBnm9B4EhvIVQJYpYGq5Dyl5KomL3Ku7hbYkxoayXAzsns8hLhGZIog6GcqspB7mxa3n
DECYmgQOSlCs+/wMIdrlEaKqGk5tRaA8RYR4fmry/uC5aQbKkd4bgo6qPVRT8Cwptu1GHllu9mZm
lA+gvKSYrCyTnMZZeALh4gkERA6IvwUBUxUBxPkThGMF68n8a2Vyh/4e5/R9kTGiezqSvs4YLvT3
Mh4TQLUTqCgiXSkLZNZdyR8zXuze+hCnoAryxH3B+YBXK4goVwvRmLDUlnresb4Nw1Tp3kJIx5ua
RU1qi6wzBd3XUaNr5RbZJHqg1xjiQM+2yWoIGLUU29NhYrA0yNMgnkeGENuWNFVQeUVEGcms34jc
kPJrvwlw8VWrYwrfRiWYclThtsghcgUppiBpdb6QV0W9VLgiXIYpgoxdTlREKiEal2ZvuEqwbzT0
RWaQq924L6M1eTN2DOiPx8rMoNvGyPfuV88QGb8un8qH4Bv/1G0RQnjWYox8bSROH2aajidhInXl
Qhrlnw9T6KEBO1OLWsJGWS1M7On9zsf8tKVZTFwlMbSX5RfUc+9x9xF0EjBipAfYB1thoON+pftr
H/sVK3f+7vO2F4d8FgyXwkiJJr/URo+ov2EQOURq4ym3Mrt00sF0t8q+eEj06WoAZIWpG99UjrU9
rAJLWQjMr1zDzl//LCSWEyX1BopxEK1KT24EDLkOJrUNTjrVm83iG7463VSI8mqSKiq4+J+/4bgL
Iiq7L+5OM0qjMyHw1iAqZZ4Z6aIdOlqvV8fcXuqmwF953VCoxz1E4mWQR2bdBKFKzLP6tdN5fTRA
3brLI32F2EZFvltXbn5uaZuKZ+CziKtiaYlfXsFQFybwiDYEScWIz1ZZR2tXUTK0r9rtNrcSO9A7
K92HLDI4Y3GQr7Ymqwqv4s433W7PBxlE374g2Utl9gYxKrAZddWQGG+lJq1Z97g0uuTydofeUVlW
UQCmEqAZ5+35Wc930o89JHCgMR1aqoHA2qiO7kb6murqwu49fd988Z62N7taFZ1XEk5+CWWY7wE9
SfDSvn6+RmeA0HRhPe/SbE+O0lIaFfqCvLdOYeH+BURdo2b0LtwP21qPbzpGf8CIZyjiaQnhYpOz
I4lwSMdkWIoRk26KLxwDW8VI4Heuj7YH/Cm/Wd5whcvz/fxGPOvmCD9TClYZk1m6El6rygIx3u72
he4bb8KdewfvPi5iZE106tQFy19ck1YLx/6V6TM9hCoSoEDwkJqQx9NdHx6UbegBYWrWMFz6Mq6I
Qzmm6aiJfJKh28k6Jt1+/novJyxRqIiYiqoA+6g867acVkUSFTjlpHuIVZf987/x9ThdNH4qBgXm
ct6hpAgpKaSOAcE1pLIw8iUgg1x7bziswWsRsMz5echAIQ8bRXHHBP4GlqisaV5TiaDQKXMSYcrk
5kYPlYcGdmUDLjDxEnoHY8NrS1AVAJwqChSl1NmSp9BSH4nyPPgd0no9QAJvDQa5KY6cmYNyE5e9
HaW1LiRQKSICIyMgeilgjYZzTXgMYWaXoqTgTc0TM8clmYtiRlv8r3cZahyszn3RihqCZLgXZoHl
RqNJytbsIGJMK/6d42W7gsM0Ikm9ADEAHk5bT/umKontc4ORIOuVh7cRcJSQfosITDLpWwYEbGg7
XBzhGx6SQw6hQIh9QqgGQgvxsQeDIkmhlRquwQ6C3CXZuL72yAuh7sriKg+By+JBRc03Y4msBG2f
qoiBoOkb4rIfitBHUIeVhIIHGeXJeaPiPqPAuCJgMakgcOK/lNwq7eV7F9JkUIhkUBrTJb59gqEf
6qGfZMlfIdQ2xvhRqzz4lO8qPNyIR4JUESub+2H8loPQ4tedESgBa5NJziYwUsRpUSWs4BqyS8Ie
Ymg5wz1HTGVYgFcAUwHuDZ3BB/DaSde0hFOrBnbmXYcKpNJNUfjyBVTFREHOkJZmM9Q2CJiou29Y
wkFlg6w1KLVMpdRu+NglewGW8oWa62MEr6n2FZkhGIFUZhLCpGNQbqux0UkIS/LChRoeivdKmIsk
28ilTqMUZh0gkIFRYL6H94QuSRtKRtYUbwWf3AYdWEjgr/FoPeyMATgF4BPgAJ2V5+VaKyBdzT2o
E3PCa82CohDSFW6gRa+Djm/6obDKc9xHOdyXe5a3T2nwpZMy+Ghxa9KUpithQEQAHv2r0gtWkkM3
LqgrBlkgpqXpSpEjHe49u0aSj72U3KjxnZynUIdr7VoNLRjBGZBMHHCLF6lvhD5MhSJrrFqGYshj
m/RryrVP48jBa+KNVADhBB5qz09Z3q7lOoRbhupU0K5zNQ5CBLedryAb2hhycu8GrRPE+zDWzKFz
twGsHErVZQlYHS53JCHcElRB17RDDn0AnnrHWtiL4asvweRZhC/Ts9jD9Sq/x+w1A5BM86oyUkg3
jlVjZiilk4cKduVrKEswWWvAm33hFM0eB3rIlNIqCnkjigGKIFNdCb7WUGTPYOkCtz17CPJVAoE8
cXyHTKhOIfULf6UQhexy1b0NJLaBDkH0XTUGDs3ykV61oJLEz34AwCjYtjAD5ZX7PA7sWohQdQ4B
w6MsJaiDV4wghco3tGHc7pAWwSu2Y9MTYUk8pKu6v/fzATWQgI5yaI0QM1RvMlx8oYLFiAfDABnU
TEBcZsOpDDVUkLlwYZedMLCSkBwZ7qsa1ar+TR02BoEQSey+FNKNiAlf1x7TFLycqRCREj0pNxTK
f4Kn2V78JIie0ZfYtlEUAMFJqxA6aPfuuawHXKpavebDKzFCDh7FgaD8+I2e41qoRvm+dj3Lz77F
7Wi5vWtoIPSDA2CJfq+rLXY8mhlc0Vs1oEtQ65hIbjWpdry0fwAsofdlui+09onQSB+RxpFUbTUW
wHbr6IVr90n42NQdKlYDq8P/0x4jAMvAECxrCiHSUIV2sMybyjDqvAydiCi3NWSw4Ltrti3n+AWo
UIAHheRVhmGsz/sPQVCFqLdIWMxJoArcILVv4FjeUrXceAMErYJjVj+12OaqBC6HmDnglSH1JDNB
JrqiNCuxVe+VvNsUWgpwDEXNSRLeDb24rUC3k0m9DrjMkMUOQv71uuPVg0j8dSMFkFlLViGQXBW0
MKX2dLhygbiZWCU2ujH3NpnL200j7YICsgw92ZfYYNX4rYLJSRwTPVR5BqtxuJ1ouVHz9VqDFAdQ
SPVOgWz8oNTw05H9kAVCs8O5YhRxrA99Biui/gVysYdYlr+5A86nToNC7viaN++uJqEOGPa4qIfP
vIQBJgWN2WeJLG8bWYR/12OSirYEVcVRGYwIp5nGiXaFvSSUN0GoQO3Vt+IYb4RrX6TxqYUBqlbv
eQmbSzmwEIIjbePfI/ixwfsChQXWC672FmZvfZnpTZlZNS+xJBn2ozasNTn7FnHaGjrvb26jFQbw
mYMnQ6E3QaE3inCbl7QNJUiKgrflhd4klxCsoMbzJo4okAVOWQLxquEfnxa+WXbQuqfZ93b6PBIO
NeBHuAAKsh70BZ7SYxDMN/wa+Sd3hBdTS0tLayosq1a5EQLuOS5G3csgp2hOXkXqdNZpfnMrlPEq
8dSnitZ4lBRG4C1stdAViPzto0L4JvRb0j1ITWS3SDvmqA1OS0R3JWcOVNBduED5CDulkuh5EuvJ
cJd5gkli1+T63BAGAeqP5dZPoTwyobIUuAtAXBJ/yVBWTOCUDWo/C3BQeVlujlhDfE8tPwxXUfQi
VhJOR9i155KhDkDrNzxwZMK/Kl1xgPiYgMMoDaobr6TmIMZmyFU6jIudtofUYRhU6A/UipBthD6u
FZXjjQafgGGgoPH5Zi3xqAmR9qGSrVAqe4Qckl4pAkByeImBX0ghJt0HpoidKSof2xqBdWEJxVT6
A71LGbtHhcncMD+ATVP2nE9zNXxoetiNQ0pg13cPpFMZPEPMPhdXXgjX4DEEPAqPSV9iZduYqafo
vdQCov9akiOMrQBO36L+n5X+A6eldgWYN+0RS4DkH3gO9TRTwSQt+jsU+6/rKHYqEhpl9zWtvorQ
hRgKIxq2IlBXdRjXNHlx0wIvpGO9FqFWPjV9D4z7JkUQdifXHfMSFUboHaSZ+mfYPD/RALVfLm/0
XGfKZbUqud6WgWxIHQIaeEUWbvOl5WHSq0DhqT7E2FQazIaqRCYm0YcSYpWNkyZ7yAzq2Alg8pM5
JRX1MoZTHVIKAb3Bbc3mBBQ3yQUTU4pEyVGGVGgkE+wBsHSpImgxoLsE+XOCfWSoLbDorVwBkxn0
jwB+2F1VfIOxmBO6WOkDCnzD+7I8IkxjyojLxnAfQfS3zDxD1WpTpM5Q3RPuNW8xlXqoXqqvqZs4
KL5ClPMUjI81t4QQXL3TqgB+qCITIs+TtG0AQQ8E1JVJLI4pm9Dg9oqp2BMSFVi+DSfxpWvXdMm5
uEWftDiDoZpEKqVBRYuu3T8Ry9djY7yfbn6YpQD9kPtgqQnRIPvvXo5ws9aoDGACsPbF3QtxViwK
3HPbE7ywZyX/21c7QQayBDhTnBAQZXaZ7LOkLJvqheYhU+J3Kq0+f/or+BVSx6IsQsiGJ4Byzq92
jdyF5VDj64nZDSJralhPdPAZ9BfezpXpgHaA+Us8LyEDMOsGtMjrselgw4CQR1jLxWMqdwtNXLl3
I9V20sZsAkRqQVHZ9iLtJDvZg+apI7TegoVqDgauXrarfz50i+3Nxq6rtXIM+5dwlWxqg3vDsWvQ
jkFp0Ra/c2vBWZppVygX5x2c4UQ9hXU9pL1lIPvu2tfpd9EgwPZ7J3uSnuD9xGFpLYJhwuWyOhvV
GbaA+qU0FvoXqFA8yVZlczq8Cm4kS2B/oa0rS5iCz6FKMmhQFFyp89mY56lWDj2Q5GCvPI2rCcP1
THrEkXyHWGHYSg7/6OrJ5vMXeYmeYFh/tSpOYOsJSj9qQqao7UsvIPtUBmbZ5ksz5ersP2lhBpfG
rR9AOBgioEw89m+qDWEMs3UA2OBSJLwhs29BNeLb5726gqmcd2t6sSfdiuOqauX+ZaKoVPsEeB8q
g14EK7O8u0U8+OokASIMw01BlnF+nbdFGki/cxArt5I91CA/gL7umK0yY1hEZ69h31TkkcJDyTEP
YvFsMEelURpNeuHXabP21E2wGR1q0Lti6zo+MKJWz9fSFj59erGi1l9guaErs2MGzasSIjIYWuDu
ct5VjY5iHtMXyE3iVv5WpU8Lr+3abDz5fm02G1M/ybvUfQm3EDo1KYbSDVnLkOzVB6Ncc8fsx+z/
ybk8/nj0Gb9z9se/SPc85O/pXV2+v9e71/x/AecTI/v/Z3z+n9h7L4PXU4Infv4HvZOQP8DSFEUN
yQ0c6MgV/4veyal/AGNVkNzkNeCssIrERz/5naLyB69JFBlPcPCAY06k0J/8TqL+oQGalTQAi5CM
QyXx32F3ztlnIkHmRVNkUUAKhkCkb7bappqZSMq7b+oOaV4rMpEwt7Jd7XR2aGm32U5agSy/Siyg
i7iJH/w1OXrW3z3+RAk9UQXQVmWFINUqzp5CyDtQ1tMuZpyjgvWWw1qReXa/LlbQnzVwf/Ttkxf0
c6KeZRSmIOFk6V20OMsoeCqXimGNFiGrj6URmP2GhkxadVbolDsAEcXfOxkuGpyt9brNwmTs0aDf
boL6OcBlc6FL02b1SZek2WonAWAukBljFq8mRgTCVYsaA3LEuS0vhHrzeGXem3lqvPfBQC5KoNKS
XUL5V2+/dggqFZY7tek76Q0gRJATqsWJsvDapNlBlCuQH4ymPk4JvClKAqAqPZdmtRIc7ljVbDFh
eH1UEc3CbBC5mHnQrApVmtVeDc1u0AAUKzZcZN4VWzD4zdKknG3XPwZVRl5ElmSs+3nmIvW0OFfC
KkYx+rFKnim4BgtT5MrwER50GWSSeALizGwS+qUMSJ+IPzozna4drsjIfzZGtxVNqCccFxqcRStT
lwj4ehKYzDheMYjnJ1zVpXWsjWgQlaxH4XVSobNRSs4AYsPainl6ZACbX1hq83DlotXZ4nZR4eOj
WdCZELBIOkF6AufelObNrOggLWQnp0GbrbvTPtJp0E+Co1CJ+a4cQYiUbM8RHeydFmJaZ5ELc+3l
iQJiBRGJR/4iF5hSWCiXqEViOVzkV7nVOvy39JE/NNt675vccSlc/4h+zjqG+AvHDKgBOIAw92eX
kkJJijTpkRaB2ZEFbO1OSRA8dJWZH1OLM8mtegcxFwdS/Areb6rTfdZYCxNomiAXzwAuBC6UOA0l
dVqeJ4OrubySoTgJ2+aq+iKYsQVZyTvOBIhttOtRlxCVCQmD7fJS7y9mLqgIEjRrFdCP5Ek0/Lxh
Xu0jyF5B/G4sV0N3k1WOEC+wXS7n6UQwkbA+eHG6js9vsjUUFno3AaPxxzyNjeS9dipjOm/TXfa4
MJQXOxlu/6hdURVUcoBzfkGZC9RBdKFYzOJtfExM9wjkTS/uazvVl3bNK4OHpDVUnwhFHhZtnQ9e
GDeS2gQYPB+lVaGIw7zcyaKnL/ToyuQ4a2a2zqvEVTPQmMEKsOsVeMueKaL01URqQ6/18X1wJId7
Fleds7jDXKxFjOVpB2ezw+drFOf6aLkyR2vaY1Kr0OVbKNKY1V2wSFtZGE91drS7iszBwAXNpZyk
++oOymXIzi2yDaavmS22017NF1tWon5YmbR9Ca4+zRBD/rSZTEqNELWqdWFB0HszwA6zdcWFV3n5
JoFJYbFRQJ1Uxtl3PmF8AMxNPpXl1RmPGm7ImcrIakNIXP7WggO1MG8u396EgImIvkGl5BH9nrdG
+3yUGw9E+on01K7iQ3nAqa4rdnpb6/nDEqViTl8RJRA3J0NoGTE9Iv75PY/vWqkIe5jaSXa7So0a
xNqv/HP5KNq+kxzgIQ1yFfe8yISYAXIfzVJELTLITqAEz4kIXNBBoJ2b7nxW9QXQaWIiP0aPgd3q
087ZQtdaT5Z2mYsgBn09bXQGLMVDLsttiL7WAJTaVWUjlPelFdRhPlYl8idFa7lLU/cDXDyfuufN
znYclLm6DSwao48wDYN8BxswUMGxoa4nFoAOerAOH8QDv0HON7oT7YnXBobZakCh6Gphfs0gjGng
Eb2phOBuhaKaeSBXizU02FUMvHJHLMEcHWFFbEibghvsGYtQ3pW1c9babBf05CQX04QLGaxMSgWW
LA88/5BpECcRkTdxoLR/aIEwDBiRxN8WCoxn4OehHuTaCvl2YSFfOdPQd5yboLuBNXsR8dVe21cZ
Qd/5NV6DFawTvQZXs1qh9GMjLsSXVyYbGlMBlgPXBuFnFqEkkG8iHkViPib7DprQqpQs7BWXO+/U
nV8tzKazn0pTtTAGl/d3UaDoECFjguAsTJgrrUAYQYQcLzjt/EWUEydg82slkqMQjDVESzTg1m2r
98TOVgXwPAVMyKXd4VqTQM9FsL3ArUZa83wPjNOkk6UMd14ZIvhdvBKHnYvC+M87dmVqwi3wVyOz
0UtjQsGNQL9knzeLZpvhRkhKkAOKW0VY2nmu7OpoTCVgdgpYdHMiaYX8ZOorcogzeTqRwQcyVMQ4
MStWiAOMpbk35wdPq1yWpnlHwJudLojnI9iTBtog0NGE+hauhpKq1/fEiSvcbmCjrUIKidX2Ijn7
6oieNDpb7OBdpU300ajp3pQo63pVHMKyHV2lDjiJNrfOnttddFikYF7Z0856O4t4vIGHFlqMNfZB
FN5WdmRLDO3ZPAuMJbBEnL5ttp3LCPphm8djPVyUwMah3yddIQKRuVGMyvRup/cZWu5Wes6P8DzC
B7jNvRFHNfjDdOMiZmJhkeitiTo65puYZ6vxqXFA8jHg1GN4BjU/n9vzFMrH+0c+EnuPiqwX4LPz
959Dlb4eIhTnp1D0MieINdpMOcLSiXbCsQHJVwBV4lAt3W6vTQHcqinIxHAGuzjWQVlMhI7HEJQG
PBzrJ1g+IEEFDSm45eB6DfGldbbiBPDUF4+aa5sGHA1lyAhBY06c4+UhDO8iVGYioiAsee3vW1iO
mBrKkoxRz+4Vm5i5DSLe0nXiyjaPq8uvZqe5eXIJlGB0znvweWAoWGaZm0IYLV7Yqa7FaGdtTLvL
SRuyCndpqAjhzPZZ8KUXUVfk6yhC40wUZX6XSwvcSSPfLV0zr86i075NfT9pF5KF0sgNaDd9onYr
6Y2d2Lmpgh0LiU/L0/OeaQZs2Et7sYLp6kQ6GdbZEVCWHASi+mlYAVyg4ngjP2omsCFbyPEvBIgP
kL6QDb9YvFxf4ofYO7FHAxISJ4bsPDsHAz94pErJtFf795DXnjCa/ZvExO+CkeuwWlt6vdcOh5MG
54m5yq2UlJumkPswnbBTDit46J4rQ1nHJmeQpYItcnmXQg9xyZiK+MlUxj97r1HQSC5cyj72S7IV
ncgGM2qVHRaPhGuLEkXbIpICOPSkOahX1yShVYx9CGN5DJ/BRjHeQJCypiwP9FR3cGK9/3zru7Ye
T1r86PvJnAXTqQF1C2Mmg6bigcwlgG/9eRPkEq2gsAX+s1cfn5+0kYVyKRQj1gXn5CvJ9NauU21L
FIV4i3SPpe7Mtpde4DNOnTbyMHnhhXdeOiz05dpCO+3LbG8BoYdCrQ4NTDgPnKzM6AX5b+DzkZ4F
LDjKU9Hgo3rLWQsNXw6iivlAJWSXBArrpVnDosT5sdC4AYJx2UIhqG9weoRUZuezv1BbM0Vz54f2
eWuzrWyo4SiKSxjkjrbUzGI2YgdN7zidGtIh0HnQChLDv1nERZc6OdvGNPBBoRyMZqdtjB/XwQ01
ZDt28ngTWEv1NVfuN9OFTuAlYSIjIXd3vq5TGkBsUwHxu0UxOtMsd4XLJQ5c3OSneiV74Q1eLu6z
5uZLDdW0cHv00bnhZrSKW+KgtlvJDFiQbyUrNHPIFBxie+nAvdaqANwXHCQCrHB+zo+oRy+SqZNS
IrC6+6LlIAb775/37dp0UYCKYBCn/N+83k0mbYSsKRpR4RAzhUqtPxkpWhGcdD9v6Vp3TlqSZ/AZ
bSpILMRoqekexnrfBLfUXYrKLvd7FfUsf/ZGnkWDtaaFY44aeNat8xX/4K6EQ7rHvWO1NAMvd6vz
hma7VcITyYfoITxih00WHgfp4fPBuv79ojZd3ACBz8GLvG16aGPi+8vwdqh3XfD8+fdfiXjUSbQI
NU3YkFDYOxupVoFbKiZEgPOKO0DseyIm9ND+ZBKyleW+O0DKfsWtFkOAK7PgrN3ZwMlyB2Xe6uMN
uXZ9TNa+EenqnYYL22DwhuA0j0upoaUmZ/tvXBCoHoZochhT0Gxv/bpmqb+EHlzZAM86Ntt3Uxkq
z6DBopxmVezLu6lgFOR6Vh2Tw+J+dGV2nLU19fjkWBYyCiY2gmXG24PejXp9JDhVaucNrolpoCN6
sztvKRaY3szsYDlrdAYjdGE/uTVNHdxqT6kRH1oH0OmtqLcPYKX+/c3irLHpMD/pIeGgLkahJQ09
NOgfDQCV1K8Zf7uwCKY3P+/SJB8O9BmaXxe5Nbg9u6TvKVYZYFKOyQ4c9Gxq9HqDRGy+W0zEXpsj
p+3NhrAkQi6pMXo1Xd9r1BG6qNlMkK6AJOnq877NWVW4GIOaAp0CRUPggZvibIH3BXisvYe+dXqJ
iaIY7mDyr9XEokxA65Bhcx8zWPLd9DciiqC29e1fKGu+NmemYFgFm+QK+N26wGYDV4b37RsC/kaX
P1L3iklZ+YVzdfW+MjpDMKbgHxJ+sg4u8b81lU6fYTboEonaAeQblBC5u5SfCtNQVJBq/87yOG1m
NmNHuYDV6NTV1hpAoRFYbPgWYAC90eyJrSrff/6Cr+0Bp+3NMCgqhHXWcmhP8O6H8EFZ2jWvIGu4
EvJUQJU2qijBSThfghXujX0zTSDljgdw/WUi4CIx+sQN+miGeGNLeNP1FgUgKoBCwb2YH3q08Skf
CSj2msrQYROja1+z3VR3L1lQdIHIgPH5EE5R4nz54+77Z3uzIXRJkiAiQnuSLVuio5kTZ6C0F2Pj
KzHWRCUBTQz5SuECIJd81DeIcJ1g9dPEKi4PxGWQFYAL52p4G78X32hlhGb8Pizu2Vc2OAQPMqhv
yAZRMr96aHAIgWUdpPAnijH4SHpHdZCKdc1OzbRn3aJ+wpUhPWtwmrUn+3YRhVLeyhCriMOX0n/h
Fafpbvocl1REfFh8Kvggn7/Ea7OGgtqCKYp7NzDn6ZFOmgxrkUfJHPr4I38PKu4Lp7+5B+zg+l/Q
Erg6pL+am4exkAjTcij3Bwy6Tcak1RBa9Fm84WyUW63j/yHtupbbSLLsr2z0e82WyzIbM/NQDoYA
vSiCLxUkRVaW9/br9ySkmQayECz1THSHFAqai/TXnHvOIpXAhRQGSjgYHZYR1Csz0hljNGnnt7DH
Aityldsxgsdo/Z9AW+RzS9xx6LqoLlGUZZulQ+ut1b7kdmqXuKEFuBi/AVC4kO6DRdD3yKB3YfLE
3BsVZVLeh8LIxgZitm/ojVtFDzFKVb0T2MZVtPWBKlnwLCQ2DO7UaxoqFOC5gJeu82EVaVKa5R2M
xk/6s/pkvlHPf+zWwYACZYeTMYGY3Yof1Hv6snjDXYhPcAwBh9eQdAOhDue4gR/c1Ep6HPCA7D3z
fVn5Wb5avHMuuBpnlrhXD2TSWdIRWEL/ux1clSsftshK86Ltoq1LR+J0VNxLUUZ+lNboKrOGm84B
pQcotnG5yY8TK/fqv9PDcMGlPxsdt1UTQ+kNwtawcVjbM1jiQGPoTChEMFSbOaEfzBIfUYBwFy6b
pWnlLxtwg6F9G0M19sYWvEfbnwlF7Wo5IXbhYgMXJqposqzqqoSWofOLrTFJV4iiSeFRoHMNrRps
CZX9ANRA6pnOfwAaMJFTAQgeDLNImfLwj8zHfhVMn4LnYt85zOAHOxPZk281tuAsvb4Xx3dqjzmP
Jxc3FXwyNAXs/by4QZmHt0l3wYS4aVaBN67+8tqdj49t4xN7Ql6H/WTAXla7FaB7EHa6DqkDfQV7
2fW9kDo9t8a9hGCM9rMO0ljH2zS7bVGqe2+d6vo3ypFzL/vcFHerDFIKgaEcA2MXN6MIY9Gg77HT
Trf/QToT1lByRYccMsMzhiS5ATFl2uMImA+To9nSmoKEi2Fxo5el8vjcxwXjARozVLTjIa3O4+IH
MpSlpiFPGsoHgeAtiA8Le+LC1LHsBzKIaA5A9Z87Y2VkdkLVBWwPDg5IRIHOWaNh2pE7C+LW9mKZ
YH5VYkQn9riLqzUUUB5AMvO4VCHkvt7QSIlnB0x5SL38jvN5yaKCFBLjr9bMGXSa6kkIumvUkPqt
v9LsaZ053Xq8Be0/6xxC2669MKVLBrmNb3b60JQ+DKqr+pXNZ2iPHgDiHiOTWr4m5SV73O7vx1aO
qQp73fPoZk75Qj2QLAJwUCMEm65AQQodbQtBkhNZ8hu0e3I32paitVi8XPog3JNr0qYyMgNAJ7Qr
3jf0Cowy1DJ+gHzGaeHaFBvqLk72pf17urrc/kVao6To5Q6Q7R9duL5b0zW/tY7qieveWuxAuzhC
jbWp6Bo6Yvi0ex7KoliCSufoi5rQ7ETtRH34eVrc8S2xhaWE7vyhNxWcSnTFoBDFWm7O72ylScs4
j8Gr0W+VR2gshNeqG3nhPrkq3/scKcMcgIPFzuOLs4rQjzCux3lSfMzVMREgCQH3In5F2/86hk6T
lT1JrriWbs3d1yfm0i3HrPyyxkcUg2JAql4GS5I6puBXB7nJEsb54iwiBwOuTPi9Oo9BrGkJYKcA
InPwEa+aXLANMdsMYN/5eiDzpDIBQRYaDdhfqHTxWHVFjQeZdEOApHKzS93ArdbCNQha9uGmdxBx
rqK9sB6Wqryz+YM5sHJKDLEKWCcP4DZJLZpBjPyRUTSPUDty207yFkY2m8GjDRP4UQDg0bvN7UNw
1A5iasJG+NkikAb52T5FJKbfMTbCY0lt8WxfNIkedDDQox99hmwJUPsRSS0xZYu9XNyT+CHplmqi
s8wEGxZWDGkeYNBm+HpUjRMsJRascUBXsQ63yQ1FLl7f+w+902/QF2KLor3UYnNxZH9a1blKUDL6
qpAVEwT1/IeSrgv5YGjbrxfsGMWdRXnoOCZoS9dxbaChjl8wtWgFTZuQBfdfEhvM5YkV3pM1Q3Uk
KM2Ta3CEu/SqA5V7typsAELtrz8Az42LrJKJvgLAmzWACedxu1gMUwfk3ScjTCjJY7PLdorXrkA/
llmCixcfcQrQQeN3k97JaJla8nZnoebRPsqGIGBDHYk/87nf1F1Dyae6AuXhnemSFXsAi9USW+g8
iOcMcc9eMHRmO6rq57+8+ACAXng0wqr06BpprRXdLSW32avGL66m/Tk27tUTzERooFz0qVfbJn/M
Ib+FPgcLSSJrYRtdHBxLFTCiA1CC8gCISu2yNK71z05+ckLg3+BZex8r+QZsJSxuWG6Zn+ftMZ2n
FtnbdBKl0FRpNTHSP8Wt4mWO9B1/euE3eBI03wBc5g0uxO3JNSLAzQh5UWsxxL00uacfgDkBJx/A
iMScdpL+qdwAwIl2VA0MOHf3hhPvdDu5ztwcgrZI0y8emAvXOKD58CBEHe74TOJEzcIw9enPA3N8
5FeNCzU/ACXENcjqNn8deYWZPjXIbdx8DCuoZmvYuJ0jrFl+tF116xgloOmu3DD8IjRIFq/1S9ML
PDrAzOiuRz8j95JMEjXbCnt3APOeBnXTYFsfqrBfdX6+8BzPcrFsfDr+QwsVUzLhFtJvmrwCh/Bn
tEEHwDcdN0C/WT7/s2WDNA26wuApoYkaVSd22Z9sl8hMtAQZjE8heclaUBjdLdyjs8eC/X72PBH8
j93BzVcWAM8CIRTco/RReGY9PtObgEy9cAdqxYdpHzpLGcLZCnEWuROYlJCXrPPpE+hPhopA5dDK
chDr9HslXXD9joi3s5tMA00LwmjWdI0qJJ+MbIQxkptq/BRXYsVySivdU972nRfcZ7cs4ZOvTLt2
jBYRjGBDvcxuPdEjdrcndg/2jPhBeFyY75mPf/xE6ANnKAosJ3e3TmY9Qcxe+1D3gxdA/sR3lGs0
aLugXHaA5HEXzLHlO58AWUKFktVgdJx7PnufhmZLqkb96Lxu166GtWppx+xvs1iGmW9UGW8hEuga
63Gf1ULQtVkmeT19TOVNjbPXS98WhjJ7cbFLwcqLU40eWyC9uPPWmM0g12bzwc5bchOu8h2IQJzA
W8zAzMITJAVB74OcCAHl/awyB9mwggrE+JFswO7/jdWQUclFiznrpFn0Iy4skIEXCS2YyNEDK8Lt
h0ihZjfl5Q+MqrPqFSvI4SXYtg90u5QRlI+hDrcbzoxx6REom/lVGsMNTbqiemqV0CyG+ynNZbHT
rFg3/YhCRU3Ig2eIc2hRtdaGqiuhVBvHfgpOvF5uhSgAX1iUyNXHiKVq1NTWSyH0xVsJ0zYOV0JS
JoG20vVAhHBG2o5hL7+QwSy77ECrxITG0SDIQz9ATWHoaLCpCY2HXTcJU7mW8qjU0ExDakN5Gs00
nCi0OghUEMHqNZmQ6U5Hg+rNc9PnJTDSRjKSTrTAQ1aKtauFBPG6IytNGb7JSUnBCVnqftce5LoZ
0LyfUgUcj1UN7jx3Uks5u9JSIQf+Mo6qFg2+QxS3VLECCNICdR6okUTQjgi3JTy0KhVi0Z2aSBjC
Da2USR6BeAGt2xXKkkW1AUAWV1to1+i8g5zJRMzAVCHHnUQZ2UNLNEoq2wglnQrQcVCk8WbqVbSR
2WFUoy3GCsMiqSWQ92mN+CPKwBaKhSjWfUf89Dv1qQ7hDAKSTZA2otZjbEbdkGlrJSTrZeLpwQgl
Q7DTBrrgFVMiTnfgnsnl66HLKlywtdqB5w9rJ5FHcJhSdQ1qvr56MNrB124qbZIgGknyOgZ3XUIE
lUCYp1HVILHjSG5D8LRlkag9iahhDRs1HysU+ZWoFxRPqEroxPQlpHpWSsO4gaA7BoZYhNq0JaCU
Vcp+SLctGaVmQ1tTaEuLKEmVpFYs+Fr0Q68MKt2O9UCM+xE/IJWWCF3w8UbJxhhC9FQ3s5uuC2Lp
qc30aAL9YlMUk61XWmCs1HAc02k9JU3dQMdIL8y0tIY2qluAMkQJ5KGiBn3NTSNEVVLauhCPDRQd
yCjHxAugNy1VKy0nhL6nSRtjGWgPFRexL7roesorQb5WG1+aNFf2lUa4ByutGGwIyFQL0CwLkpmh
iIaVUzQ3AAl67ISJH9IS4pR+KhKHyJEAAt66zgMouflRr7kKbdJhZwIz0V0ZviJ330pUBqB7kwYs
i5hlwYSeTbNO/CJy01IwOs8oyqn/NGpC1G5l+G0D/SGwH5fg/AultkX4qiu4mxrah3dd3Xa+k411
A5nhUqLKdyr6SfKQ6HkAMEOkGRAd6iYtQzFcAZclfZbUKWlrMDkF0WhCyck0gW+ievXclVHc5aCc
TUVQoAs1lGl2raEluN/7UOp95PmbKtzEIxi2r7OojaYcCRBsc1Qa0j7Tf7RlIxUMWjlAXM9C/5df
uwbVauhgkjrXt1rsVxm5KUVBUMM70HOq4lVMoYAoWJNRRePwmMUyiZHuMCAXfB2A6bTahUVdJdsi
CjVzL1It067brtMjj0BgJ/jMIjOtMmzayNA3shZF4mcVYjGu+7BSKtA0DoaeQUJa8CEMb5lGE0X0
us2mDAoxgoFj43uG2g39k0JFA2yPVPc1d5gys7MN3fBBOUvUwEzXfSSGdecoUpVn4LnXcaJEy1fV
ASpeTYTf4GUDkE+6hW0wlsTFlaiXkZtDMCaCIg6EUP0Q1bVQ6tA0642GPI6Z6VFIxIOmGhuyDcca
TJyC0uJbrEakUQh+4m4KFOjcIjek/VB8OgRgDvUHct0YJpTbSdnTILemWhiyvRrLZrGPcrGlkO9q
UkH2VLnvivtCEab4IQdlDsgcKOTQC/jIdShtW5wt/04MejN6isSgzm7CCl1t13lZ64W+KUI0OUDN
vVZl9ZsfdcqErlLog6WWLuglhAn9OiSS1YchDsvXL/8FzwJpFEUH3Z4pqUBbnLvAUziphUrxRObB
3qTTVlrM08xceQ0l8hML7BOcONk0LDtDGmM8wsSTbtStassfYMuxmAKMD5ZVS1qJIMhiiYzFFPPc
ITy3zRz0E9sCWHOFYoh/oGi2g/7Q/S+lAUsAX9b2NwDs7PdxPgDSNjryyxKj2NA493skFboiYU+F
EJMtXoNHxwXpKEtt24BZQDlLtePlpqq5049RooUMtCUKxDr5RHNWlKpSyvRHCaWd1hI6G3oDbrgV
D+kzg3EWV6wXR1ymALzgy53Z5UZbhq0sZUnwg3EuqS7jZQF5AmR8WOptMcSepfvYNjoZJLdRIUfb
KokSYSlRCnoVNSs7Kn10cO4BStTWGttDq6V03xxxwejdIFiBypdpGDPHeNJ8NYji4AfLEBlP2hZ9
Px7xIdwzuOifO+YSlHLtf18uDs3PDUNAwutXFVjXDW7AVdoOcikAdIU8RgauFgWtkssAr/mOVURG
mQVnnGmG8gnoxMx8tA0b76YaBXYHxwa9tiau3a9vmSUr3B0wSEMIB11/V/3bDLVQUQEV+8N/Z4I7
6nEMthmkft7LEgKgfSC3Vl1CAChrzc762tIRy3d+yjFnqCDJUKOHEAWfNhhKQSt0or9rLyyfrj7h
Te7XKhr/7D608lt1zbTD4gyuuLXIGzK/rwEJQ0wjEkMD3wufgkmEKhiEtn83XqThKlyDzNaTdPB8
ItyHJ5p6xnf/+q/XlHAITo1yB12IISkYht17tut2KqqiLGjrnmRAcJe3/RxaAWA/amYqol0QTaF5
5PzOHmmYod6jvzOcsehK1jAhJ2u+MmYUCgZvG4WmhfW8MKfIGCB1B91SENnxcfyYQpQ1bPT3aNNs
etUqbvTr7ju57j3ZS1zI0AdO2CzYvHC4We8iFpDFjMhznQ8yTwfSDwZ5h+wXGC5Y/zFAeMs39Dys
hywo8JNAiZsSYJycGcMnk6rUA8wwaEVyo7sjGp2r/WKkfWkKTwzxdUATLpg2iT0cfcA4hBS55sAF
8l3fo4cQcmtrutLeFrFbS0a5naKIvRiguPXOyhTVjxgdmWiHe67wIjQr47oHO+vCRmH7nDv4Eu5K
CaREqDzNxORaMkGYZRxwJZsW6ycH9A6Ckyv2DCwO7uIOObHFpRP8HlmakPTAnpdP6pN8p62YRf/W
39Vo6+1W06pBTbcCJ8ai6bk/gV1zYprbNWEYg6U+k3ACjdW0y1+ogxaX9p117Pfe5BIDwqt24BnX
5vq/m+BjgeHEX8tJZ0JzRX6vnuvRYmJevtP3EGOEv0bXv4E+uvAunY6UT2GC3gZJt67HDjJWSejE
bg6EM4NysTkOn6FOuXwo5zaRLUQlGxccLgCkwM6PPjQ+tKkVq1e18vz81QjvJ2WBT25+LpgFbE/U
IrQ5Mwcpw4Q2U/WaCk9MX5UY1FlYp7kFdPahMRklZTCPmTz/kdTU0NSYklcfXGCPkzM8hFvD6cB/
FAId7rHzsJRfu2zRlDTkJ8GrzTMgpaC3NnMhfp20VZg/+kK+cCFfeHYwJJAFs0lTUS/jloWCNVgR
wvhVpHh3wnW9BzHEA3TEt2DLt+ObxVIVO7/nd8m5Pe58lx3orIQofi3dDnGPfMdulOIGTeUoypNt
uKrcCUW65caBxYFyp3vSpUFLlfiV+ZV+cCR+AGy52oHs0Glv6RayMl/vlvmGxy4UkfUFIQeyJbzL
Eqho0wQQ7nWQtFswUgZj5fZi5f5lIwbaFAgiTcYtweucNS2qAX5SvyjVJqSjlVYHCC98bWJeUNXF
n1KieK9RXZhxDoCWqK9y6aCuBoAHO7BPHuk6VCfCq1dZg0sQgbRLpbA51QHM4qCBR5A5RLPDZqZR
liJRcOg8xdO9yGvWqIftO5chenwbIjR/mVWQM8jO4sktLML/GrusPug3EngO8hVBVAd5GEDgluO6
2TMHpTX4XGD6MyW4KPyxixWqI9eWsDlFDYVJhPa737joWbB0dto4M9xpg7wO8G11cmBOJT1As3td
ueUOIkWOuP4NH3bmKHDmuDNWp/GYE5hTV+MTK8wyosTiWv6tGby0LaFDid68I1ZiJvpgBCjNharw
/JPRtraNAfMI5v871omAh/pB6u12yWm+sG6MKgJaGnhhLhT/4qGOkqCDZ8miUwO0x1AnWf11vxJb
/tQMm+iTrTilQWOAK+KdDF74hsIHtj+9Aa57bQwec2XF9dJDMweCHU0qQN7gHkHfCrd2yqjD+cnC
d2jy2sxrBjMOGKWPtL2QXbN8SwYSZVzMb8xc9XOzPNW6X0sZbWCWQmmAiZjWoN/wLXWZBfbC3sSU
/nt8jBn8dErjPFcGqYneg1fyrHvlSncr0E/hNpFxEhbvkgsHD20yaOA68kfMQMrVMMbjkIRwmYfO
6m7RwYmuHLJVf2KUl++Tec8R5vHUIHfSs76tSxr4b+xCYWmTbtvvoA/hCEuvwcwjQdEbwBpEbyBg
VXAIzuexolMB0jzzTVwZK/EpAXdobAcbw+p3eAaQzFyKPpbscQNDr1GOHk3lLYcoV1Xdj8Vm4Xm7
sDHOBsRtfPDx1QMSRG/ySoK6BmPGmlZkpW8ZVOiv187Z7CGFgUZfVqjn806DriXQP2LGkBFGSsH3
0g3roV2et5n7AUsGXhfgyOF7oJX3fJ18JQ+oJIhvBAyv/r0eblV14cG8tDLAbuqMnB+vGF9mHiOz
8Ek9YWXAKaZAYjFeghJfsICOL9T+AYkBUyEfp1S6OE2p2b+ZDy0AP+m9BHJ2+RBuFHinvyNdLc9C
QDhsIHZCPcBEq8TM3YaYOcTJkv5teFaO4kXDd+mKsaX7t4waIAQrHmraSOCDwD2ws+24huadq13r
j6W71Hg2B8mffxb+ZmymUc7Tsn/r7WzX2oPnb98gn+2G9xmUS3ynuGqdEnhEbNXE2g7IkS6+Quxo
cd7D6WzwV6avBA0R8v5Ne4lsbWWAow18/0yGGWpi99R7J3dAgm6XAXVzXx1DR/4ZqTA4R/Nsnxn1
VRzW5RtLAoTrxMnt8TDY9P4IznDE+69vgPkuQ9M9sK0mrlCsPc84pY51YSpT/CbpyAEb30mwkKK9
MBwUKCDZiyAA4N0Z0VQJ9kY/HvRXSIh5osuuTG0TrFRIoqOLfrN4Q7OTfb5skgKUGkrRiLIhWMXe
phPngZIOuAhqvBr7yVNBomrsomvmETGav69njiP1ASKHIBsLKDLgXmCigVDHuSlS08mf6uaZ4fGQ
p8HxHNbMbYZsqLfE33d+oR1tqYi7QQaMWBVNqNyF1vhEIL08QDdw8ET5KoJiKzR2//qAmBIXWpdw
20DVnZu7AfqvEF8Vn80HDb2C0hVDN02Q04DDfLXYWXT+8vwc0akxtjFPFiqKirRSYSx8qjYa0pTw
fp7LTeLGN4m9mMxmn/zPXTE3xi0VBGelWE3F52iT3ysAqfXqrbkn28ztr4TH1pbJEg53aXQcVlNt
xj4aY/FZudG2oOnYgs/qgU0k3f6G+7M0Os4rQZOWSWKMTn9gbYLlXkBHsrBnALjfMrc0Ns4paYH2
6apMfI5RGlMwNsORb3rwFANvt0wdszQ2zkEJc1kQfEwkM9auwi0ot3ejp4CqPb75jalcGBsvh1JH
ft0KmMrwiYklRDeMhzjdmSuQZ20Xj8DC2PhDnQ9FIw8wFrxWID3+aYysAOVFgLrMK8IFOb8OAWvM
h1uOl4W/6odSzs0klZ5TAy3WbDahRcwYzKOUIfud5MV01hTMqQu3ysVR/mmW755oxrLpIDP7rK6E
Z/8JUpi2+iOxoPYJBkBL2DRL7TXnbsy/homyMXjA4KQr3PaMSD5lA+wpgierDxFgcztpyIAZqq2o
pP5SSHBeo/5lDu6mLEkmXCT+wQFIlmRBD+/ZilPHACllaccBBqnbeYV5bewUecRsmQL0/KH7aZfF
PPDYUOxBju38/mymMgToSkUGgCVsIk9pvc7uHVYwiw1vYQ3PvYS5Me6yBsYeKAdRfW5HsCRPCIwj
aOWusHEMS3aqPXteF4PjS/vmdIDcnZ0bUTSEg/ocJJYBvhMo8cWoChg3vgVtw99gV+E8lfkguTvb
0HIaCiqEDFdG/NA5osuaQcXbpvs2uOxNX3JyL0yqhqqSjqQvtg2aec9X0MhrAlXK8AAR2m7DKO1E
re3XCyt3YXsyqgOEQgrqV4glzo3EcZ1TqJIc9Ad1H7wyR4VtFtTjTd3WnsE5AhrAwFt6cC+4K6g/
QsAMcQTkPPjYRaVdlzUpeZ709YB26EB47cqXhZFdOOdnNthVfuJACMkQq01LjgeAvelE2Yzdxtil
m8qaXlhUOfQQE7eM1lMKa8H4hc15Zpw7fVJPqzLUyHPhtNCUOnL++hvGjUWAPbfHtbhIjXPhZQKd
iiYj/4bkwyxpOqhJWA8DPYy+O7oS8qbNGuU5CsLo3yE7mC+gLjIyP5Z+Risfn7/3R8loxbg8aMb3
QnFU/TUMlt6F+YBgAkxbR04TJFS48x3F6KyZmgr50vgaPO+MZxSixmCDnl5+owIyvy7PrXGHOx0h
kUXbCslgA7w09QotucjP9r+Rv5zvS11iLJh4gRg/DV/rC2kQqmaDqWt2ubTT4/siHS0ValYi1MG/
3oYXVgnpc/QggdwRhMh8QqXv6BjRpD8Y+cofbovB1elCWfFCkIO2tRMT3M0/jUFXBHGPVQrWKcSk
PVbzE1IXnB5oFZCn/2BEUBkDwQHTg8A2Pz/UcaN3/qDBXPw9zu81FJCipShnfnTRFcDYdFT254xJ
MtIGqYo6NDGB+iUAu0DgBh9MXQz+MrobyZK58xwve1WOhJVEYy0qSBZxN0XSGaMBUNIhMW/i+DpI
wS0HxNBNU1RWibaOyrBRj3a/3heXVg0RnIKTyzqpZhujgEW18ttD42iVxRK+JtKU0bVvdegQW/Tw
LmzDM2vcHqFNlMeJ0B602Ap0+EDI2Duo6hwAns1zi/GRV3aPbNHXgzw+IudBHZwu6F8wVSpIOPCd
VpqQiKPadBDcxiBBA5XcApAIzwvYmp3sptt0BR9so9j+lWnYpoYM/uLIL9wqYOpmnwBCdaggc2F5
FYOeBhEDPoL5zjKapt1BLways6HXHb4e7qVJBsYUSXykN4Dd5fYRkZK8hOTlgaReEL3nMS6XJYDS
kgluHSWzTjOp6Q9jtPEjIB3TTWAuCk6yX8Kv2uk42Ic4ebbHuqcFNDSPF0qHFYs8hrwQiBVdsxNo
Oot3ygXHTgcry59Tx939eZdrVZIxkxB0rrA/4hXQjqzYHmd2tfLd1HS+XqxFk5xvJ4t6YwwlVusX
w43IRFJbb4jXI9gj+3WTef+lRS7saY0yMP26P1Y7w3U6bBg2d7B7YyPZCixK2ULkc3Eh0RUKVAuS
UlBQOV/ICnDotodBJboPfFRVTWNhEi9tR3AkoLWW6SGheezcAI11CsG04SCMVyBes4fyvkIv+sK0
sU/Jb8dTI9zeCDo0YIjBeJBMaFNUj2jy+J7b3RWjVhsVkIWIHqvg+veyuNzyfmkGT21zmyTT+6YA
xdqhhv/otE8ESrqsXU288R9Q74Hw0zL12cU5hWYaXljACtBoez6nhgKSpyYbD/43Y8XuSCSXhy2l
YFpTbNHqPiCiYDrl0lXNJnE2yX9a5ZGCRAnRipWOB0MdHaHcFgVI3gAjmtIl94FTJj6+tjKY1qDt
BLDsHGiViSQbJkHGKZCeJzDWCW4O9QaQg4Vb5b730HtgJy+dWyH1UNgmcsLtJ737pWj9Pvxf8JHf
/hzYmU7wpfGefgruaGRpiDSqLB+a5whlyLW+jsBhpFyzXlFWuyl3EwqvixC+C47N2di5tY2jCWmf
no19cJhM6/DG3BrjSDoTetKSY3Np954MUmOOz8lFLhhyWEO7GuaQEtjVtgI5OpvJhMPLeCns6Nti
/XBhgHxQEoKkMI01TCv45UQ3drtiG+wruKLqmg4WASZnwcW4dFpOh8hCmJMhFpk6aS2GGEp3Qu9R
/3ukLFzbxyCfPxqnJrhnvUILQg7c50GUhFWhNQ8hYMdT9D0ud3lZOeNUOEE+gCpihd4xK0cXovkZ
9NckBZFZO3py8oKmeSsZSzerbL8GfYixLZrVVFyp5m0iqU4Y7MQAnFaDV0dP0NPS470i39HuIE6x
J+jE7XV5YdY4cMq/DiFYnCFRiveBx8oLTUfyqJGRc6jgDdYTeK1YoTyxQNwcPibrCgHy0u5nm3s+
j3/a5O7xOOm6YsI8RugxBv8RoHR0vVwV5Ngufg0NfQBIbbAQhd+CktZVUzvKCB7ia/VV/mxXgave
drbotV5wVwFhJKzA34/aVkwWBRYWrXP7sU/1AR3B8iHoHXVbeOhKaT20Q6ZoUrMRO+/zDUiL9ooV
7SakdILMyvqFtb146E/Gz21XQQrqAtXEQx/LFmleQ7rgVFxcxpPfz+yfnLgxbWsitYw9b3wZlXtV
9sw6cIsidEUE0pJiG+PHggdw8ZCfmGRfPzHZUbnUckxq837kx8VmDfehyygbEKcxIGjoyPdf21ya
RX6zosYryRilpNrgdEd7bb2wTFy7ys99euQwZ8yHjIvifFBRliR5gKuS4QdZwk9QbuibZkk2QXMY
0tMgtisQHJrOEjkYh1ycW+ZWMFa1yA9yBYffhJaLvmbiZuqGJVvqxwhZ1MVCPdv05ycfIwRHGKiU
CaBbvEtDUNOoWtOAq927yOygSh+v/LXoZe64Xozm55vFYHQJAFrjYmai6+fzOrQoA8RT+gIF38TT
NNR8I0e/7+wC5Jx26pGtjELREsfFfLvAKKRjjtIXIEnhFjPtFEgwN/lLqaN7uFoT7eHr7XghWjk3
wK2ZNEwV2pzzlyq32gTU6YzalOV5RHBPWYxGY+lh5Vrs2C4xwXIND43JS6PHjjsBUt60mVpNB+CO
PKSkt9GPnxh83GercsfU+NKb7je4Uubrd26Xc7nRka7EpJ8OE70f69DylY+KPn49m/OIAiaOmtmA
U6CJkFutUVGDcYjFQ673blQWdpO0u35SXBTkbjUjuq8pFAq/NnnhxT23yS1g1pJCyal4IADF3Ixu
clAg1aA9pjsQ2u2TawHJx7W2cIld2DWmJILDzgACguAAcnOJLLWpVoGIWEJb+StmUX0Md9oxkRZ4
SxfLhZUDJxDqJYoBMsdZtsessmrsOunQNdusBLu+7sXGwsqxWTq/SUww2wC4DmIggEdE7nDnXSwE
6Jg+yOmD5OOotfLCOrFdPTOATCBQHGCOUVRu12dRQxlLxqGH6EnZ3fnaKgr2IPdw/vp2AArmTzvc
ymAHJtCOkQ+KBKI8s0J9gjVBv4+Bk3waP9cHIjbu11bnTzdm78QoF/TkeiNQHY9aHn+Xwlsa+rYv
g35MuFZL/JVuZYDnjxb/9yzQqv/5d/z7PS/GCnQqDffPf+7D9yqv88/m7+zH/v1t5z/0z5viI3to
qo+PZv9a8N959oP4/b/sO6/N69k/3KwBV8Jd+1GN9x/Qc2mORhASsu/83S/+z8fxtzyOxcc//njP
2wxsSfcfQZhnf/z60ubHP/5g7Hz/e/rrf33t+jXFj1l5U/ev2Sv/Ex+vdfOPP2Tzb9Aph74ogDxH
amwsRP/BviKZfzNNBMXY4UjqQ2cZV1OWVw39xx+CpP8N2EwJ1LrACeMAsNbjOm+PX5O1v7HStsja
CVHOxvb941+f7fbn9v65KpejY4UDIuBSBMchyj7gLwYJpglBi/NHtDeaQKyatLBG3Tcme6jQ/ANK
x5Ck3/wyqlXIOo5irpkWqDKN9rYHOUXokFIYJSeXggjRBFpXRejZy7mxScu2FxyxTWP/qqWFrj/K
QUj9Z0nrS8i6tdJQr4uyjrJdTnrjxwjFC/273wuWPxjqKwyPIH2BdGxuh0SbQB/TJMoTWFPEak9B
nVPbhQL4AvL0Zr4Ve9RxV0Yf0sKWM7QtXfmNHhBbrhK/QlF1akvPVAAdtFRQ8CgWIKpm64CBJ0d/
vklG4gZSqnSWNLUacN5iLHxrg0LTN50E6RtPQlfEwezr8UPSE3oYCCCQVtOWRm+beiNmzzULca4j
sR0EVx9ADuBiksVxlcXwYKGPnMWjl05jV9ltEU2o8UoYslMrbY4eZSkTQVYOIDhoc9SpwZMQldJD
HbRDvun1KIf6XlwhfV3lYC+1tMxUHnWBFt13uS6NdQ+5qMxN9BIm0EoiftZ+1HzXpb4mljECOeZA
wNww13HTisZH1RQJaoZJSrKdTvq+e53yjohbozNliic3bbPRjjrBxIdsYqFv32opptCWr/sAlcBU
MCIIuZTof+g2tGDcRj7kwbtyQ1BsqLwgzQZ6l0Cdsz0AfGiRYlTlgwmZCwIKIUEibluIUrGWwXIz
rSGiaMg3/uDXCeTOMzLV4OOQp3e/IlgLX2jBuaE1RQwdYDUOn8ByBGir3ujEApfbAMbCfCrRYdEH
EpiD0yZLLD0bG3mfmuEkYDKi2qOD34AHqEsSK1IShC6NnH0Osj6+xwGtw3UTRj3c8KnW6pugzWRq
B0NmZhbynvFtp48DsQWJIlk0NLKK/I0ugTs4AfabWklN/EOSxKL/vcyauHRDY9Lja0VP68mJlVw2
PEmk4zdJbMzeJn1bgCRULbXqIzIFCsKkwSiKp0ykhZzbYPLzR4gNyMgp+KYy4HXI+hzJIQR26Tqb
kjTf9m3VdE9pV5miPUEh1NiGDSm9QBQbhwzDWxS1k/GjkJIp2yVdncQ3YZ+TbGNENCW7DKelBkvL
qHc6mJ5C6CxaShBhj/tTqgSfaRlWZC81kgiBx3IEk1Cc6QRPlJoJ3wbR9zOLZH7zqjQZfQ77QBFs
cP5AFNUmAdXaH03Z+/EKypgmgomsDNVbqRnKbq3W4IW9KntSZ8AE97VkC/3UheiVHUW/WVWaGole
0YyJhlio6uhNocd5/ZjQauptOlSDcI/ulv9n77q25MaR7BdxDr15pU1TViWpJL3wyLToLUD79XtR
6u3OBDmJVu/rPuycndPTFQkQiAhE3Li3bw/oS+oF8Ny1mg0409NoBeo4K+1xNhuafdFbW5uPS2HS
1cOXHHR/SGvyZZ5bm7hWhcqfX4ygozla+rqqT1SRIAvm2nkCQq8GsKT6nMX4WSezlcb2czdWsfqQ
WbiUKO4Mxny3JirpA7vICvNI26xaPpG5sojiAgiH8OQNaapLZxvkQuNZzdJGPc1aK31Za9yfEz6G
gulMOtmy39jq2vitndCTMig1qGSKlMhr6i7oWyfH1OgXYJkVLW4jVV6NEaqNFdilmrwuppOyOOAu
ylNSoHXtVGkTyMSwuxdJVrvYXeiqvkx5HDtPK3wImKZLBdoWOZWK9XueyKUeOoVjSNGoWnl+nxWV
5nigLSuXoBpwE7xMhjE8NYoCTeW665r7ZmzjMhjgb6AuMpXNHBpjKq1fnSHTzemEWbKszoJ6xKXp
7toqa2LInhGrSxT7YFcJWoEvFUmrUgkku52XAaemTsAYhkhCRvujChET6zybJbzXMhhZ9RyvpvKH
Xo3l7IEQ0lI/zFpXja6zgMfYlatmtYPVsKWfWU2tdxOULd8joOkg58nLofM6yBC3njZ2rO6YDol8
nyYTkXxiZdoXJ110RJMsN7QXqhXJe73v2g9UI87izSBzGM+l3JqZT620BW7SxIkOC7PMKlcv+8b2
YhAe2Qf09tU27B0L0AWXNnOGSbkFo+hgTOuXNbKIY00RlboxfSlzNTfdvKy70fv/DIsuLMN6yzr+
e4r1fqgzkl1lWG//xq8US1H+w1IYIGQYUkGDJtf/pljWf9BbwagoQNrgX8B03l8ZloZ/xP4l3C78
W6iKqn8lWJr8n7epcOiYAO8vQ1/od/IrrgID1nTVBq8jDOnI9pQNB33sFK2SqC0YUU7SY/cOksEg
05AfNTBIM8H76SwizLl+8W4NYmWXFbSygki2osNgp54aeAy5gYP/UaS5Z6lndVx/HcqrrP+yvXL9
EvzTHIYQGUGOA6pV7hW1TGAxs6WqcAvSlW5MnU+pnDyNVF8Ez7UdQ0BAMV5RQOiQxrIXz2Vl0MjL
2FzLAp7qmFXETTXDSxCgLnL3P/Pjy+VcPwrflgMkioF3p8FoON+G2y6sgORIcswCVtpKdq2mcNW0
9FTlSYklwbuQHbGL9+efpoBIwqudEbW/vegvTKWWNRlWClNjmL6XH8zSb4+az6aL01ercOMX8GmE
ygPxB8zj1p7ly+KuJwfb+PNHYPoXKAYM3WMQ+HpXJ9KBp24uCneBFujz6C9BO2BCF2pvz7mffFge
rcj4iOlqpBttwNhYdGiWRbf3nAPIbH8E9wSRMsByFIofMZ2yB4Bao9KHoIEWOaflRVzu2v3EF0vm
CgvLiEZsyqw1Y+YZ9adYute0T04hAlfsHVhci7+2lrsZcm6QtpBhpzBlzzEGzwbbuKEJDizbm7+r
GNu946oLNUgizEqBlVrDRPzU+lSE0WJ/4ZYFrpSAvJqq1GQW8P4alvuxeV0RaZfxRBbRJRethrvk
A+knaQQfq2t0tgc9d+BPRGWf68rIZsP4TukUqxZFzl64kvI0y6U354Y/Fy8yaV2kbnizBsP87fYB
35w4zDCD0Z+1+QF8sXjXRUtpGcpErUBoCbnSLMIck0uNV9X+ftvO5sRd2+HB/fBoZkY1pIC21Lm6
fqJW7A3F+39hBNNjINcDSxRmE689BjLEatUHGNHnCoSuqpcP1O2TRhBXtk6BLebCDnewY2SRU9XC
jvYIki/IqNSv6ccBkHrGuSCLkJXMz10dcs4ad8jxfQxnLGCNzd4yjF4WrYAITL4BMr3sURSkNwJf
KLMD0YusAK1LZCz8XEQXGyD8bfDgrjM5Uks1g6g0hr+d8ast4b/kYxaoRPkgUzWiRIEErFxPx9sf
UvgbuMumNWZbkQFsXnMvt88T1eKoVsbOT2YzPXaoCcxS9tlSlkOFzma9pp/kRv10+zfsndiLbeAn
fCAxWGOqAj+hzTGJ0tOwG56bUj3ctrINtWy3MX9oYCoEg+I6hwwE7N7BUWa7fUffD7bHutLOwwiC
uHP23J9nTw3tMO3d4jjdAR8Zkdf8WTQ0uM0EuR/B8oGLeF8tsQwAFX7E+sj4S3TMpsSAw4TNMYHI
E6ApoQgRyTLfzam+XDf75xcmR1zTlWgwaYE9+KF6WLHJp9UHpci9A6IPBZBr61TdMY2t3lXurROo
I0MRGIDrh8DjcgvnwrsJaL5hYHwaQtn6aTzGUYXGIDr1GKQF0fHHBQpt4nnQjZvnjHJRHgMJSVOr
MKpHXWA/L0Fybh9ziOai7HZoz0xDWvtahOj+iJGo+iaMoZeGFyjYKjEzA+Q896kb2c6XXkElC8pU
LoRcXsC+Ql200n06JO68TAe1w22fqndLNZ7MHBRRKF8OkJ4s7P5k1MAmot6TZ1Ay1I6m2Xi6DUlM
8w/J+mhQDPsk3XOKMfeBVP44Qa0vTvyKWsD7Wl6rjx6xaah18JrU9O01koHsysfO7QvwFCovplbg
PNiossW+BC7vzhEBv7a3GstH3REgM92EbBy390ZagQGYlSLyNIvI0LixWgeVSQXXmut5gVMePWYw
BqJ3iSxrC3qcaNk05qxiQ2zP+G6earCVtWet9brMXYMySHxR83fHJJ4fKDrJKM6DUuMNQXRxo5Y0
1VhZByzvCtL1OsRMkhQBbfL0FpeIu4Bo77bzYpHnMjJpGFy4tMj++YXFtiEdzTWWr8j56mrd6M4J
+kVz9aTrqVfpPf6P+rdtbq4sb5QLDWDkzhF6YFSNRj/+SbwSK6UgKdE+qpDiY+waoikl/s4wk0xv
3oTwPIMqcT66rcykaGq8uOZiyO+maUhOetsUIpox/mzyZrirmRvx0GcxSMhprQblVD3XThXKXf/u
9g7yKR8zg3DDBgKhbrJRptCbmnWWYaY3l8alKSqBswzALMbv/8h0Q/S99jYPzSCQyKLNjfjGJUtz
3edgt4c5PSqfUhQOo9kCG2r2VB5kvN3cUoe+tEgDR2SUO5m51VitZMEo4PiuaZ9rZxKsa+9jXS6L
O4YQIyhsusCCWSQf2visrNnZIrMg1eQfOL++1V+bx3MeagM6RuBRRmUhKQ86RThCkdgYmoDKRtBX
Aq8lWBN/zps4W1bwG2EUDggE5dBLd1IrYCsRmeDOuGRnUDBAYcbtO5SG5+lpydsMM7fL8+1DLrLD
pRerak7grocdBT25kby3a0BrTVFqzn4t7wBBHoHuqaHJqDKxX3HhADWyLopJIKzBqMOWgHgrhtPq
MxvskI4ib8u1Q1lMwcXFbCZukQVeRf7z5LFKgdyHNRJUD9MJghPTz/5YgfqDTWdbBYgD+nfqQTh+
vrvKC7vcNxvb0SzQdivcX0yxZhGloenLoRYYGJDwRFxGm+fV2zoh2gdMjAOny8NC02WYawOdrL/0
k1f5nRQQDEmXQeY8/7v1Xdjjno15qykD9ANad/7EwO7ZqT4TiMNDi94Vq0PveiYITuN5hVk8NLav
j0yFjl82Oyx8OcMnMAA/0viP20d/N0JChOQvE9z3KieT5hOr3rFTufoEdYTPM9R/x0D1Z6i2gvYB
qhVCELRoZdyVG5fK7NAsg0dsyZPqHGm5Cu7b7qV23nSIID+IcHy9d3O/NrKRIA4PUxEozgSFi9I1
pOO/2b8LM9x5AIlebfUs3Ntfuq/FuYRcHZPeXU/JkT2IlO4fHIvNE+zt0F8Y5cIklCsIHrfM996z
yfl8cIsD4xEqXfORHBvNrSPR+IFoO7kgOc0dRdsP6wS1z3OiEa8ujK9oq/+bGHaxMi5SUtuMUUtm
22mCm3KqPaM9VN0crnITAQDnCr7ebsj82xxfaYo1m2BUB+bMLy3mCn/Knu4tH5p78yl9zDxQMqde
vbo0gqSUYKG7F+DCMne1JQtzSBNLOqZsDZQ09XtAKG6vTmSCu9qrUsfNwEw4pHPNJLT6/6sF7hYr
xLZ6NcX2qUX/pZesh6FSo9uL4ODpvwIZOLNA8sRGTjdUT1MyaM4sZ6jse4B1HPtHSOq6OWIY+VRJ
rnM/B19PrVf+kXuK4lqisvTuQ+nCPN9IaTQ5kTBpxPzjDFl5IIGznw1mQK1IC8z5p5if+L9YxBQq
dP6g+cy/OidLBtCh+tMi88ioXqUhIyZrfGf6LH6xCC1yPqxKsmxeLeQKfSifwFiMomESKdHsKUEe
SL4i8pnsbPOZEABRf62Qc1/KUGZ212GF8skIRzA5BKxyowQD/l/he+ztC92yxnkuR1+nDrJS7E1B
j9qZUY/rYflPKJP2LtzlujjnRbKFWkDy/MpF2LCUVjA1E8sbQGTUfrELy6cfRF2nnRca6A9Z+QAD
6DbQktdxzogn0nYqKnBDA8GWpmx7f8jr82wMX5Zx0H7fpyCbBOM4Q9qh7sstUYMuar/EDpP2QE25
BEV/LnLK7Htw3+vSBD/XV8oUfbzKAZsPeTcDMeHUWggnDdm0Q7qg1EfNf7MmNAEY4h89Uz4xH426
N5bCblHmGZ7HrjuUdvXjthfbiZ42DNhI/DHPvXFiujbEjj2hu2zoP8ehjUiuHcb59/jB3lzlpRXe
V6UkrlKgCfO3XK57x9h0QQHO1F48wHgE7z/2pbnPZKOew1QkTXSZ+XOH+IUm4AJjTICxONFDcwcV
gUjEZ7OX4INVAegDQBAsayMVS+qq1IyWlRwgDKr5CRSQdDd56t0cdTFRVN5zhVfWuJhpriC0MhtY
S4+si82sjbi+bMQz/Qf2djzG24AJJLJZzcPiPOGidqtSqMDiTE0AiWW/HQb/9snbyRXBIwrdH9xY
yDfD6V77B21s4s6uuxwrWjwlND1zOjKHywLYrLvZd+ASBTF755td2+R2MVaSBO1PNP8nNENc1vRy
PCWKH9mY+r+ImOBpwKgVym5wgowchXNKaVO3IN8YkMWBn5E1vUYXBY9g9TDtjPgl4mjkPS5nju+8
rtZaGIBEFm5u/Jitny35ONmPnS2iIuLPxpsZBZAUE5hrkNpwjh04sFjv7KTDCx6thkA7V5ghB3D0
bgoZPY+seBa2993t47JjFJm1A8QINhQtf+60DHJZkFEFWtY0zgUpfYW2Am+7ORxY15UJ/nCsVj3a
FCbyOzBCuhDXPX4v3f4rG54WPdd5v8vb4vYQ0nfJCvGj1l3L2CsoxvHbT1b1b/YMIZiNxKEvzjPP
k5FU0GSFPmkPPpAcccQoRGno3mdBI0IDrSrC7qZcXzZ5saY6wq6qVvMpt3LtSNTOFtTbeJeOUwYy
UACT0OsA1RDvKqax0ZLKmipgkuo74J6Jqw9OZKL5ZPfGoZar8+JI9xhDtwSGt8tjhllZjAH3NyTB
hjPkAFqOQExLP8cyajPB398eg6u/zxP/9kaeL0oL6vrCzn2U5T11PStaK4iIb5nJZUh82z/A4ywU
y1GA41l5KlOBImoP8Vdt1JXq6GC2SHJNApn42phde/2qyHIN0D+EwlvHSu+MBTNH6tB2UVwsq+4l
EwYGJFWCYm5hO4FN0vxlmXstyirVgYar/aUcUOzyisE0DqQe4gnqrOSnbC0PlJDv2AMvWWLDz4iG
UbcuB1A1AStCmSyON4+d5kFBEbKha10HxZg1/kTU5pM9284PfTGB6G10HCvMjIeTMzp4gcf9e1VJ
9Ug2SeJZXQu8djFUx1xTxjuZjpI/OXjvtVmpiHaSyy2wkYCu4Trh/mL4h592q4weo94jBXqt+2yP
z53zrehebzu6nSNxZYIdyYtqbFtZGApeYKLo/iDG0zh+M2PBqds51VgAzjN7yAGEyQV33QJ5wmIC
wahP8vgIlBw5qsZSibK+ay4oiHkwTjXMpsDxMMoUni6obLuxkWaGzEQFLwN1qn60InxmoXb4pqb8
ZklX0KRky3H4RLkEXYuULSiUQKccff/aX2doR0edP2JOdTU9zIlHhn3HMH63P9aeZcB0QFDEVCm3
nVikZUniJHX15xqTd3LAaDgYtby2oPuueeQlDZRaFKv4lypW/MYuj0UDAGvKXGbhDLUNnP7bW6QH
+sDUZ7+biYrGM+q1rVdMjo7SCvSnSzeTTAgxJ/qgfwDmXnGJlK696FuzeMV5GAU9RaA/WFPe5gEg
i6wQa1xAT87mkpmMVwLecgsJMSMHEBf9NtAarP/KHher0cckGSR+EKuP2aF+pIcZpAR6yFLvRnDn
N6k3s4XLjv9g7KOIo9c3ckkt4ky9w+AVLE3NgtwAwxjTk+gjPDOM3BXxerMLyO/mhUX+pVk11uhg
JAlhgbyTMSwsj8cVDlrLqWslfSg4wzvfTtWgTsOGQBWcDy4XUTNVoVWGs0RAd5p6jOTBRhkL8jHH
MRrOooLtW7TmVndlj/NwSzsCP2GsSEce+6PzWr7Qb/pnCbMMC1juB1/286D9AMwb9I/7ZwZG034A
K/x/XDRzwxdudqxBIirnWHTvr+ES1D4m98P+TMFnlp7be9Gid706RuRA0YsHz6brVdmTCaGQtHVt
7VM6RW0L+WhdEDl2ElhEpwsj3KVIaN83hoOx9vrOaNxfDG3ENz+xHhAELgQ+aHdJGGfXQeuKhjhP
Xjjr07TaIwELniZ7lk4DbdKO+vIi+FDsR3OnxdD+NqNxxDvIMGkX9xN6/PhQMSSkoRwDTepQ+qlD
zUX0zt4LjZfW+GdGUa+2QRF9MaUW5Zp+gFqAoP+zFzNQocIoKCOoVTdoVaLl6+h0qLnkdwn4gyC9
Uz1nJ8zJnJMK/ZnJb8K+c4eD6IPtOTKAFyBSBg5NxEl+EnUx8krXpJqVYX45Min35DHAtBJcp3wY
x3vRdm66eCwyX5rkrplN2hYa9jCZHxmLEfA8LRjUddAkUi8vfBV3vb4XScjufURIoQBBq0CkFmIM
13e7mZZMmSmosLS5c23lrio+3z6UOwZQE0EGCEwD0if+BZyXxK7aYs5d2QZSRza9VoQJ33nxXFng
fCS0p6hNZ9RfymN/1MDww9SnxEqNe2fxyg73feSulVV7xEqmk4w+QnEY7zBlwrRxskj6krx/0zEC
a3J0ewM3zROciyu7XGV/1UuiLmwHB0wSv9SMfR5jO53mtpbbfGclEqZCxZw/5FYO9R/CxG0ngbr6
AdwZ0ZJyzdsaP8B5+QUVTX3tHav1V0JWf9G3tK+PI6hVFLVsYSppPiaz5Wkr5k1f7eVllWUQxM2h
NMb+7f0VflcuZ0EPr2wldn5Y7j2CSyvzoLMNhZDRjQa/iAGbcpPW7SMRL8K2BgXtExBlgAkLz3VQ
hV4vdnTSMpe6tHGtDJDQ8mytiW+ur5Q+3l4h+ztcWEBdmYkeofiqKXxJQDOLucgHVPLU5gHj4z+H
0sIsw4Nkf0xVW3Bad677lS0urvYtkFjD4mBS255cR/s8TCJq482u4YENqShVBaBCA5sB97myVG/T
VQbNPN5m93OsPJmAHkpa/TFZV1E6uwmob7ZMqJvqeEJs1Fmt3smTMinx3gclMJN9c0DgCu5MiHFG
yzdFyNaySS85e9zxH+hqrNMvewqUloqg8upvTC5QD/vIeNKOv3kwYM7R8NpEvwQ9L/4tKFdgQrAt
bKVT5niArFZYUvlr7mSnRTYOpUY+3La3dWWcQc6VNSvNNGLAIPXHt/2MnY/0dc29MYGI+IQY10bS
e7tyE+o6xx4z6h+UPLj9IzYnlP0GxpQOVDAIrPmAZNEqdjINDwaql65EwrL5etvANndgFgDIlQHc
gnQsn+1ZkkynNEsxr+6qb1LbYDnx1SfmMcvnyRUlDjsLwnMejNUOUGJwJtybpLKNmPQlBggaoI8H
UEysi+BSb7NlTNfoqFAwzTTHRlp07alSDU3RsaxrN9cDJn/CSPvAGUOQW0L/JBCFvF17ho75d9Yv
gpQSt6TZHGezKwZocwR2j+x8PRTI9sidHv6T0YRt5sWGhy7MsR2+eOA0ea6YGWb23R46Fm4NlRVw
SFbR6KXQNVPd4ROr1f8Deuwd93Jll9vWAhNNVlfD7hhimZrP2LjnU3WcjgyI9tswO51bJnf7zDmz
WykGZp++Pc6ZKhU91CgHYFsPi+UKrsGmpsWZ48LblNuTJGdYHWTt32swlR310D6LNf0YB851gOMs
cW6zzudZm2UszHq0CN7GYfeAyVAwq2ZeGwx+894+rCUm+AMNA1QozHqClYrscyFJtRKqji1WqkcA
V3v6T9ProMJQH+qPkHb6nEn3y6f0sNoocTFBFOGH3fEAGBB3ULrDVB3UBbiXWIL+iFw5K67nEZhU
gOQeuggsCN4clIcMTE8lCO9Eycuel7syykX6oombpUlQamEvpD7zh/vx4IAb0Qybx2T6BxNEO4Ef
tRA0CAGiRD2ZHw+2h2ox1hyrnKcXJ44mzXEH89jYnwVfk926q3QJbPxwcdBWBOYQT09uN8u4dOyc
9exYvcx4be4rD7LzjKJXxmRUAbpSzwxEPTt2RG8Z5XZzViyzoqZeY7LCTNxkPBb27Mfpw7S+kALu
yPrtKiS3Ss7FOpK+kqw06rd+awxVt8ZzgvQjKGLwzkx80XHZ3VTNdGQIPCtg5+HMSfXsSD2wcriF
U/KxBJI+cHJpBcvMUAa3P+DbQeD2EkwJAIPokFjQNuLtpCT1OK6AQqnVmqTuWE/j65g0rUtJOR8x
MaMf+544eO9azeKPQ9V9bsB1BGA/VGmtuZFQqhwXl6yT8tQ21Ky8dOyMJ+Sa6uSuurF6jbb0d6kD
RjPwIhrd9Jj3trm4cbcMyn1erVbsDvYc517cEO1g1Otce4tRzA+pjs5c3KKz7ve98qjZGbgQelJD
kbYdMLHT0f6YGaD3aJoBTaJVtgukgZoxhhmSFnAIZaAiaeOmf3Yy2zzRKc5CecoxNpdoGBbohw4i
mJldleEirVXglDT/pBZGfOhbmRxv7zNHJYqmBSqgKL0ihwJrvYwn4nXYJPZSJZ3UMA/wC1aHdymo
fb4pz+px9pwIM4z+8lo1fvJ62/L2MF0b5vx9PjYkBeUlPEH9WFunzP5gKIK+z9YEhjMhcoMaL+gX
0bC9XpsG3iMyVVAH0yDFMaCklpRfslzganb8NtohKAliNk9H9YUzAnaYDuQYiFuOczT6O2V6f3uf
2AfgL8Ll3+cCfu/QxNGAoXZrR3X1RAUa4EmSXuSRHu3hT0aY/0q+wYLc1hgoTNDbUUEuxt1weVSH
hCpT/YYlGiL7WBwZ0fJvowHQywAABskoe5ZttDWLDmJHoN6p3S55XstPMTQi8Xi4vW/blgkzglDK
EHn4Mjx8c6xXR8lUrCU/0uN0n/qMoxr8iKf+Pg4Etphn3+zbhS3uIy1QnGlTHQvKoJ77EEdDlPrU
XUAGELCkU2Rv98xdmOMuLVWg6lqzXGlVxvV+6uPaK3qqiVa1YwbuAVNgqOGzwQQuiLY2Cro5K6ro
ELXw7FOXuMQbDwuqmm88w9rsFkId6Z0jCFQjiEDxFsKL1uSCKAWqiJQZgF/yab0rIfddsRfDIRco
PO+lPkhDUJMGpg3qtSa3h04256lDYWc61QDOkQj6LoH6g0I3BOwo9+q/OY8mSGDw8sLSwHLKFn7x
QCn6xiTmAIP5EZnBc+V9B6mfmx/kg3G8fRyZy+FOI8NPspcXnsabcq25aLTLSh1/XB20h6U3+2+j
I8mvSi4V4W1TO688JAKgTAblIzpqG9lJ3e7AiFeBuphpoYAKD/BAXLQKKpeEgYhFafK2maZgBAeL
Q8WNETHxZ9KKK61NDat1OzTvdFRX4mN9pq/Fs31cnwfN7Q/gPlz8HGEreQH3QKYEjSBybYuNcCkK
c5EQwDO0zb1Ia3OKNT3v8BtG34Fu6WHF2TGi6n3+UL+zIqaIJO697y39yix3MyywGzeWBrOs8KJh
u40nMOs9OWEDlDjj9im84q7/WkEUCS9sPxXdmO3NvF42Hxx0sB6gpwImEKiFlSChtyF4cUDz/9WG
3E5CjuPXyq+j+QlbH07Ptw/a9kzDOPrtMgoKoL7lvXlDpsUCuKsDHf5DXJwN872+Ckt3zKFdX5xr
I5wbX8uGWElSsFcD3ibAwynRdMfgcOKCz87FAT2SAr5BFaU7TeZLoLmdDuoiZR3qBiDJxtdbf0l8
MorxDHobgjRi7+PpIFBHFRRjxBvlbH0sVyXPgJVkH+9/GyyyEHG6fQIx0qe/zbCQcuHkjKSe577F
i6TXk0fwcx5aiGi7GFh6nYn8Yk0ow+fFJDqZ7OTx3w2wNRmsVzreDHwRXtKkJY9rs8VeMo545RVM
CZ1vvvmB/kMMEfvbh3EneGCVFwa55FWhDe10CR62PBohNnV+SUOUfTzFaxEjU4x9ieoT7Ohtl2gj
FoMle5vNWJPcdXD4rZv97FU8uzzbuFM6EVvZ3qk0mGypDT13lCL4UxkboDKOQTX7VixnkxMr5jRA
iQocUyEmrdmmTXh7ODAEFTs0MPlqgGTHKxhtUPU0HvHyYkOchUdPA0aLj01YR+bvJzTI0CFACCFf
iE4Bxnl9Opt6WOu2Q42ndSDbq0cL4B8W8ViDXVHfKx5TdhN13nYc15VN7kaATyIDwSg+nDb+Mcl/
VJBnJb8pCMFecbh0jgHiCmAHEIS5ZKbKlq7DO7p1U/Dq/lwC09NC5pot4jY1BNggYHJkLAvlh1j2
bt8F9vu5gwm2fyY4zRpgaOdc72mSVRTkwxh7Uaq+P+hgsfXtaaoEIIKdXQTvCdgV8cwCAQ0f9lVl
LZV0AVY5axZXGcFVm55MUWDfWcqVES7ATstsV1SDka48Khima3LFvb1ZO89t1kLHU1tDFw/8Qdxu
zbNeW4uCOgUJiI0XNyPtqRC8k8CC+yDvFQB0XFZfFLFh7NTHUYjGwWdRBz03/mbnkzJnVdMBJxOR
rxbxyeylL6bPGhotFHuU2bMykPX8/vFnZiEjIGO5eFJyJ5MiAjZyDlBknd2BgypRX8ZMVAZjf+P6
CDIbwMhjegPMwvw7P0GsMYeuZyP2U6BmHgBHKUZv8XbQwTDiIClxvO5He2oeKUJ7JPikWycG6xj3
MVAQw5uF70UZxGkIVYBCWsErxh4S48EKrOfFh7SGL9rObRi/NsZ5E7xjIEgOVC6GcPojpDDPjNRQ
rIS083iGHcwUge2P4Vl4h0KbIq4Kdk575JorJAaSU3mGWp4v5qPZzAWiwndliwumizlJySK1ubuo
UK9pwfKTN24FQceaQIUIw/B52EPGqjY0gVP5L6uEmoeqojm8gTcvjVSoqwUcLeY3TiwtcsCOabv0
AYxdh9vHZOtbDCiJGshhcfdV0+Y+3IhvZhkqAHHY1E+t3nyoSxE/5Db3Aj8Mo/FXAd9nNb1rT2y3
9dqgyYIaqCm7Wdt/Krv5HCe1Ny2ofU9dfG4aUea19cvXNjl/ZleyVBQD0HdMqN7IXLVEGE8Qxvug
/ziBEAxQ4eUsqn/sWkW4U4FEBrSMR1qD5xvv7BJQPEwoeuUg+bTtDs7w7rc/GSbq/rbC7WeMUpgB
2vrGBav6wVSJb+jJ020Tewtheq8MXg9gMx/WyDQ40F+GGglmCj7Ukuz1cRWAA0s0yrkZPsMdQ1oM
6DZ0hhxU0zk3PGcJNRvDZM/05AG03AHQGW95D4NsQ8O9XioIxQsTrh3feGWWu9plStS5VXE8wDp4
pC+MqhiipX77DmqCfvf7V0yxbJCsQCfRYbK91+d/UIhikBlTvw3S4xoCeZPgQOyk/YbqsCEw1FQA
JOFBAQ14UeVeYct5XkPlrkO/pfBI2H5NvBZCYiJQwE6hAfYAzMWDDWUvgBivV2RmpJ6sCTcaCsSP
HQmrDFj/LOjRhY2/z50HCZtfk3WibGHnXKK8wmizUCJDaOW2EmoInVJCRwAqOXdLQfFmS4FUC24f
/p3HhgElHuwlXjU2YJrsV1w8Fomm0VmF9ARKcPTOClkRZQjzhwTDgmjwiqwxV8RlCVBOQdqPCgK+
He80jA4V4d5+S4AwJxuU35naOXuyNZ/tVzGydmcLr8xx3mNQ16TLTMQW6oz+DMLNvPExNeDe3kOR
Fc7/oidRUJ3Cily+FM5HCEdrteDU74QVnHjoK2PoA5M6fMpalWASgipB4yoyYCn5u2p9XjUbbdv7
ybhfybffXhAqzRCvAWGMhWycO/IIxm0vUxz5Rnq15h+29lNNP982sX1KG1cmuC+zNMVKlCzBU5pi
PnAspi+oYvqzLvsQPxScup2wjyaHhalYwIhwl9n3uzjiQNwTTamh94vSkqc0B9Wi3u3V7N0iPMCQ
PMBXgEeQH9eIsxRdZwW3yHphFVigBn4kxwm8tn3k+CJc/956LozxkxpNhZsMRgN4wLx3W/3QaiLX
s5eUXa7H4E5Am+ujnagwQf0anRvmZOM7AwUIei/M3bcFP7D2/713oOa/+jxSy0ZkWTpd32lhd8JM
okfRI2qeqlBEbrf3ALuyxV1VWijdQE2sSz4pYRsqZ6l4djwKgds+UpqQ3qfP9oNo2GXHP1wa5ZX4
JDz4cKGQwxDrtUgg2qqUXlcUwnct2yjOuSJAgVGB8VGgq8IFDKusE6iyUOTtH2e8FhR3fc2i+MUM
QXb8Ivxsu6fwwhqXVqCeovY1CxzQ0A0Ww+1BnNl4UH3KMtT8qMcqcJ4wGu8elgur7G12cZcdAp2Y
wkEAse/N0xBV98A33neAeWWhaCBq51KDKoDpSNiQkgDagjssc2EsQw82UrxMmo/jHah2Tip8FRry
jZ8jQEa/7URgD/NeDtqx8L38e0/uR1lqKZAQTO9Z90p/mo5MI1INm3CcDkLu4i2u7Noe9wXVqqOL
qWN9zgu4kyG0aR6HsH34B4h/tlPXJ5NZQlEMFQgw5/L1qQWEM51h1sydTKiLKe54gPYOgEBg44im
s4hTZ3s0YQ7Nc6igGcjb+FlTEC7kfdyUcPjjqS86z8G74fa3Elngtm4aB6KoMT5VUgJhaCaB3FFB
1OIEPN9QIaqGggqGPCEysukWVBirqmYLR339PqCMTlwS4TS4g18+dN9xEFHFf2Bdpq7118mNv95e
4TZAYw8vrLMduLholR3rZqlhhZ0BhpEakzOZFUmtA/U2QQVg3xIq0ChOMUoYLtaMTpmMrYWvBcJO
JJ+DvDw0YFAO9HxoDoRSRxSsdz7eWx4AEhU23s+XqmwoYJWpjXxt6TE4qgbWtx4suG4xeKabHshj
BuleqDvc3s89b3JllW3DxYYasgTdOoLP+YvBYj4o6FKEg29iCmo4KD8E5piz564cdImBnUZtAJTG
PHdFOcTEXGroVlupO4cI4c8I4T8mzWX83GPAOFzU14PxtLwTGN656yhCsykzDHfiunPZ1mp1nVGA
xBlxIXuY/fF96ae+46FGFing5hYV48Cys4176KaxyGfice1skuMZRKKNMhrfK3aQvDyX6+q9lrXK
+jC2cvIKdsBSPjhVWb4bp8Kg7iSvXeyxanoWdVNbTg9Vlmrrs5GuwL22xTiGNUK26vZr2WmhCgTc
u1jp4hRiH3oF7psa5M0eUn4wVOdzTzNPnUlmu4UxZue0matHZGQ1IHppN/Xa2bGraYn0vq6Af1yp
JJ3TVJZfNcwv40tA5G84mMmwSAGEI4s7K631Ry2e66PVxxLgtq1c+fGQ5oek6B0n6uoMMXduSfFU
yc56LqvYDs18QVjq5+TFlMjX3FJAkYZ8FOPgKwPELdQD94HhZnONp2u5jl6sWF1g2hDTiyFy6BJ1
0kHUYX7vlCX9FJtJvrijxnjmAM9vK68j7ZQ8tmOiHYD8c1ArQU9eo4Y7g7yMfrCGPjWivmk7w5eN
QW5dZ5akJKQtdWxvoo2KaVBnAuyuTJPySWlQLQY/CBRLHaJWFt4AAGz6+J+1kt+PZKnCrjXsJFr0
tX+VIeNW+YMcJzSs4tZ4nEcKl0RqGzKFTUGl7L6o+7IDQ1bW/g97X9YbOY5l/VcG9c4aUbuA6X7Q
EorF4T1tp18Ep51JUru4SJR+/Zyo7v6mMqu+yun3AQoFOMMRcmi5vLxni66hz/E+TwgHLOCoCYIp
3VjWiqa6wz5XfcN1UveYkDNdLkvSs3SRS5ODSDDe+ZvvXPWL/YgmatJFN90OcYE8jWNLjz3OUDFt
8bqrxHIMibxWG+RN8LcKdzWtMYKYE+QOevZsF3q5Nyhm33P1GW5rZZWMjwTJm7lpEfbjsvXGg2w+
60DizGXAxpyqQCBm0t4P68SndO0tW1MN/bwatgWW7n3YOwgvtO2uDuZpLXDP+MhssWGmB9m/BrYH
m2UJCOLh3ONYrXq3uZPK1NT7qYPyGcfbwZWgM+sRLrDqCaGHWTD7X7uLSTxBjKJKnDl3tIPIjzHB
vNzhkJe3eitMv4w7T+tzpS054bheWStwG4RXYGK2q5QoOw4LskHFd848IIiztc8dkjrvTeQznAaY
EoauYEfWVrbkLNyzwHlvvOTN1xom9WDtpxzBfzFMTuZI7WJT3TAgB0uHWjy6h2Zl95eDdsQ9tpIc
gg7wWiSNPkDiep+MI4ypgo4iz6lxXzcEtnYZZlPwBEF8To7LmLkNLWky9pcQ+PUM1nOdexIe4SCK
NTtQgdyXSczXpkJBNP3rsFU7J6l5Nklz65gp75IwV/VwtUY9ZnQVtiRaHF0bHWjX7IGR7cOgyjsW
SoTA1GdkHp63ZsMVq3Hm0R+7h5ASZIEKZ80QhfjFJH2MYWy7X2T0IDuLv6MDvJX0q1dU8fJAodbY
R9Q8tCMcelqOEmLNpFKv62B1tJrbOKISYQDRVkSElOO6lopVZejNTyHry4Rs7vOimrG0zWyv2toP
i7gTn6p6e+15u+fdaA6ja1Q5bc3NOBIv87VfCB5nPGieQd39MvjzPdhmuXA4UPTkoW3slWFVHldO
HgzV2VLIt0gbZW684lHzPxwChi6HIVM/54tXaXi6BV/oZg/LlNwqR/qF65ElHbxWZtOoTNpv8xEO
kshQnLx7jkzFFKLI3TQjXZDqFLmUxda3oDO75Bn3KVoPYW+46NsMcbY3+EYvbk9K4Y63crR79A3l
piOgdVJVGe/q+NrKKSnY6j5tnrsLnXo4G+LqDDGGMFDnnB3opEk5hXUpu/B5Dvt76/N+7/dQ1Mq4
nu4DaI5SPiCQcfSWl5YgZWOyrcotj6N0BS5fqCqoTgTZ5i7iEE5Dz50sRIkvOi8+mMnup8A+zB3J
muZjkJRgSmNzIFRZ6GHAG7YIYUTlRMZ9tIe1DMhT0fBKgrkcwuHV8mlPt+YeQcL7tmMv8dgUk97K
uHbxlNDmCFe9U016Pws3R+HUrUAWtHP0B9+kI/xuUmw0sy3GrU/gJcmT7XoLoreoQ6muociU85lD
br4TA8ZucnxefTAm2PYsnUkVHmP8xmvA2+BbcEkg8JPd1jqyaHrncWvQ6dbTOB6dzsNF8hETRWhS
ODC1bnRydsTM0ko59/OKiUQVnda4f1MhwBYkv32s9bAng3/wq+4UzPQFebcM0RXk1K3sCa7LZRWL
K3+y16PwUdXb5CZuyAsbPayHEaxF5Hoddc2pt9OnLnReBprwHQn6XYP84NydPTgi6hUFZNTBTYcA
S6gm6VVPKlEIwhEO2sETZbQgOay8u/A01/utca7Cid1OUVT6gjv3AtJVU9Tx/Iauid21OCWysFHH
63O9DAuWwsaFdaBak3wEBSuXHfKyEIiL5YMlUMqwoM8IgoPztmZfELzZl7pznSeUM+bBdH7l9FjH
gXyKZ12BCW0YvZEEuVGRsibnLlj0Qb/6ea3adackcoO6uqcZr9VyvfZ6Ld1eVYiOGyLBy0pK3HjO
3Gb+ULcZ3EpFibzPOKMhPOFj6Q+FWemGsQ2iOj9T0liTOksTvyjTszcPk+R80XQt/MiOubti0tdc
Eg26MTLXnafqTzBxobnvtF0R6cU5dG4oDmianqljqiltPTllm0RmsOk6iH050p1PgqE228n7MOuK
AN+eIUG2COspyTuyidctScgzZmdtmwvPTJ/WrgI5ojNINUX6KhJazcSGXFYezPgspgg9Ix1wrBBX
IRUIktsgBOjRkCyCeCXZEAntb16V91OMeD3F1lKypinmqpNZLXV1kyTKfDSIMv6oBBrCbFw3eS9Q
SR5posLSD7WtsgFhqToHh6hnO+zk0Bs6UWPHdIjWTmeu3gRsnba4yRZknaYSsE5Kmvi952pMF4L7
KoIrOKXRhwk8DeweZtPtQq/gBHlgRF3PCIJNx3C7H5rkNt5wpcYxeu9EWI6Du+zaNTmKzfH3EmS7
NKmjLy6S6hGVvbqgPUB7JOXOeuox0nZBcCv2CzBktKfOhP4j25h/mAipimhKtEBSQzh7Kathvoeu
nD7Ea9yWCG5+RA+BU9N9VIE5BNrb+6Tvr5aETKCJbN7JZctoM9DtMhYM5dyze+HHpdNvh1oFpdBV
YRqUgnHc9Yqksx9m9TQfIPMOkbQ3Ps58+2Yo6h9bTOmPi8i6ZvF2yjqmDLWkdyrwkXuzRk6BVaM/
cqtht7VZ+QBDv7V0ghpGxiMfc0xvH7cueiNhtORCJFXmx/ZiE7bUhfXmIE8CaY/RZp4oolljdMGl
cdmLLxeRdv7kHEbHfK7IvF9qnCfdN1nV6bvaG69rrICJRXltSelo7hRmSsyQdVv9jElqkTT9K71Q
g6Ryb8TKqhRWKgolX6p9NDdg8zjrDaNRdUgGt8GaixxfZ6b7aunRGUXnmoQq7eqWZISruxArSBrN
g4RnDnezrlenVS/7lvdI2IOdQjLlWGpvmr7dMa8t15FJ2JiY3SZZYRdkDyPIJBV1eE6qC9UbfnM0
fgKL+J1V49eG+a8SzdRkyA1FwnIemtoUfVOpsluqW3cY3ngy3PqiQbQAAd1DoTDnCwKZC8wGTWqH
bsytR/F0tX6/o9VUNmEQwhHbIKud2vmqHYf4TD0SZm0Hic7Ax3OPcGvcm5KnS4DIIose3jh7dxjL
GSPbJUoKWSPqaxbtF+pP+lSttc6SyhHF6kb9JxSyqqyQG125Q9F39CQakUu4855cLc2D8KF+bZH6
DMAQk9kx7Zf+DuGV1RsLApT4WN8OXXyBtJHtxAApareN09qyZV+v1gJRrxPTZbUeRJtxvth8DB2J
B6H1uF/0fRwadBC6fmqm9na0Udmoj01Ox0RjR+ypLKH9HjFWGbS/p3CZjovcvvU1u0iYkGhd+2pv
moXu3K4LShO22OTUzbVFcvUONINcEXMfidA7eXT95sUI24w2lTmBPMTIHxQGc97WMcMrNYqcaqeC
xLejW+Eui9wl1XaIFkSwOwhLzqm/2WvbqY/eOtGuMypJhbsh/7rBFm1T68u6mS5J7RwRyJ6EAmYS
8HnFkLero/mtBbLsnFD76q1ErxrunRAnYa3XS41SaKpAR7ADTI14hN4Ka6bzBd3r8HlK+sjm9RhU
WbVUHdx7VGh3WMnpiFO+BHunUut544G+6mqJ5nqmYcGstbtuCSRLcYVDOPxFMzxVYXvezejQK59j
y2Lcg3aw0QznsX6bdFKX7TJWpe/01Zy2JDZfVTROT5vTdVtWr2315o19VGeGEpBPSBW2dSZMTfG8
GBYfEE9Oimnkc4FNJozOxzAshymAtN2p2geMBbwDkuC2VChElWBEEGci8FcPG4MFKdtuMq93DmgZ
IiWdQMujde2wzFfzIorOWcdba+kKJsO2tI+YBstDyycvQDC8tzzFJOanzlH1TR357UuL2N+zH0sQ
OZy53yXgp92ooCdfh26ChlMu3RxlgQsxXsS9IQeqxaDkWWN9Hzs2TiNt4LhYEy0/ra63dOjHtfsa
MZjWpCApmiUPtW/fHC6IxGo4QDQFyvf4ibiqfma1ra7WIbKppOPtQCa2i4MVO12lPsWR8E+IsrZn
A305Qspa2x4INqhFDfudLaN9omB2sqz6hFbY+fDkEJeh4DPga2Xdo3EsSFu8hT+tUfxaNA2eM3jN
58xr6EkGbbCL11mc3QnW06uKYDzc8+aTXBJ337EeWwYrO4F1C48/4u39Iux4fBpnYUZwweJ6HzoD
mChmhkwBg1N+NS8zLKPgwbhL6kplYzu7fupFy/TNbcJ4PBKftbuoH+Yr6JIW/wSbT+w1OsHIPQL3
mqdoGF2Z9tEcwA1KsyhKWxl3z8Zf6X0zIEYsTSIdYocfYpOxw0AARZk7bbVmA9Qhrwouem1KBxhB
YrgRop/h/sDPbMKSk4XDMrp5dcELFwmbbblUHxLqHqz1E8z+xKDOphbVp2CZkMKWrI2z60I1vckg
Xk9q5rYIoxotS+9s+sPFdudxnnn7NGoh5szBbnm/DDE8gFmIgdxqEnulvNY5q9kX+ahX1EFshuiC
AUCypugA14yNDXJak8W5TipS7dc2IXutJtek6GFmwKh8m65ERJOsbjs0ZnqZeK700pz8ZRB74rne
OWANhU3DRSgaDfgHZNdF7ItfRWSPfS1qgA2X5grXF10ovICu6bgNxeS0MGyfYv0YjnV1M0Xr+Djg
IX03EzAJO1Ny67u1OVa6gZwTcfZ5HwyIuBNiKWdUoGMSGf6ShALhv1UQAIpC53kl21HcrGptgrT2
lLxqoCI+eS5xbmartZNSPg7swiGBpd/or89tv0jM4xSBREjI4bOxs5dXDec0dRKUSwzEouC12er4
apDMwYW+RD4tMFB8sGjL3AzudrpGX4dtMKtplA1meRqdutktsdJfB9xwJzP6/pRRZ3XOItEKc/fO
qvfa3eKTbyEVyAIbmVeUg+nJ4AG+kb0/gkLTTBPEZd5IEOYmlNqjTYa8ecFL2vPQofRdfAsvv+V1
UL5zYCEiOFHcaI6UVVTZVtTj560f7CPpo+69SYZxbxv4V6XTHNRbij5ufZlZFX8dvWbGRoG2j0aZ
5ZMeW3vTdJVA5yLbReShvwb96TLbxmo2ATEgGHIjMaSeHnnt9zbDALQ+XVB5fQVP3u4JgTrLi4gN
kmDY1CLgpka4eIiihkd7Cc0tcNKojKNWITG1HXk5YG6DAhc05uyOmu8dGQ8v8DxFm5gE1a1EAx1h
59hjdEOiuhBRXUGM6fCjOzhtEST9eId4ovncVNT/vHkRvw9I238aGuXTbK2GLcFyF8cfomoQbAZL
XvThAh126vaevKqnNTFZC9RFXRPjmzKxXn3tJhQmcKSpxYJr0NTFuqySlH6/qOteQN2Rzs4iCweZ
SA5mdBZOFGoCF2SZ9bjniFn8FkB1/N7N2P8j19GZGswYsQJlvJkM1uAJxr/ptvlL1rHae6wGuukM
dy1iRSH4c/p97TOCamviAatNRSKACNqdwsdxm9FZodWvxUE0U1/6SCDBRUoQ6ObC5nbAMlhL0iDT
bXQidusxXKIHQv0agxJwZGR4bBlUAlfhKDv3pkHoV7+kI5Z8rnOM2N16541UYNGKR3jiIVjHnVz6
0Go841PZ6j6K8kRTSNAOi4eW+NtfT/n/CGl/P3L/ER1awyGeOgz5e/Vi2vfJ/2DkJwyRPzkEMrvh
ewvDM5B6f3RjiX1vcBNG4cYivzgUjYVIPbb7t78GPj0JYYGElRA0qO8xGdX7QVXVcHsBWzQ1My47
Rr8e+xk3+k8QLoi6fZAcgElCDvsDaD1ybBo8CtXhxU5w2yGiMLdfkmvydBE6jtDCok/MoGf/6y/3
Jzz3GNQJh8aQ30LG/+MZlNx3Z7diXeqUDAns24HuYZke5xdxmswuquIGNkHRgfzkrP4J1BVfrGIB
x4BWlkAL9P1pbVq2eFbAN9H/jXEIQwSofreM72EIs/+3MxEuvPaLDNGFY8dFCvgD4NR4cUVn1CnQ
sS+0B89JOxBIsK0pw53g6c9005eL9T2wBktq6GSQf3jxgaEX/Ot3OF6jI78Kp65Pm66LvkGuoA7R
tGxlQMnywGPM2IOm8a6FF/RHZjBG/MlV/SN6+f3xf3j0YMWkHYQrQ+sOlKLo7vVtmyN3Nw/ggptv
T+Eezk9Xf33MP//KoOxBLw71x4+svYooZ5gruE1drqeBIcuy43v9U3r2HyHLyzf7n8NccL7fnVnX
m1eULRxGdtDjjexUBd05HmAWZidMLIeHv/5Wf3o4SHWQ4Q4M2P3xLq1n4jKyQmZlkBJDyaNlNFfT
MRzvutX/Cfr7x2KGr3Yhq4KNgASD+Md7lARObybZYzcW72Bacdv3VRG2P1Po/Om98bvDXArR786g
t3kamfQ4TJDcGAUZsPflr8/ZH3mIIMECH4PvNNyk/lAwhbeo2G64RJg0lTP2io2DpTAMdS664Kqm
7dG68h/8gP/8zhBB/f2/8PP7MK6YYHD9w49/P4t3Oajhm/6vy9v+3699/6a/34xf+wctv37V57fx
x9/87o34/H8eP3/Tb9/9UPRa6PXOfMUQ+Ksyrf7tIOzrcPnN/+2L//H1t095XMevf/vlfTC9vnwa
g3Dvl3++dPj42y+XgPj//P3H//O167cOb4MNpek/xI9v+PqmNN7q/Iq8IfwXwSLt4kaIW2H5ennF
TX4FxQbC6OgiRcP8Bo8R9jaa/+0X4v4Ka3QkWoB86/iXcolnQg3mt9f8X/HoeXAlu8gwYNvjRr/8
60+7/Uf9+8dFwZn458//0ZvudoBHhMLf8xuL4n/qJKQPqP4oF3CahHHBJXDl+3uxlkYQxxufVhBb
7xLZsHwRfnUD85dxTSdv9oBXNiJ6qbA5R5u5Dqdp6bsc2lm4Is9mvmlWQtHKOiA5Krfq36NF89fA
GyMMHBqDCM0piHNggN4dI2wotskxh9le8Da7sEM3kC5zMZ6/ohc0Iq63cYPXp1XPIAF4xWph78xN
h9mu62xxktZsXu89LWEv5U/NPSZe8h3/Cw68m1URoBk7LbNtoqwdpCisVUCJEI00fgqAlpMUiAQm
UCAhOPCJMiAWjIuf83GqT6waxrtma+U+QfLBuRtM9YZJTw+QcZNPrkEeTQ5LOHA4eeO4JViX/ZRF
MkKq2xTBCWoj1cOQwGZPVFBOqVk2x6aFxYXLK50blEw3Tdw5cdJqmOh5HifgQn47Ns0BXrV2y9FE
LnjfsFR7tO3JFXVI9BxvM9/Fdb+RNIZot0WEuWDv7RYheadjMBgX7oyZSrI5zhW0/vY5lEKVLGnl
pznSXlpXJM7VVtM3xB6pJwRWxntHC+cubhnlqa5aZH0Z3y2dsIK9DHPc+maRxuszx2r6Wq2IsqrW
fsVJ8cIFIjxY7lVp2BrzFmtTIXUYVjKpSzt1lrUAgIhBHs1UldTYZFJnS90uxGhPzH57NP5WvRBE
/R4gy1xg0YJjewHRmWSI/pLUVHeYDgDaoczLExKwHZ9sla7C2V5FrMgnIYjebyBWz5s5hSDWflNo
bo+DdtnOGXT/NOLb7ta1gt99oLzCW73wNE6rPjBXmZteO9594nVw/odLUkmiZAChNFT6ThNvzJuF
VCenYTynjPtLMeO56HJqp+QBnGQOmpNgrxONBExaO29xUmDTwGI8jQc/pRvfDtVSywsM7ZW2craz
51iwiGQbkbuF6qBNR8vN05Q4AlwVqaDIqQIPCk14PmMGvM6e2DdK6EzIZALcTqat3JCONqWNjEdA
ruKysnvKa8JdoGKOUWkgsXXhJDrB26p/1jKSH6M2mMeCnLhkU6SC197hQ5Q77Ta5KZfEvoSbxBCk
rfwbAPm+wbS8roDvNFiLZAuFvez86BjTYbXp1Mzy7M9s3UEMY+EeFTcrIP5mO2lAkHfuwniG8Gv9
hGfhdqgCzGls78vbhMroEaTx4XGOxujFF1pdh7xr8qWuvHwVLIAduCUPLsyAznHvbbe4NBvwRg82
/XJsP8f+IL7AqWV7BPi1vbNFyLKfHPqiBaA13vcebGNNnJuud+5jMcfPCegarzwahis3jsa7DY1E
OqtoKqm17ZQTPSRthlB5/ckmOsyR0kFRZHRdwn7auUYjgH6C+8G3YIjoHrkU01sIYtIBm1inoMoJ
H9Uy0bcZfqUYQar5DOvQeYcEJ5MGaGp3Hkg8u9FI9WSwfXxNwgofPy0YNchuGA9rTPgOWsT1y9JG
4s6EHD7Kmliotn0jPoN2oO4qVnFwKmbF0hVmL3dT1JH9DAfgMmBcXQ8x74vBjvSGS41RoNOv6RCb
+Aj7De8VoSdRplpuBfAMH471oHulNNrISXPbH2NWt5+2eYyP8MvyUtNOUI1D/nSlPaWO89LbHC2R
2buA8bIFdIETxgvTFaZ39sbaEPcoimaFO3MBrr+pIHzAdNYFpWPk3r2fWJ9CODrPzYGNlKHemAn8
QwBWAC5m5tZk13MP6mq9NZo9Dj7KZRnrDQpTEKmQnzMSWZkdTuEoz9rOxkI5EXtFB1Sn4JEc9x7h
3T/EeP/XrPxykRn8/5sVQKUDOrTfNyuXN/yjWfH9X7HIw6oBtoOwgIdn7L+aFd/7FVEiYDPEHtht
1HPREf2rWaH0Vxgg4F2wn0Nbctm+/qtXoe6voGRfLFTB0sOr2IT9G73KD8K8AN6EaKWoH2IcCDX4
H3YCsctauqBbwv4mPpIUpnEZppU6vWRZmwNS2naQX/3u7PxJf/TDHvlfx8QGHQTz5I85iwT5VQGZ
cExV6Cvgbbne0zvIweH0VWU/NacPv2/c/3k4kMtDyA/ji3nP992YQPBEAmoSUDR5hAQ225K+SBJz
FSQMM8YxT5puX7XjsfGwRyHqDr09aEfzndOBZnVwF6/AWnukW5ID+LoKh2sb33URQHiNEBQ4VAFj
kZjaYmFGgl7yyvXLBIjZIFlU8oPvrrvG8zJtPqlpPXbcz2dFvgRufdsoeK3PrBgAXpgPnbxeYo6N
gWmXe4PVPp80fZldhnxI97A27tlw88Y3c4ekz/NURTu5NRfe23xVz6J0FlqoiHySrfdWSxcUK2SL
JGeC1Z57mP5732pAzUPQZSSoiyle8nV5lKu5l6bLN1QVblU6hzRPEKxrZBYMGB1WTho5t0pUqQ0j
gHvNbdws2Ya55AKIqKEIlRzDTCXhNRdsxYQyyVkEnmsiMl+ou0gmxzaO82FBOu/weXBAfGnFmqE3
TLu2v+HULfkYA9qTBZVwjUyq43aZJdfo6MTLFn2e+qlgy1s9xUA4MKZkobrymjs9fhMYk2dqAXsZ
kVr45ubkebzQ8AtLsZjcNYTnUxR/QSnfBah5w/rW+vdTgugrfc8qirFvn4MLsnOtAbkPEn3ssxsB
DWWN25FG+370gOw/dmBKAGMo9Dqj54vTYDhKLNEjpsEznb+AejikdQfYHZFvcEqkT7Yi9/7FJ9Kv
6ju30ZC1djYjfvvUAejtMD5Ng677hoCbMjYtBRq97qQf31Y+mBQ6EVeihpQZi8kq1CM2BSKDujln
ct9bf98IW6Kb+ub4IpuG8+jfVmF0hfsoo2y5WyrYxa7gEqxJQeuuHO0X5k6ZwKLn44zyyDtEGzwV
5XQzDA5g/u6Mqf4zbv1Mz13R2r3qPjoSZVpQDM/t3SbfLhy3AJQWvfH7pAX0GgWsAOvvQLwXAP74
K69mkGhb88VzcWv11XmtP681BDAWhB6QV64HeNXGSTHXIGog/qWpPydsy9tQJAhhQ2S5rt5GwV87
H2KrYMUO5W11Z+DvFSKezfRtjuMSO549OOTpRL9uzheni/d4Sg7hUJUAooB00JRs5LUDUY10stSO
zXqs2npLDuG45h4HHgAyo+Drow9CFExEixYjiBbEoGbyHhJvw8xg3VuuDswJU9cxpwCsgKXBDoSw
coTbR1+B6+glxUpKuoZ51FGkafB8JCbbgFWNG1h7kd47aF63asvRyRw76yAEqk4nA99XxIe3G+B4
8tECiHXZRw2SwByTQsZtftlzVfjNocXzNbY3stueBqe/mzHCd5Zn24v7qooOnA5ZvWxPddcMwAx4
6ssVXNYZTFWgxn6Vb6op/NU8eC5M68Bj0ObdDz9ZOexXolI0qemIPgDWCrDtAycq1Kk31fjKXoak
abwG68/+W8VeycIyFkLt0yelHeBZaFiKNnib9E743hlPSOa6HRy7w3nHB2/P6/4zjbe7dVJdivJb
IC9y54/hjkoyF2B965T7cCWcxav03d04NPeqB+GVtGfQsXaC0BexujdqEEEKYIahqQcnaHL8a2Qe
HDqUapyxuuA+P7kOMEHEqsA4nD+CnVXMq4ZfQ+IW2BFmlmMYCO+nunYzw8C76p18oSILCMBMS7Ys
CUC5Wa63CVNSlby0s30mJH6Dz2sW1W5u5LaXdrnjg3qfG3s/qvnoyu1TxfgbMcGO2/CJtgMaqjrf
Ll1WLZF7FmJDn9kFtsWQVfTivbHidWKoYHMMjoU8j6DIahAkwF3KJv42NQDBovuev/Ne485oisAe
uPvsGeSnQIe3gLxBSI2MMXe32GQ/sXavXJGvTfUMFLjUFtHHG678hmlrciEcNF6bx8w/W9irYA2y
4PSwUhjsLlx3PmgwtCubfPaG7Vp1fjpxCGe2+W51BZ4yiqWor98WB8xf1lrw5JOmgC1iurGvLXJo
4+D1rxf/Py7GAUTBFDMS6CMQXPHDNFDjnIPziFa6QjIHBRe2F28UT+XaAUmqmrzZkp+1G99PBi/r
Pw4ZQu9yEdlcojO/X//nFhVqMhtmxL9py1TW7uypyd6nq3gndtX9z4R6PzveD9MfFTVU8AXHi0FL
S+JrJ/pJFsdvOv/fz5d+/EY/nETZ9bUJFY7A4ROHuL2HJA3e/bPOvZ09sKOfm525OnRl+zx/8fPh
EO97YB19Zq/D5+bhZ8p2OI/hDP7x77lEa8Yucgt+lABjzR43zJACTDHeh4tlcP0CA6DUNF/bUYO7
shULkjy6JEBi5WsIN/yYwad4i641MP5e+08D9XbD+B4SgWXVzwbkEXP/W+8m2Ri8QC+aJiwEORrt
Rf0EFknZY5yxsgGgOzbaU3+FXKxT6D/7sET2wAarSA6SLgqX3gG9zqi0UIKAGeVjzhGxAh4pHw6P
IS1RmW4YWLOinLVNA/QwSdWlA+PIQRBp3z+OzptHHnhzZvbz6t9v3pfBxFmlPofjJw+uJlv4OiTq
2a5L1oAGCbgRRGFbgNKX1RG7qsdnBFtlM39elyDXLQDhZXpwBZC9GRUCKQETQlWT/nZ06Y74Lx3m
146HwJg6SpEonIgbvT44mAWuHKoUjNcgJMmdgWVonwufok08+vgrsLdAKhhK7Nqcm5kXKMQor/Aw
oOFjXK27xMIHNniyMM8n7q71QeZ2rzlal8jVuePUOTPTrgroWSW2QK0wDQBHkCL+m73zWJKbybL0
q7T1Hm3QYjkQoUVqtYExM5nQyqHx9PMFq6eKTNKYXbNus7La/MZEBAJw93vvOd9JEWwLI3kyuqnf
6OhgOaDgcU1YsvKHNp42lyOAlrR72mwHFEOupI0ro/8w23t6xMFsNZHrhM1mRmdpYdcw+afRkhMc
yvlFyQ+dgvGjQK2wqDutoQeC8tYp3pVL7ot1KfX7aDkgXnXT+ZjE92x651IgJ0SmvSAW/CEXNm+G
CpEqapdFS3daKTyd07rFaUSxpLVDzqmuvo7ccTXBXl1UO3M65TnCqAw9Bfu40vfspqVXMm5dFvQ0
xrtcb6okRNMqIZ3Nb0bT2YdTGnTjuF7Q7MnN88C8tBkVLxksNM8I+OTnSn8wKj6Xg/U9IuZIyH43
U07BEmIgGOhiWdWKsTbkDF0qiPBY+JWOMALAdYowJn1qm/E7lp1NguUnXArKg8GzEQbMQ+uDOOWd
IYqV4/zQOhsxGEHl0CxW8CboyPVaGLV5d0jEd9MeMP3QAsuaB5tg2NRuV/N4k8YDijbCvyXeBfOh
cx7s+rnjFQrzj1GrvIg5ehhehRrzWP71YuluEUa+YVGYZF5vSU/hIs6VGdTyfVdWwQRnTW52C5N+
m3OHGjWrMbRuigStZf/diY6NRGet5L9WjafPo6saeHiSYatYqB61W0QYCof3RX9JaiNQlHltjX0A
pNbreNynxfDmaV8p/GTd4DUDNgn9MbHOxthzVEe2vhjfwTZdjxflRFh5dUs10DU+Q+2AosFzQEcB
6bnMmzZROAe1BEQw42Bo3g5i9OMYSyk9GKyeO40juYjqTWgS54L3QMy3+pwjQGMtMe8HyVgvqCpk
y4sc875sF/TG9R710oE2lRdp4zoZSPZhlhYbyxrpUFQavpqOD2bXefn0MmXvmWOvOgVlE8iTnZk+
hGW3dmJ5XRvIkkPfxNUxRRxGoVoUbbQJnWhd1AQvi8ZvUiT3oveb+QXTmD/WxRHV7nssnG+zcm3Z
rSv1chAjWB2dcS1Vg9cKuoz2PuNZlFDx26XkIpB0ywIXXf6qY02Sl4Tfqz9MlewpXX8yxsov5HUp
224Z055NkxWKOE+2i1WCQN7NwzrQ4sYdl5s0Se7z7kXJreeQBTZhYa0S4iOXb0Drb/ty8TMenCF3
7tDGPU68wXaPWjEpvTxHLzQOK7kot8w/eEHU4r2vqU+WVn3MjTeJYjaMnguKGTFKp6TcxDbCYvwj
pfwYtqE/ysoqat57p9nU5U3XZqupMu/UtDw4KR5DW/Y68vx0DHr6GHtkbF6RTkD6arGVzdYL+9ee
Xroxoq2UHnvJOjXN8I4rjUN76yoIfZh4X5TU/t/PO5+wC/84fUCM/QHrJYjmcxJESAkijcxrEECE
1823xS9+YCbZFCj+XXN1ge19aQxlzvV5Q4aWAtzGxMmpKp8dsEmM/Ee1sD3ibFm1L3nmSd7gGTst
QPxgu83j37/kH048v1zu8nF+mr1KKi1rdPQGxY9gD3Rcp5q2X1ziV/rBj/sIeVRGQsI5Tv8NzFLq
/VJFOl9JixZEWYLdxQgEI69YLneW+TANSMHT+sZxnlFeBUk2u8YyBYNTrMU8rZRkWFn9Npk/cGat
MutupB6zkzvHWWV5tcWE+RAbzmO8zJsZrrhuiEAq6p1aK54m2KY7a1sX4aqv8dmhPyMGTaapAAuy
6beXBZyP/cXc/BNv+fdv/OmuTqasNPLlyRm7Q7zEW8UkAzfqgyFBv2sQgxtXl7YAreAhvB4yMyjD
fs8xeGOPgKnzOKiR2xaUpW3bnOiZr3P051X9xW//yav/+8f8dLwG4mclwuRj5tv2VOyT0yWOOAXt
mGyNnfGDt2VAVPqaRfiH3qUB9RviIkhhMAGfawlHYOdF4At/g2Q1OdCD7Dq9lX4IYGZ/Ouryl7DF
Pz7oP13xk8jALA0GexNXtGQqaaypcpR/8aD/4SzNl9Jp/VKskBzx6XbWtZHaksLtTOXvWN88qbIw
bLz+/W36UfN8OrFbis1Po5p0f+Fu/PrGzo06dZHE22RZPFdKEOOKoA8Xbsx2J2iDteyXU8y5ao5d
VcvvJ8wjBg3Ev3+MP91OMp4RoNGE/j07TkrnUUgjt7PLDjOQmL4T7t+v8CnW6cfTKQOF5UgPKx3+
0UUJ89PSVJvjmMaCTqVyG16z+O7Cj/JcoMoq6eJ98EL/yD+OX1Cqh173/MXV//Bj/nL1SzX809Ur
Y07SLFzMC4mgnd16ewkJzh/7N97k3RRcEnW/5Bf94aaiP0MfwfiAiIvPGw7myKyf1BEz1UF6u8RL
T/sO8oG20zx7Vfj/g+ioXzV+P+4xWdZkCiDxUS9ws1+/ZVjbdQqE0aCNph/mvnMVZ0enOQgL1Y8u
mDjzPc8iHuhdEr878wMWNrzuL3QzvDqWv3h//rjh8v3/XzF6GcX8fM/bgRH10FOMaooLSQCJAPw4
2PSygjDOdnWkEW4cOM9fbbp/uAu0Gf513U9jBoEXLLIdWigNiS9WfzvjbUxx63fW/NXO8Ief+JdL
fdoZwkE0Bcr4y/Ye3XAGFL7xhOOKaYp2RzeScL3ivgAMOO1GA+2z1z2ke8X4H/z0f3i+f/kgnxYr
bTBrTUbiSeH/uMjwiPJtHL///SX6TU1Dt8MC/3bBiioyYI9PF8kq+sn5ZdFt0seWKCPduJ6NZ9Eq
fhXPGz1qdoaUeE6ynB1UJZMxH1hbP7B8+qbSIX2Q7hmIPyEXgm4ZrjW1PVQdu7ig1nXy5XaKEuQp
5urvn/qPmxPpHgbAJiZ/xGD8+hgilYzaqkPkr0FGoAUVzGHhZfJLr7W4Ql9USQ+MssISL1DhVGcz
YbqMcEMzxv+PJdD6+ZN8WoS6oTWFPeasskmyLYZxVRQ4/RD5a71+nRbVSg6B3zqE+SxOca9PHCRg
3uCVXOlNvqvTRKcY/wbE1TNnPKHG/Rd36vL7fd6LLtTMS8rLJSXp0wtLJJsqYd03XL32UAh7sdd+
v+zinX3JSPVoXflfXPEPj63lXISzHE50m5Pwr79NQkQqw1ATkkYw+d1VEqS+7b9hZ/VknwMy6Pcv
AVd/eGXhGRPzogC40hEG/3rJXMEm0TcUR3nixncJmObkfrlpco9FYpNep8cmsL54cSDv/nZn4cwz
272ooEFuf+7L5bEZFktu4bMJa9fudN3tpfR7m4Z0BdJAGZotUPfVZI1rRojuJI9bQxJX9disbJrD
sQwtVdZXZl2q6I9CTs31RpmxRVm632nlVrOalZUN1xOzz4G5WcwQw6EBgGgpqMR4UJZbVfpeMEVU
p2YzWA8Oo4ChljdzplNb02/BbdiqMDRE6Kk102fmfHLHGh3fCvNDDI9ZebsMUN1ppkDVcBFU7bQE
25Gh7vjkaFBQy+Ttqk1bH6MF71Xh5Wij5HHYxNICOCo72uPrUKaeod8vcu5VxuANpRm0crxXcvHt
0riT2CP08DsM+eOAWQIDC10RhhzZkK+lWEKOApUjRj2uMtWLLb4BHsnyvlQQvN1XiYq8g1giSAVa
jw0yfJDHe8X01clgRgc+TT8V/WuiHKb44Ixsj6lrJicTHdeYviJZXdmq7ZPM7WWJHZT1fGVMLc2O
wSuK22UOg4TvTiPNNYybhJNLaR6EyTejN6Va8qaqu5Ud3WpsAvlS+XXd+xafxtTiq9h+E1F11gvI
HGn6Uk2W24SOWzNG6sfZn21M+3EvzqMt9vBgXsuajUpl7JH0DMn00iPuLfbiZVnlzLgn86UdKk9r
iS2MsdnMEM0aJTzZOgtYPDuntG0htcVuU2JUr1RmcqjSlC46yfrkNXm5CeO93jPxt++EHl8vECUw
grsh506UW4Fe0S9bePk62V8ujaWpCpSS5nEBpD4pdkjH3BkrxPw2X/6ewAo6WY8spl4e9m5eOkFd
VatC4GGQHK9vbpboRgpbGkCzp2eE9I4MhkvilzPmvHUbLGrmxc57OpnXBcl8zE2eYqRl+YBpcMr2
tb2sa8l5iBIB46CnD2jiK5vcegH9AIMkB2ikifE5mXKy+vK13MJW4vlIzcUXdLDrUBxamApDLQUy
SJDClNYY+Sb51U4LXy5rP8bCgzU+Gl+7ZvE78w1ZT2ArNMfS56irvCTbSyaSfqfdGuq0KpR2k/AT
VmF5TCbbR0ns9uXG7m/m8jVGXNinqds126h6HfgMi46xt8YzSBphSbcEVee8eHPJk4z9Am5QoV/X
kczn7D3FUPyEB67Rk31uVJslrI9dc5uF0ofVV0FkPC40xYUMm7K71mi4SXHPDPjSP7+X62+LcaMm
p8SpYaffq/JAOmND43Jn0PHRmV83XebKWAoj/WaiL5Q7twMx4r2F/ScB/5Uex6pejeKULlfyeJ3D
1dFH+vbjtOsUeEXPIXhj+7bBS2lpN6OCVY8RUaffY2tjRiu8LjwOxfHyg8yMDSZRnsyuDfLQDAoB
OsV+0MOcAe49f9G346dMGhijRpsFEMnIZHusrprupbpsgQM/bsy0eCQqMZoEk3dGt/2b0Q/XzTBt
tTo6z8VjXbUfdpkFynRRO6BlMxjsDtVWMTbL8Bbhop+w4OvW6A7z7ZAB0piupuJu0s6q9tECNYpg
FhBa4dlatB6zycXV4FHp49oXdEjnc9lOfptErhlZ27S8MpTXpOd342nSqwitnx1oPdGPy21Ul340
bw3aa3ovcy6Sbsv5YezVg1KeIgbNNTreqDt0A8Nl03HlGf8+g2EJUyja9VWqhibuyWTV6elZRJNr
ToKAEOPGHBFBoDcTSrjKzbtu4ITUXzSay2o0si3OdU+6EVxWFdWuQoAcK9N2MVr6MKZvlP05ih5a
JQwqMuml0vTUlDizBlH+BAggrXiNChAyizH6EuuYBvm2raM3xHyRG7eJP9Hl1mUYmmG2Ql376ITG
6vJ1KoMRNgyCsAVvA4TKtdqceVF+J43zecA0WYTpjYy8OFTDbb5gSqNJPNA1HatdqhUvCBfPmJ48
XXrTOAJBj1jrllhrCu0bCA9F/sSoe497es1nBDNUP+mV4pJrcurr5NqRs0AyHp2Zyb1FhotJqzym
EWo3vT9J20RaG41yNfdEvMrVLSgsZn8lqtmzNW+kpH/oIJPg1Xen7iE8S1PE9PbQpepeNnfIcbdF
aqJQFZCDeuu6s8iAy+q7KRQrqetfbYxsrlWNmyzTj5pT7VqjWTXSoe5fIoN4hFTyFiPymsn+MZ4v
OsKgs+u2Vo6QKK7s8BpcnpfID0bEQzHlXpkotLLKAC9r3BLMYpycUt8og4KKlM1Pczxl0VadcaW0
943BJjvbq9B6HqT8EFO1qYhEnP51Sh+sOYG4xaOh3k2FRkeKCZveuFX/JHOgC+U1Jk5PLfY18/G0
PUw5MZ9NASCKzLL8Ss6OqTGx6dDkNubVGKW+ZVwveEGZ+Uwq5tviNo0j8GZ3s7jNJrxbrblptdgT
fFuZ1KOC8aaTbCTpKgoXF2e4Vc97uvrIHTsslXUwJt02kx2/NS364ORHhN9KpCeYswO0X3iouUjO
mDJ9y8bbvH2veaQUOV2XvRJ0fCNhzOhk0SSA5cJxeXAmBZMTnB689Ub3EkLKwgzvjxHsiuJuQMYQ
surSqRPsheSP+1OF0icvXG2Mgi7fxwS6ykrMwADO2bwdXDSt51ll7GMo3NP7PD/FQ+LbtrRq4pMR
q/vZgAVit9gceR2cLAn6miRXAEAO4pa+Qsc2vCapzYuQbhdkT4VjXQZZAdqjIxOzQzbW/qyjjNZW
SWN69nTWCiMY8cXbw/eEM2HC4EOaq7c+G9Yqa1w2OnvVeZ24PaEsXAlVhw3iL2Z7m6yTSaZwL91p
6bwyu+uFrQL1mwFkBH0GB4AQi2jm1cNL26IoiI9dfurJ0cDu7A7VdJPVo2sOzU4Z92gA6VBqmzAL
r9qSabHS3LehukMy7RsDKJwe7XbvF1kemIbuOTqBAYwb9VBHlnMCZGVbYVAjSVK0twYIkpyce25V
lZyn6kOv17O9jbRvS7HrteQoiolDAqGA8roadlm1l51Np95K0kmPmWohcmE8wvGgYa1GxD+bW8yz
eAnOziRgZ8PpoyTqtGttYhNfvikOmVtmtcJpEBFbY2rYc9FJNk56MON1LpXBTCs2vFpq2cdN+2ym
z9q0H8t+PbQbik6IVGLVVG+FeWZMJ4/qXqJXKzi9JOO8F528grPkVhPnrrzfJSGJfkAb1Gxc6frW
aq5tlfJIyA9aiqKqHFdLdsq09aw/2eZLqB45ZH5fOFPX81057GqnOA1FeyiZo9vVXmBKgFJ5XpL+
lBnqOWII2oIiMgHEt9a6UJ/Zo+Gf8PM1EzqXbr3Y8aYeDfrMUGy1ke3nddHs89htleiGlAMyMwGh
HTLun7wwTFPkNZg6WzoU2JabEkHasA7bo+CoHCMDk5dNVEORlOODiJl8b9UcBM+yn5yd1dyE6U66
nG2IiTD3fSruOvWEgNzup6AcDC+p9mZzlpTHOherp96qT4JXA4lj0DJHltG8VyHQkrHa2OLo5Ing
CGQHfZxcp9zyTMOneCEOhclWZqUeq1NjbkV4lOzyaCZ5EBHWmm9MEIZWfkoHfV9E6CDtEdPM4Ff2
U+nMJ6kpNjbegwj27ReF6e9VIgUbcUUyfSRCpj5XiXI1LlJBfJLbrfqgfQBIsZE83S0frDWrCg2c
L0vh37tWl66dQW/FVGX+96kRvMhEgsK/gY26QlR/IvkZNW7nPsP8Q/vLedwfN1+2KH+v+H/4sLBc
yZrJhS/1+U9t0ckZhDGZCYqMb9Si9dWAjzNeJcwK9DjA1Y8z94uS//eKH7mxSfAIebw0GuRPHTMw
iLFu9wrE4OncqEdHe0mmL1i+n3KELm1QWj2ybWHJNZEZfx5HJHW0jEkeaQDWw90l/WnawXj2mKZu
vnhMfhdR/Xqly4/60/2bpxwNZcGVqg+xZZ74Eu1h6QGPl16ig+lOgep235nYzpv/Hkr9r8b/Pw0e
mb9o/DE1im/5f/yfD5G8fSv/4+Z73b/mydsvon/+wj9E/6qFoZBNyXbQ6JNe8i+HooLVkOfvAuhW
MCKSL/xP0T+af8yLKguAauKYJyrtn6J/FacAXjWGnvwx2jlkfP0bmn/Sx3/pC1lgfBxNZcZEuBAx
i/zlX58fu5PTaWnzNd66NPH10a6G8mgtCNc8TbuUtwUoRSWQtaLP1k1XxRnChmapalSHg5DX7RA6
9ra2JQpzo1XzeNtNGAk4OBopR7paGzjxpVE234DcEqFvzTDkVkItMvsd/1XuvCaTs1SHvLLbeKcn
AFwDcPOytZ1FbMpBrhVjdIoLqZvPXWEyh2pgrCQbk26Ttcvgk33InWSuGG1VW33qlgKhYmonKweo
TvJB0pw0HbPGHur3Lp1p+kKSqNFYZ0kKgmcqzaK9tYeMbF78a1EKE5Svt8rzKYLvo/Q65LQeVsYZ
vbiRFMx6yXj6VutLYnJGrSyMbDgBURKYqdKXntLaIWOkJklRZ2ZGgpDdGsLhtlOxoVFLmWoGk2mo
Su0qY4WIj3kOzotmuSRKC6CX1KJ46xnXv6ERmav3qhCxvMti/G2U9NY4lUExt3F0ozVKxxh4ASJ8
nLXUgPsvkO3vQ8rs+Saq5yL21WbUR7dXmdbcK/UwtMdChtZxtYAayb8vqVCSpzmUi2w9cCpFFtxI
IGRQpaEyj6NqWc5ybyfU0ho2udXgIEcH2KOp8amItda568pirC4YUJvqNyEyysUE1QuOWhKzf5Pb
gkGg73oQkJrQUj6tqLUX8M2TvZvaMEo8MTtp7U3wbpNjWKZhv7Vn4EQxGuYp0+hc6IBSmqmRK78L
+f/AhmI975VBCBD6tpIqOy1fTGZ4RIWC8syQ6BwKXUBb7PXUjle9cKwB/Kx84WgNDUUrHqnRptna
23eTcim5kQPxSZxk1tRdWaJ4wRagIbEbc43znjou7eDGoQJZpU76yLyKm9KgrmhRqKLpbXW4EkOl
HC1nMeq7BF48va0aRb6ZNFw0mls6NGUo4KqGVte9yWUcI3psDcpJFbDLsLFN2cB9siitRWsqAjHX
yqCR9/jLmJ+N46jUHtNfsiAXkaHwmVNt4phXzzWdxbIJ34w25j/2ukZrRmqVkej3HjUOMlp1cDVR
0LoTUpvTDMoTToULNVNTVirpV103EpDmiCd1kQfnkGUdn02eSullDLPmGKlL+JpS9DE966O1XdaD
b0ud5sMqwp0TWQOnOxnvKBJqKSoD9I3hdcxgrL0yFgtTt91ih6BnWp5iNH0xgH7dIPYw05vvYy7b
L72UxdVpjCvZopBuY8s3Gsie1ynOuf4xTSdNCzgkIXVC6ahg3tQFguuAvyJFbzC1LNo2jeVXEqxo
FERNbQddM5ik4NKDAi1ja1V2hKFb9NQDltHvIgx7atBYJTIYx+I/bFh+Q2RGBSHaq4KHOw8cc4Kl
pdVp+2y3A9Lk2kzzR9Rj57TJcjR6hkUnTauE5ilzlMMqJz2q3DacJcWWGjEO6XHh/1hF1lKguEpD
vXN5DijMhZI5XUCzp4QGOPWJcydJUNlXNsDKyU1LVYvPpOUNXTAWoxiORaoNjh8qOS5xai599MF4
JRPqVVSWnN4zNC9LLCrbK5pB591NbJYiObR6ZZX1JVO4LCqjCc5mXYrVmIWgX5WRZuBjGF9A05LI
U4szr65Kfgmyvl/3WYaTugDphIenTvDsjoYVGnRs6zTfAsBMb4yUlJorx+i66RgXPVxrem8zsQh9
GxYOvpgki8V9VCLdWUOCkLWrsbKKZlPCPh0OUAdsZQ9NaaIk6vVW2+Rjw74wKoL+qNG0lvUyS/l0
RXDFnHrSHI9U7Eql6zvTDHPI9k5JW2TdOBVGH2k09eSQ8jK10OMxxd+FY0dLaJCU/IgcDgUmZBhH
WyOgs8zXjh/AXhu5NBtnW1lascNa4OjXhVI22ets1Fr33hY8aN2paJ20R3GJAQkHDsthuNwISx6L
B5ydRUsPU5KVO12Ooo1T5uW8suM6CV9qlXX22rTCrtt36hBGwdhP1IBSYywqSv3KkN/VKDLaNaUo
raqGH3LZ9TH9iU09tVF8b7Yy2xR+dPK/10bb6NLKGOoJw5EyFOnz0KhFSB07jtJWjCksrIX1Paar
18gm4r1RygcP8Gf8DX5drO4qnAoTuGm5No8GomBafUpeSH5sVuJjma05Xi9hpFXrgiOr9Viaelqs
wnJCXCn1yBkPKo7e1B2bWY9uDXVY9M1U1XlxV3Bq0Q7V0Cnp5jLjyzf9ZM/kh3ei04K0CW37WUoN
JVoZaiPzQomZgq+r9PjU86t2Z1D4CHezCTm1EdYl3tpG4L/J0NOw4HRZvuSHHlypgt+afiupA/AN
7vDDqumeAEHK164xJe2BFVopv0XKKIMYjatRdo6RZIV0n9WOldir5VqbCQhQdCoLvEeab0NQw/BQ
xMCUpEKPjmZmJfDFgU8BFpzkDLmzXcS9Kw2CFn0FfIFuZG5o9NxjM4K5yj733sb0SX07UWNy52dQ
cV4Hb+yD0A6wuzDVaLOAL7xzZvzIq8ouANdH2qyG+7TQ5myPez1Dm99HxrXVZsCRLZvXblfnFXC8
SrezxBtU4hpO4Jkz1Dn6EIoGqGPF6WUy4C2+2JW8kP2TVBH9rKUU9FGrpq5nWHaZBBR0UCz4WCmk
ERpu8ZQV5zEbm3SVKOaUv1fS0o2eKJtFYRuBxEVnx0qLa93JJJTIRR9aml+ns1HgWsgTK3b1CD/x
oyaEVXHQWaRmFWeZRKOf0VW5zfO4jo6qMjfpc9XJxW0L23baAexK5h2UsOVD0o0k4SVC7PRaRuEE
e9SqZuCFdoMrzGB/x3cErK4YWeCmxHyRQ41tBF/cNM53Ud6MzTPfqzE3WDMXgggkvtVekqqqO2R2
ag2YVdOiZsKzLNWCjFhzEsNcsPtMU32/mEquBKlOjOaNw4lqdMUsDBmS4zAuG6M0aX0NowGfVTVn
GUVdyJ/A7Yb+PqGDaijkOfwoG/63gPrPi+znLwXUt/r7fzx8F+/ffymZ+Df/KJkkVf0vahEqI5uB
PEoPnaL3H1QXSTVwQ8PTuogDKK8d+aeiyfovBGSAVpCE8k+J/vpn0USphcdIJTAT/YXFXzT+naLp
h8rkXyoFonNVhfBBANI68UqO9dlFlMElF3KrvgJB8AmabQnORhK3l4MiSG9LH936ZvD0beslgRNc
cp8RIuNo9tIX9Sa67bfqhiD0Tbz7KthX++Rv/vHJCECndFQuVnIc479Wc7JFR8uc2rc5tld6TJpF
I56MUb8B5f4ICnVTRgqZ9s8OPmNzbOhqiyMr1S0wl61i4/cQ9raCHz4rH3LynoHtlpMiiDPUKsVr
VN+O8XJbFxG9O/xwwEdIS5DQAqSQ0w1Ski1wNi4wD2+GM4JrxpNIkiXZQ116NHbIn2pzz2b5DkXn
uU02Qqn8YbaPY36qKrywTA5VQu9Vc4dpEpISILP6qSmUBpiJcWuKc44TsRpfIXy4RXVrVneWc6er
zWbBHNTB+6qe7PnexnsCMNbrF3JQxXupEWM+2eAblpNUKrfoLvJVE1bf7KY6mUD1Y12sswytexVv
5SrBe4TAAKNc3aA3YevsnBtZTfZCQ4EuMPvN0dkK621eW36EuSgt52Cai3XUvxh2v7bMj8YsQSo0
Ry2WN4MCrdB+BeCh29SI+XB2UBfGdD/lpvIuBeUgEB/Olj93HHnC2qva8KBM5aGbk5vR/h6VtzFz
WYiRwVQp711ix27IwR9L6QoxfAZYZ1JuhGoHuS25AmdUo3hqcpMb+sYqU8gpCgdw62DS458JQWkw
wtSFckz6DlKsjF52/qjFhtLIhU5fDx9FzsAHZrsJWdG5LiBMi+QZDxPzqHoNTtbryV+li0h5weJI
J5xe/1qVv8th5pLOMzvlWrOG7x3n4gn7q1TEgLxph1v3IEouk2PW9o9ufK6j58S5V4zkaCn0/RTn
VHaUQQp42mGhgsnmfdkRRNUXbgbruiy0Y5fE12S1bGac9xqIG+SskC+ngIqETJ8npdhR4LlF06xk
sTxleg9clBI/JQHCjIpXp4zXnaK/ZzMRGBHXmBXnxZGUs51Uu2SadkMx7siU8DUn3w/jtWM8yc6L
yBKUDx0TklE6NE5yTxwteO67vHzPxezOstjZuXhcGB6pUrsVSrundXBB9ndegZEsu8wVhOPnylE3
zkXTQoC2qPflANr+9dhLQTWqbm012CU2+HmhvRKjln0zSVXiiFOblTdpl+50dzQSYyMq4j7Ufp/h
ZWsM+SaeCvxE8uVzBIjiXSs0nwvrfUpwrKQmNEXl2CrdU8kIu6Eot3j5MV1+cNS4c6K3sR2/6Tbo
FjRwk0iOKO9cKr9tK+Fgl2emgPZqUYyznJteZuaYzuOVrIBAtqZrxcifSQS+ku3Zt+sPmYdtrKV3
LtoJ1p3V2MNM6OONjRq96/RzRCg2zY7t5HwUU/GRvM0mLzWQfSfE2Sa7Go48hXPsEt1lykMRTgdr
3PXYN+QYO+h8hdZjrVbLlWoLMmH61YgcqZa5leHEL2jw0HJGiwaftdvvF1AHNZNpRkKjxd2bH7QG
4HpL8AssIrnGg23joNN1FD9PI2MkAg6vJMlXnOnRIG2nm5nJhTCsyZvhzxJWPTU3vbaFJuZX6oKZ
XArK4qrJVIDOEjDhrvYKhdmfPu7Au39Bzvy1R/f7qv6pYx2qxaIDBH5Lt8ZK22RrRj+rr+MJL0q3
X3e1y/bJBkrH2qAp+Kn9X2CgIMlIedPLKwp9gisvjwtDdVRK8b+XFXz5Riox48iDDXrxCnv5r/vU
pCXs4OnyWs292w1oHBbDtzFM/nSsoADE1ln+TF/7tTf+31exoZpcVKOkv12+8U+98ZhcgBJ99Lfc
fs3zc7hoG8cJUYoZK8yRBsqSv1/uh1bw0x3ku4CPI0GdntJn8TPn+qyRhAHRQwQa/vqQwdlkIAEG
3hufQtYOsltmf2ycY2urWwdTf5ovoG+rYyOZvgkDQmSlT81JGEh1pJfnih71VPZmaWSlZDe9uFn0
6ouPrSmXU8Hnz43yXtN0fCQMYT6dGqC858JS5W8ouTZZGmdUYqhoyRV4p0XhmnPKSTra9FG3E7I6
8zKieMivW/kFmrg35HQI4yWY64so9OFC1OqKVyppz25ew/wpHva28uwglAOfuU6ZxyvNS1ld6+1r
HrJvG2ezefu/lJ3XcuNYe0WfCFXI4ZYACGYqU9INSqIk5Jzx9F4Y2+Vuddfod/nK9lRTJMFzvrD3
2qlYOWiq1kHxlLAJ7/npap3XjHd1gJSjOk0+nl51VypVZad58xAXNf471c3iaR9lMhbQdA2Ufy11
8lrLNTs1mn/0WUonrNWIYHRapHky3cRg/Do9SoysiL8FArD0zaUTZ9EOZozTJdd8SDwO56rUECJl
7FvDjYaoWQpfZiJC9eIxFsOtFqCGCNclakktJFwWg3NVZh4GinA2tiLT2Lkxbf5YgGGNU0ULU75i
B91vZml0qWzcACl2QDAALmIgcisCwa9jcyOPt0o+OH3DaNf4CJpxa0UCcAfJg7+Gqu+iJeaxFq9d
ka99H5K4cMOWC0BcjgDvEHeoBjHc0cjhixuwjbTec2t+QL/YTwDTxhuQze5U+GsdtZ1YhfDr+Pn5
1wJxvp7mjgoVngET8IPKQW7gGeg2mnlmW26Hguam3aWIlg13tY1YtLZi6FUAQ0YoEgm4FxVrG6f3
uQrusEpL89UoeduB5QhNv+3LmpsN39Uonph2PHdF1VMTEsmIXq0Kv6KZYWZJ0MtobkW+pDnzuowV
r8TFQ9pKKQRsg8VNOk37YhJeUkFZLybkLoo2aZq7ofkJ+9aby23bxTTY1poF+yoG3UZQlcJESyQC
JIqIKxrVFROzVdCdI+Wmj2WWu747Uh0xs1v3pWpHhrluQF9rwmdsXmo8k8H8FVuaV+GR7Mv5Xc+z
DWgE2wyDXSbuOx61tPuwcGKVc+tkpGMk/jt6LQ4+2EEb3LHcS4I38c3LAmI/NA1NS1qbxCR8SWZw
eBbuyRmZN+3MzzyD/NNa6DQiy52Zyg8RWRMIC7h/V6PfuF1k3KQoNwZxfA76aFfFFTv7whVglXT5
rjFA4zBBNyVCyMpuWwDeYQJkB/1X1Uv3BGsc2pkRsZpXFJDNpm4IgFI+M2GBjF0Cszo1msUgP+Sn
p7Gflxy9itG0xK+CyNiTLCTyXtSLbqS9m3XlZhBkG8CiQ2QISqyS+biJgBXI+6MwNRDUtfeub+7l
qVsr4o0c1fBarD219yrwZczASAQEDatu9FwVFZKMaSsUgxvH/ivSw3RFnBR5vJE+oEj2H/IEEH1Z
6z9cE9Jyf347/9gDS8jAwWiZrNZ+vydagZvG8pv3xp1cYpTW+ofhLvmgilui/Pzp1f5y2vJqC6GZ
i0Kng/z91VgEsqsQiMFjLE9YNGSZt9HuDih2vdD79xvpdw3BPxcgSnr0AxZWCfrib28MKlPVSXrz
Dg8HWg9D1uRHosZf7lhEeaaIFZNZLs/07++GHUmVo7l+H2wSIRa33znkJkdUsVcdcS06LPHzVcOT
gA3v5t/f3V++N5XZraSK3FysV41vrw3tQRtqkxXFtt52t4FLKvC62AZ2fgu8yf73F5MX68HvD4nK
LnZ5mwtOln3t7290CFiDMUy91k5wJ923B/kxuWWVcEo2YMyxVemr8ql+izq3vP0PAr///CZ5dVOU
cTcyMf+HAvdrKUM+qyKSQ3IFCLUet4kbuKDZEpJ6OT5s9bLcBT+84T+LTvbWGMcWpxzQCP3b+40h
0pe48q4G2KcBss4Qw0zxY0hg7DcQREmNv2In+sOvg2HOH58ziGgJpDg+Tv1PFYqSE/iqT9W7Bfmp
qWeYEtpxmIevrLRmO+/HN/Z3iKsN/wbizVtcRo963B5wW7jsP70kbraDpUrHZGqfcgbwbiKpN0Gm
Xrtp0xo3oxlucwUbWLJo8ZLpUellD2MIuV9kkVrWWU6brc4AO5tzJxX4hK1rW7122vMQ9tuk1p2l
son0et2EE9GeYb2HeYDQ/KHV2WeirYvn0RvyD1bATCMnpx/YYwrKriskT28IO6nugoa6L+h2Ge+D
jQ1/ob5tB3gjUb1nJe7WCaEF8Vsk3QZFulfa4Jxa8DTUz657GTp9o0r0qAphpkNwR0okyAypY0LZ
vo8+om892Gp6tc+4OvpY45ZkaS3trCm8WNihSKDcVup8LYthL7QmftKMi8CI2j3zfdTc+r5Ap61a
AR144hrlRYjV9VCgmMz96lOgVyMhz0WlvzXbbCv0mdeyeNXBV/Va6c6ldVLlwJXFihs3QDV9ncPs
qA/NJoCoB27uTKLQQWQyEknda++v8+EQmZSGKAZ6ZL4105CsGHcJeWdB9lKrqc0CfSUxCcA3AhuJ
zEDiNW/9UFsj4mJuQYem5UfyMMjjY4kVRA+9Zd3UsN966SFFoU5uzMEC5pFWH5CZ7Aio6ISQrS+0
A0srEkt12+A+FP3DzGA5RYstX5JsIjBFWMnqfUvYb4/iP+xaT5bVtZBfBhhxUrf0h8lmRirdhO8t
kl91ah6C5DGomQ/k1258FoNuL02FV9QJMd5qf85aUq2GyaAWGO4qYldBurNvrqTYsGcToNtYbvP2
K69wYkzTkZPVnsiB9ImCMoWPgBRyULZItsWtEODgTJjKFIPwJSiPoZ/fpTF1kFgehn5x2bT33aDc
Ropq04gvt72N2+MmpnBcnFw+UKoSF0avD3e+0mwxm3haDxIYSapCza+S+lG2hyo5+/KHkL/7Feto
cCfEh0TZB/E4Q7wzJOrWCc/IrhmvIVpq0sZssntti/VN0ydEcylPmsJjKPZegwYUBhV7bp87n5nR
iSzH3MJ9xDjOokhTjfc2nrdVyKikHcFLEzlHIRENb63/GaL/DdEXaFZ9AvrPeIEhQBw3GlYH1JwR
tgHsycAL4+I2zIW7kS9OV1vyU3p4YCkCDD2n1GvC6KnTkoPeGutufGmToy7sIu0KFNLWw5MMXqQh
5icJhI3OqG+o2KHE441AUI5vHcPpVoUONgaXIn60CFWW2HnCsSMh9EnnUOz6S2kYu455R4arYvat
c0hemx70t4EP4Vl4qjLRZuV/UAPrEIcM+8QxvlFTwQ2BZmjZA65+pMOLAiDPhAcyul5S1kCrphIv
g660DitwBfuBKjilXrWwiZOtIcWXodZvwUM7CqW6PpcvDH62JHcfq0o9ZFQZA+JeE9helIisqcH+
OGSk1K5aRgjBBUoDK8VwQ4NhATqa0nkDUdJeUiBVo739f9+iMmHQJjgKrjKKrW9XNhjmSijb6p9y
AT/DeXIRI3idF699R4Sd6wDCSF4SouejS338yXr35y26bA2w3kmkD/xpxOzghkxjUL2j9AHyo0KF
7n5opr9Zjv8puRYAgSWLdMwYPr/NHGI2d5DFcXl98cCVKPLgF2FUIV8T0XK8EZHhDTvIyD/WJ3/e
17waSlFKMUijf9QnFuhAmRxOPlljtRgnu2EDztuJefkNaKfEjuAa16vZNffixnD4z57Nu4Hh1i0m
Elt7BF1kMdT94T5fqoTfqyb+KgRruqjCOKbm/b1q4nHs8nwa3o1+L6Z7IfVUf/vvj9RfqkB52RUt
exhjqUS/PVIky5olTPh31SsfcDt7bAFW/ooP3/7/8tyWb1fFmGpJiyCXfdL3CU8TzqoolfX7jHsx
kvaS+AMS788vUdWJMsArLDKMwXj6+8dVIYhRzXK6Lgkj2EKZ9EmuvPmJ0vbPeO33b2V5GT6tZU9G
dbP8Gb8MxpB/FWMyT1STg6utMx4TsjAdRmNP8Uvmzg47LA/LVuCN9uhWCMaYL6/E2MbP96OA9c/m
67e/xfpm+Z37Pu2bemK4md5kIBFaDoHhQMe++g+ACMvn9y9v3Pr2rNR17A8kIl5J67UnlwXdK/A/
w5OdxBG2P50238ga/zwtv37M1vLWf/mYI13r+J/pOq6RNqsuxg573AUPLGhWsYvK8gdh81/OHj5K
qmcOWDYwf0xwa1mb5zGiRz6oO2j3u/jeOE03i5c5sLNz+djtf3qSePj/rNdVXO2yJZt0rhzr354l
2SRmEePxW6fs8mReqbH+GAvvevo5NnioQyLDGh4njeA1XLm63LH7mDBMHZvgPs+JHsWiSUofer0Z
SBUe84pceEE5KoroJtqHKEPOq8X7rNsHg+H4hnoz9satpiaejgwBNduqBBcbdYwWfcLC50scHYTW
J7lRY7ZP7qv80svVUfeTxyzdS/luBq9lsWWSChyHWnPQDNhcIUwKMf3UouDUNeXWyuVNV5DvUGqe
qUv4mLCtlAkY92ClWJSW5qEPPYk/KGVJOXxp4dlQPs2MbYn6Jab0G4AYxOyGEQj9EokR2AzMCC3t
8EU8hZ1Xw1amQjW7J8xLq6TdN7MnS7Ij1ajjZMaaUkogoOKw8XJLud6MzeyYzch07Ikgck5y2W4B
q5p54JaTudE7kv3YczaZZVvM/diIDPoEjEwHFnaX6ON2DPqDpgq344yHu+7Y30I8MuBC1AfShtPk
ffFdEcjgTkq1a82FIDfbgpXCrPtq2mFtpQPGitAzlEcjvFPy20C+D6x8Mxu3CH9xSWmrUkTdU+Ke
b1+TntGOAUdPgGg7JjbjldU8HCpiqJB9QjVcpeVNoIG1IwuMBbpaI1ZNfDR1W7jVTzjUnSVGRK6I
6GI9mTwbAa0Wz0YusU09qTkHfIbpy8LsOCanoinXKjPbthm2E47CQczXLUQ+gUN6kj79oOavMB21
JnB4V0sP9ey7SKo8v+VbRLqq1RvB748SWyGNEXyclMCASXsea+7DJ9RRLimUxB5G7Dm3Vrvvy/tG
xvQZqS4pCkczJfVTv4hL2DwFbdC/1uE54W8JSK6ohK0ovk656QXifdNONnmbLum5jqWK+yiX3W7u
CLXg0eDXMYmsVCUsVMK4CjEoxKlCSgSuRF3YyKD9tAXRmF1nA+fk+NUOr3nJztraxmCXy+pamKYd
B+s2bd2+bZc4gxUFuwv91dNoK3Ozs5MZNgho4RgeUiswFoeQGxyD4cVE45Ua2MK7K5CIlZRd6vpd
rWDEdkzTLd2ma+AXchH4bpR222vzqg6TjTQKqyh9bwAT4RhcteHB4L3xqdgltiRqFUbURKAAAo9m
Ml0nGEbZg8BmXcoFJqyEGZR8aqS7tjy+VYBROdhFSIKFXt125puPU3Uo7iegdanKvDq0Bg6MlzYM
0VXXK/KBWWhLK19/wlG6kTlOjExZl2QaYpma5WblW0gXlL2hvM4wtQV/JzGPllVOAKNbgXn0DAFR
2tiNhwqGbiZan4iKblNVu0ljOEFauZ7HaRsK1o2qb/gMyzncxeTc0Gwg/L4FsUwDHSFeZPiL91Mc
SHDFYmwUz1LzXguDF2bbAK2yFJn22L7JFhr6sjmY5VGmB+6GyIt5UElBPEa0zcjWHGGa1u1crbOB
KMdEdvOAXUi0HYSHQT6Ro0Fo8qoBYD+M1SlEBKGwsY36TQ3fTi3SjQYPE+GK3fQvUwaDuDM2VYwg
omx4guRDFpR0OsGDqg1sLCwbuQyOSvQF7P9b5WCEBpQ8GJJWR9f20OiXWKHHInm6gwyas+zNvyJr
36k42eFG1wG6Cv4VDQJ1Ft7qU+P0IgSD/CxDHI3IRRx66AvdWy8w4YzmUyZS3RcWcmbVMcK3xaY1
QpdIMCGO5n0ZNE6p9owzAOMb5eLR5JEnjzjfSMZEz5Ot8lgDVCA5nQgIOs0cyv2tjDBrRncnYiEu
bkgPieTjmJ/ynAS1tN10aLkJNqHTCWnty5WmvJXFSzKJa8QuZs/q3O93NeIJFcFASByspTyOHI2j
WqN6pN/V4AFWlVPTXjMCSfkNdj2zIYO1HmLeaki3o/DOStuec98miBiWOU8pDfcgD7DvN1lzzqVL
hRW24n7Uw9RJwnu1Xw5hUNXvxHxgxSsY2Ae2VS7gfY5bCViaiLImvFTgXxEgI0Uk9ZtNeLLIUwRM
+a2dNG+FbyDVf6U83mRgKYLqIUzeGk12fcO6U+LXpkLWxzCnrxBSh51Xive5gpw8hHMinQuffqBI
l7Pai+thrah75qyrlktaYPjfTZfReECerAsfyFX+gT1ILFBjtIKNgiOU9QJ5s5iJEeyzzQualRZf
JBrVsuP/yzYo8e/y5iYkGEAP5q0y4OMokLHqbEY/0DqjrbmtmphRprZJli2DfjAhOsigfyV2oLj6
yQ/Ya3UC9v2F6Cxbk3JHic5i7LvWPGyK9L72rwMzIYPDR0sLB5f6gi5V5HhVj2fBf5e6r4YTNNBr
ZiDYoZiFzE3sNBPvmne/ICqVuvMIzWkIV4Ir1N6p00Mf9p7RnfSS75pfu57njt4PTkKOeGm0rmQm
5EmZ27jKT9b8qRacJZbpRuaNZHgCc7Ao9NcV10cY67tJLYGV5B5K1VGFPKrwfyZQITPP5vw8zwP8
clIv5YPGlk2KQ+De+LIr1B36fSzOO586RvIHJ8rR55vvCcMpCCCT+Talpzo4GeOzAgOdFPSV3qDm
YcXlS6CDUMZQtwQxB3Hx3DXqviJxaDCvdQKDa7CYz2M8FTkvETf7OZ5SLWJOAHyCy3mGtUHzvJI1
JlnaB4wFr03NtVTntmGsVUjww1cB8yNnp1cbTNjQt1MBuialnNTD1gA7qrWbiJCDoNqXypnN49gU
mwJ5tNq5g28B0ucmEKGmj6WddrxUxw+02sAqWSkMigSJkJ/ByVW4Mnwa4Ysa17uAcdBcInjPWhAd
uCeMrVYtIehfVrb1y03dxY9Z84B2rRE4VwKMpMp9zjGOZmiZ/vV4+33hrKItU9QdamG7GpJN0e4U
tsHDpDIqTblDMmKvhV0AP90CekM4ol3Eo9eU0S6Tl9nxcJijAtmf5vR1sDWEvVVqqHbfayaCYd96
YfuEiQFJTeXo/LQj4VzQZZfmhWgxj4wIGzTqJhLQDg7HnK1kyoZRKM6D8aINpmd110nD82mxT/Vv
M6qwFkBOw1qMeXIinGvlTg4DGyH3atIOAbIY6d0aO9vMuUqwSaQzxmbjM0aP0jezPSCA6uvI8avC
Ad7kEfP82licXF2Fai11gNOz2zuYqUTaiLSpB+suqgBPq3F/h/H+7FOEcpR4AsSsng23wL41Fz5o
k/mNty/zgOlmOgoW4SAgH4LsLjefxWhPKtkuhnGlthdxPk0leWcgQypulXksHSQIsN2vUv2h9L5d
yFy8rPX18M5IGRpiZZyyV4vTjxmgM2DjFuBxDDXUNgWnAXdRy+90FI8d93wgX3Ild5I0X2VzfBxb
drdjy2LS5N+N2XHj77H04yQlTgqIocLlv7CGJv1Y6O8CY65WRuM4c7+htWDTuhvIpVaUU6aEjs4Y
M2Xx0ZopHzSCJoDRtYQlIck3FlkxTVrfxTk3n1yRApFtVIG6wBz5LX4VZKRp4P8xI9W3UXQ1SUGJ
eXIy9p6G2ByaBR0jPzGpzDCKCTIGcIl9QMjiSgSYgocjjBKnoVMxArzfwFkonyhkCvJQ9I2FvEJD
7obdXW7cOu8dA63jBOZFTF/D+U5goJ4NFy29NlZ9qJVbcSDFDfgOBv5W8ZShXI+hgukktlUG7I15
LUKmrQCKlArRtcZRWTdOWFOMiq96nG9V8lV0nEfosDcqM6Q6KW4rEZIJz8hHwHuSCs0FNr62DN8W
e/kkTATYMM2zIgDYSLGq+SB1HTCVq19sBXmTgj2Z+n6rdnfx9DVYvp2qXFTpcy6w2uGNmXNw6NJP
WbxrhsBpc2WVyG/IaRBdjWhSUXi3+kZkK5D278N4jdUPgRpRMDCIRW44HcPYX8vxrp/6TZd8SRWg
pTmmpZronfiB0TSGFXq/u1ni+9VJYfCbbQi8IDSeDTwykQ4l46DJ91aAS4wbkbozINqrRwIQDah6
Cy79+IQg/UYsshuL95d34ioiD4RhOR3DqitgFeF/KyJEI3XrNtmnFBiwWebN0EF9pg4cRyfRQAop
DN7SOxESVT1nttHUnlX4B1+6diXghwirRoxrPbsFnThwcifcjkSuMwu/EHZBP/FqlufGrPl9z84Y
qZtqLDf9DFhDNbCdgHdpChrL1FMwhqjUoQqFgi/ea/UZQ/9Kpy6O4JQYr/24Burld/k6gIOuKVAm
hBE0R8SlcPSpw7qZU7cOQ0IzGBumBnmGvYtDyrXK+SAYi0L1bRRgPOSAnDO75ARuajzr0pcBoymt
Hof8k3QABz4tBclzx01Sd6VbctFlb0qXOxpbf8bQUYl2SCb/wQAtMj20yasxU61NMiZRcPVatmoA
GFXQeUw+YSm7L2uIN+Ox00RApQb9Ze8slJkc30OXJ/SzFN+Am7Sap84CmtGyRFFuhmxj0EREFVuG
gKYr+kqS8LFVv0qegAR5rDBrtiK8KgvNoSWOHN532d8H5rGl3q31U0SKiCSvicaRMz4Q5mPzfKO1
tx33YQ3XSOnIsuA3a7KF7NNTS4eRNmBCni0FHraFOPM26mUMnd06ApkmA7non/H9v2WW7iV8YdFj
AsE9byT0QXcpgCKVsUm9PC6PI2QvgZo8w8giCNwi3biGLb1KkVlnA4IL8R5Ng2O0gtPRsgn8gjX0
GOD+tnWWrDFx2nr/pfXzwWIBqguFKwL56xe2hxbtWogmlmqAOXsxw2EFCp3jC2jgpCO2TR1hKJi6
MJ7Tzj6liSJQNOus1uqrqu3mmlpfv40hDzEZ6FTfzutXfkdt8Jlr11yvnLH2vQAkip/lrhSChQjZ
93C9WfpGGjbZQC4qjXaGF1W32nVZ8OyE/s4qHpXqxqCpK32+ufpTgfEucuaOen9DONq51EGpNK+C
/xqhMu5a/DPlwCGKunD4yNSDotDz6G8EqFDtgDEPwL0AjusgzQz5T1nRf9HUMRbD1s2qQ7QIHv+2
BxD1WitYW73jU3W1A3h+x18bnuIm9z+OGZd/6ttQEw0Eeeqs2wF8f9/Um9Os6zhZPxUY/Z0N79nN
PH7q8CRtYx+v601BftXVSlk+6Hf/PnwnNe2HF8eP8euMc+hnHDJy8ZnPpwh9kKn03iK+E3p9ZzHb
yuJLGc2HqIm3ifxRIyhjh+thXvBqPXGjrnMxpjkF4K5AFlGrj55gCkeuVYJDYpf6YpGA3c38TmtL
tYNcfMvh05t9uu+s9lGTrcdu1J14KjajhKRbamU3oaMZzXSt968VGUGV9jJ2gl1hCyNlkS6BTqEW
blSki8n4AkOpqJ+E0Kcv/0jE5zp8S6OPqWnBK8WHUAeKNZAFJVUbqHFHTI2wY4yRewdTbW5g6EN2
IBV4idSaO5ZDQlch5cfvXXPK2mgzVuNOzLAmzjus89A2YZNkZEiVw0fcsQsKNMyr2VqaffjRCMTE
Tj+bccLpyw6Q6AhViO2qUk5A/RxLSbZzsI+n6Nbsn1R93YWlF2EOEICnKDxhTbtIsK8C91ll9aQB
UD7UySbMy8NUildJavhh0tjPnlmiQcMHJSbZqU1Z4YfIOL0lbcHXPaWnn/YpVQ0+zk3RxB7Gc75Y
qwCmyOwzerVinuk8cMo5cpiDipS5KLNdlai7kCssHHfTlBKRlK3b9rEA/lNoMx0g/2xu2KEub4c4
3qDqZzQMIq6HhZgeIvmkzcAYKX4T7CQhOFctfhXrYTOgXiOn2O1UchdC0+5Kr812pYUlPZNdMXgU
dbJZJjthBd1S48QqqW6c4GQpdWN0JPWJPvTFSCY3KHdiPzsVOknqKIpRc0m0Sm1uF7G7iJnA9FR1
02gztQZgOE+Zo9umBs3DYGUORWdMI7boTNQaFB4h8DmvY6/no+cvhmivm6YjByDJiHlVfCaaUBDb
pHaUCdlmAktM+wgM8cA/n/rDvjevccHDijWRw3+t+oJnqG+SimZQQa8KWIF9t9/cyfOj0rF4Dtwk
JYFwCvhPY+yJM/PbPaB7upTD2D/JXNOVJW/nMLifB85TcWBEzDwPsgMAcS0XDxGSRP1GtpDrS/W+
pGpt8nrXAxJqmc/2eJSkIVvmOgcI4ERs8Tywu4zK1zZ8V8QXofBaQlLjMGde2d/HFXt78QDdn+wV
LxBSO1LFc9nCzGleOwWGpV4cxLYgi3pk9DVtGVqf9BdSeerYsnuf/I0BT+GgM6Tzd2X4MCvQ/94l
qiEDt0HYXgrp3io8URKI9SEZgVUYVWPfeLkw1ismJKBpgQzl5l2CG0VFwgojwjZMIKZ+7RCEdYDf
5yaWsB1keZWQ5iD9t36VrFknmQYXOyIwSsONzckbRJb2FgkWorU2VfVYkVDS6gqJOccuY4bok/Gu
AUUaohjWJi3EgPmTxznxREF66mtGrUXLhgc+qp3IEBYbgWJ7+tDqu7pgdk/6hcipMc5bq1+azPhR
EdCrFdZ+GYmRrLauGE0N45uWxBCcmOmV4TooEURnAaCsljlNNXwhAaPHEiFyiXu0eA7elE1jmG7Z
WoR8MDxrR9cfnrtkWkdtvwqs8Ik1/ApHpl0l5jaXoddlPUlfmdMwepfROpQhK1/yecFdkjfTU6la
BLWJAPXksDwE6hUGEe+eBT1DnKC03AYLRynNd3qIIBlDiw/wOartwjzL9YQ3gr0MBI+iZLiTPkQj
LT73rQzIIGeSmLaXMXkW05OIzdJsj9L0lET1Wpae4nBJN+7PYflRpTIaZ9TICJJKWtq4peKJkit7
DMeoLmL5Ps33cYB3lfxlzgNTiHeTiR6GU2xMsYFJDd/lQc4fhN4bsJ91sfQwJMZ7qpp7sp+/ZibJ
vb9PMdIXPFxZ90BqmJMn2XZu7sv+saEjH+BbpQiEI5mU4EtoPcQRwzw+1GUwqQdAxUQkxuIGqsFG
YU9hjQ141rPCaNkUieCkPJs10zELMHbJwLzmzmA2XBOEmC7Fs3I2mIBYRBNOvjf3qlNDEDTlr6x7
FQQsHoNnkd3Wn+IoczTjoay+TOtuboRdyMBWt7BsTcADfUDStyVWv2Rc+1LtpOwLoiBwsvIsSx//
+4uZPjLpEqF099lH0K1HCLOkgaBDM98UteSwlJ8NxgA1CRH5piJGLigLGnTtMtUXrPs3frgMmBQg
phFUDCamsjoc1Tpj9vnBouFctexhDC9mANItC6sAexoikzZefiKN4cqRTnS8vlBcTvLcArlgvDU1
who6BDh6Jb0XZUBuiNXGaFoXIj71+hZQrzemqcyL8cewf6vKNzTN5FoxMTP5VGaMFDUOp1QkAYiW
yGC4j69ugYMN+jOa0UUxh5p/YxYg2MhGTHs+Vc3f9Yq0kTgOFKlEamRArVhrw0OQvcYZR7yF3j9U
thqY7lU0zypi6tEj5gcOH4kzEsxgNcg9tZbXQvYR9+9lXdwykdo0vQFY4D0iPz1bhi6FcIn4kP1y
ZCtwk2DqUkr9cSQs6t8rMOOv+/P/W/oq3/bnbSrUyZDN15yjNdfJMWqudfyESI5eiDluVN8k0jmF
vKlBhxzT2wp6rpndt9qr5D/27FBzssz8kQqmJ2ApXZdSDtKWOPLgOWu5+j8y5ustjWfPWq1m2BKk
qV1FpwZyYWVSSy+2cx6KKBbtOnuI+oe+EgheShj0xjjlyHANmm3JJTlVu3Bpi+BcjpKT1A8Qshxr
KrZ5h3iJTxgygZOx25ibs8DqcKDTzaDrtbuYKXqsOHmLL+wkFY9Fdx/y+xhvU/NxrllEZG///qn+
tXz/tab+Vr6PPXiJrC8+G5fJsbGeN+o26RBDyKi0/Z/cUH+RsKDZ/KWCX4rsX4QCMtvpsIpNDMWD
a6xpgX0nsqlm7ewFYOjDD+/tL08M+iQDHBU6IQS430QQZSLCk0iE92mHdO+VqY0N+tYJ9/l/Ilxe
/rHvzcmvL/ZNA1FH//Ni1r20Hrx+f9VXyUPvBT8KtP+mtvhVDf5dV0/sowwbQfysHWndf8hQUlzT
ad3oZnqg2YzOP8ktlL/2Pr/qz7/99CLOQjUGjylGAGPoo0ExK+MtY4hnKcF3Wdb3mo/qHj42Z/uj
75+qKSYz7zjkmygg5P2xR+0GAiWjFhrew9ZaRVrNtXaI+ptc/aqTkyjca8Vjy39mtdpGHeOtWEvg
NvpVk29rGUOPz28z+OgRRNgV95syvZvAYvzoYo5vonJM4vIWkJRjtYo95g0db31ou63EhMCI9k38
pepQoSscHzRtIzVo+hBATvX3BDYGUIUa7aRohLAxXcatkqmcbNwC03RuwosMFZTjBXxQohi7BeI1
xsm5jztXLt/08mkKQJWbwaE0UUy3Z6u+zZlRyoKIJvd+DO/gXDrVMJ/KBilEkzgg0daNVjp1ikyS
IT9i5LrdFgzzIei+4dLdgAcDlXyjRMMFks6a9R5kTXoosNvOKB16KrupZ9ec4cun3Gqw9qiTZg/i
MmKPN2nGGc1dUaP3lKNgG1GmygXjLKqd4i2fsyOKr3VRIDZmaQhXj+21tpUD2J6v2hisJnolaTDd
OkzPAi7kLA4hW3Q2czgu18rzpQOgC5zSDL7KE7cY67pI2caBeWjG3JGUfK01jHEScyMR9pqO5yDc
NklvT3W2EcPYCxZ2RY+IRhjOdEE3eI33cHkOBWCysWLzFkOqCK1dO56B0LarwtQuSeo/4hU6Rgmr
CIvU4Jq84eIV2JTLzuBgZOS3hWXa2kNo2PpisWbkkqroF0zA7omi73po7ugEdf63Ul7TVreN5BpN
99lP74YEYEa5HZP7yrxJZLQ4AXM5oQPKnNGTI78OxcMSF1cWwTqQBTsAKzwgqWGNzCT3RqyeMyE5
49d+6M3waPqiuiqMaaXED2yjtICGjEUjYo44/oyxLDVNvZKJKQw79T4Xd4sWmw4BGMi5XyLkolDY
qmLDPgLDMPHAfoMu+RxymzfzkxL622KiNP4v9s6ju3EkTdf/pfeoAwT84m5IEHSiRHkpNzgppRLe
e/z6+yCr7m2J0ojTs55Vn1OZncEIhPnMa+gXBFSPJnTkrVrfFo3YW9hZFHJ755fmi5bapI3JVmEG
oadfDqW+Cvt4n7RXsdlsJ498wJSWVnMcKY5OT4KfCPpgY9A4kZFp85KR2LlctCrq0LKyGbSIgkcq
rqCO3ZdN+iyNc8c8Lfc+0B7ku8JdFPfHMLJ3/OkxSNotUAcsWNXxYFuBk9ntLdh/lErhpCfyQZ78
B6ntoCVUWB/2JVY5g9u0MA0qGstBf6woiYUVPY92MG+AC+9My79sQplHFPHXUL4rYWhGGb59VOeG
QLiBjd5MWMEIw8hs6VXW3rObY4R0FjzHWxSYzxCWv7qLQS/qiKIAtcWU6+SJgRFf54FVgLNr2uUM
ZcQ+c1ORxSxHByvB23N38WdgL8i3d+OdvDLJGJZGnZUQ2puFnN6I+tybeW6AE2BmFpl9YNnFa+NY
2MY4hett7SXwaxStFyiTryTnnOfbiWvMP+jBd3Oaf9K7oMBKMmoWXgFIk1xk+IPQDK78NbYh01Jf
YuG2TPdnIoPPaF2W0RCqBWJXJTo4iXqyukM+p2YZl+NycBCmIAZxUE1ygGxcRZvhfnzxVmfG/CJA
+DDmSewTlnXQYofyh9x+pWxmzKvhypuzVdIvoZ/v5naCU1S7XtGrZp6b2OFNCdJUucFVdYEF9t53
83NL+UWQ9X5a1klskKWxGQuGmzn7NChX4JDQtKW7tYl2Z+d25rt9QtWbisi8dJ4bAn0JKJkFnYFl
9uhtxnzBhbqg3Ws79ubMp/ui8GyYFnjoWXEHKv8JuDuxuqEDUMuwyH4t8dDd80aA1JMXc+A1o07p
BUT4N5cL7ZzC7pfr+27sk7qzhqSdZEe0/rbS1Ryfe27t0IpYEWC557D1XwNr3w12ci5MP0ajfSpf
O7dfETVhadg9ehdQRNH5WFTrfk+J+vj94n554bwb8uRYFJGldCKH8EeVwkqfm/Li+3/f+PI8vBvg
5DzEQVvWaK+9phKWjNbIo02ECIzGM45lXQHPoopebaxSW6LkD8eFokG5CXuA2SD8snKXGMi2yI3T
2AEk/ldKuggM/tZAZIj6poxpgFMWLsGV2ZhI0DBTCKfUNHes8knCeMVC8FAvjlHNg6DfDwQpSYcT
DSVf866nCFhg2GGOCP1UjxXIW6VGl5NqfFxS3EZqZuDQwiBvAm05QGoNeVKVt4xqeSZLK3PYygJC
mbqTYrFU2ufvl25e+pOU5v22/4OIfncxp/SgTH0YXiVrXaPBL1n+sjdvuuJnIN4Esez3o32VHH4Y
7uQtbUWTq4U0nzJ5ifnSQn3BdnQBiWwb7cr/0bX1711xClmvU3ojNcfqbzpvNl/9l8XKXueuvT03
2Jktbp+8qYPXl0hnDq92eejoMkIVObN0Yr4EPn8pQ0OCG3S6rZ+MoNaKUDrb/z1p9CDUvY96QdIJ
mrfgrCLZ3ssUjKpBvWmsAqImZcE8rA3omhpA9TcMoB5jGh5mlzegsoyjVKq3VgCyKtPupBq4QUdR
RFFRvyiPI8WN77/7l3e69e/ffvL8l2MNUx3GbzCWizzywetF66RN1t+P8l9cbbZlyqquoe9zsrtE
SvRaxTPjxN/Ua1Bb0Jm97XQ9f/Ls3oJ9Up97Nj5/FZ3wYn4yZIVRT79KMU0FQAac2Jfh5cxUmtUK
tjOBWnsKNrMhI0TDteR+P9HPy8mgTNBE71oByXdyhesh/P+0zl/S/HGUL/3+TsnPMvs/XwzMS4aD
NFPudfVPVPzuYiClbHglCnQE0KzkcioWUuKqzrBBR9QFx9c6wMOXXrkTgBzcczHwfGF/3OyMDsUK
VUcIUdZpEJDGFVhy3Xrp3FlWAP0MV1o3Z93rvhoFHjrengq6fJSQPkalZoMNFjXHF3n3Z7/sezf4
b0Q02hwefZyMoegYSTOODBXq9HNFQq3rXjHfLJ++YtttvdY7IAceQvy2l1JdLFKAFSrGOojEbqNU
AZTXXvQqMmgYBhXYretRdyXya3AvLZTUMnwIVJQ/wNcW8fggzOZQQnqczGRdFduKzMg0LaC3x5TC
JHDWQJLu26iqljy/rj02S6Msd7JvX9MA2lRCOnMkPt+ENNaJuSGWGUi+n/KxrGRqM12HuGNDHHhD
SWP5/eb/Ih9jAFh4im6wMz4pXBRyhjhvM5G+zIpO2wSNQhyzsbchRpttHc5FTOLzUeCEIzwrz8Ia
UINOrpU2SSE0i+l1lkgcf8ar4HZOJPK1uZzrcgZcs/nAWwtqGWsoC65+t8GRfek9Bqtz50L5fN98
/C0nW9YD3cZFOrzmRGvQAhzvIWoX5ZvldEvZ9Z8QBgO0CF2wPveYnhv45AqHSJIGvVT+nnVF4k25
nIUh/2RTq45Ssr9Mflh415351rQbT88OyBOkGzigiD3OB/XjEWW2UWRX9etsg6imV1X6AzAMKlL7
aLpFIcZPKcWHiD0CX6CxsRwiWoO0K61k3QWyG0ImSgtqOs12VPAbrFLHt480P+n9cDx+tsXPTPIX
pSytaSr7qNaZQLjl6E4vf7XxXVJcqcrjrGSYeSGdmHY1u7NODSaN5ZWOVnBKB0jWcPkLnjIf9IRe
XoQyQkHhceKzdHQUckyC7DpaerQ4FWipLd0ppYpfdfBCYHMBXMYPRoSfu1G6EkBQityHahpWUUfB
UDSXRXChiot+khfU1rBXqw7KDH2EA+Blrqn22xJtXpv5ZbrYaZjPlQU0baSQlAJ19fDRgD8fdOVS
9aG8TNAE8zskjFdW/hKU4EG0ZEvBd0vXZaHTZS8SSBpGv1GB8gs8ELR01VOjGRHsN+KfEki1MHjp
cKecomyZ+M1KjQrAs8Y6Ax+XsBCKLcFM52LqftJMb+HDB4aJabu0UXtjK9LoGBgWils0IgqsZrwO
5htQcQ3OTw1hXTzIYKdk+nuBcdCKDaW6CHsy/KbB56FJ3F0Yw6UvY+2aWVslAFqXy/vZzExH1S7i
Okt1qqEjjaPgshJgzITqdNZRxOYadpEiH+h2WvV1w5oNzVzQrfgJHN1RvpH0bJOU5UYGgT+TuxT/
KlK3Yfxm9PTt+Tv2SzxgwYZ+QSluAfouGrQyBD4NCCTW1LEwItIuPfE7Svcp/0ZqHEwax1iBydrv
oFAXRh8u/DnSikCYK7d0d52+vjCxTLTae039OU5vg1eAemfbrVsJaa3MJazL8LCR6nXX/Gi8wYV7
w1/voJPJq8BXoRj8xoibfvR93O8nnmKsQ9eGD4BEvA3ZDeDvAp8xCfxjB7nGEwhSJjeN/lzo8AaG
adV2c+sZSawGRa+UrisdfDkpj4ilwIjpDmVUvQnzViDKYZT9sowKHirq3RBCYPAJw0kQoDTlYJNm
v6z6Mamv9AQoVFY5ob1JhqfSmlZ5umb3o24fOn5WH7Ao244oiflgHw2WkFh3LRLQidZjOGHcJS+y
8YC12Zng8NOzdHKRnNxfSTNpQzENr7r5u8negkE+E59/IfZyMsJJBcEIzEoXkfo7K4Z1VcFXK8En
YpUgQf/IFFoaFZZMve1mlvcIEnUmUl5XABbVMgG/fqvQGNELtNT71KPIDWsKQddUmTGQZrjSB30z
yrFLMLjE/wJ5l+mi85JVJRVrpZWAtWa/Oy15JSqmG56IrW+1jsWJ7DG1rTtlW4TW1g78YzvgKODh
NijJlzmekWpfLtIwuew7dYX2Ne59gtDiTiGyC6J2jz3Zmw1ZYjDkhxavODsEYjNoay18mwv8mY9t
Lu4LNeCYhL+W0dI3QUo3mn7Z5xW+Y8qmAcOrqqWrzlX8+fAD71HYLpa26NFdrfrXurqXxYU8eMiH
DIuZpQfPSkLqVJZLUl6Q8lSYi+5SUk0EMGA70xDup4fZddDoq00K9H5Rh7/rEMxs2qz02t/ksf0U
GH3kSFh29o1/ozLfxiiehV07/EoH0xTXmlkblAmmsgU5F67KyHBaEz0BDqVN79YICwR4wpU/XMYD
JdLgScN21c5bQH7QKhLVRW/byYELFnp4Y4PqXSY1bnksuRHrmA6jyT7ozwbETLOp9wL/kbj2lyad
eLhg7mhC8mlTN2keQqm81gpw95BYraJF8NUW0LL4lIWgLg91Et1YJCCXE+Gg1gLEMuKFoderXIlX
PVBA0w15lKlbmCybGCJXKssK8gEXHN4efuutRzt2clXDirO8me0NbR+BljkaRYqlJHfMLCB1MaUn
C3yLsQZqrySQLC0dNOKAlTHRD0Ycpo+eCzhwovarkg/qKw037IsQPzXtoh2bnR+hvAApLOl+4aC+
8qmQwC+sgtei53pRXF5rx8/91VASPklQxLofIzy7Elb5JOAsIYZSQxGLasKaJnJQNCRMvqzB+IYc
EJkQQN6lPcaKYwt0eufB3ZlS40cWexdtORya1LzBHvoFkNghp84Thj/MqnZN+n71YF0DbYQMoNKa
ua5q76oPsGPTudfA8RvoQJVx+OLxzsIcgr+TE1NHWy+rV6Ud3I7TscRfNfVSHCtXZWzsBvwU86jb
mGzyIKNwKKCzNekjh32lM2l18ncVCAXciJcV2InaR2WrB28HIqFAN3GmuubospigE01Puk9nuMiM
4Eg1qKCHPvilKNEutt5w1ttJokDtkS6lKeVu42vwRMDNy8ItEW5R6bAj6++Dths6cGbjG1bddLn8
W68ZeHqBqmGg2D/gErC29Ba08q1ZSeg0I38FQEszf+Fa6IaJWTi+Mm6x+XD0cdwlOGBmdnmLCsgT
Ds2rUP6V4I8bKD8U/4ZHjk7oZZRlR6NlO8XhhVaCAUMX24ygsGgAbfigec+FZVPFRYN1Y3nRer61
fKwalx0vf6I3K68zN2Iwt3nub+BxrxViioa7wEMsMKlQs2oBQk9HozHcii6krALz8K2Fmd2ErQQa
VzvzUnyOseeL3LIsdFVkVfmU008QgochHV7Vq+zCWytO5gbWAvzxEiQ5ip8/Z0UX9e4/j7BPhj15
P9R6tBRPDK84pl/ll4KcVHXSXb6WVp4bXWrAghCyOptpf0aHnAw7R+DvEv0BncYsENbvAhdScm1r
27dkM8OKNupZUXfxqdI9Y0MoKKDsoAnEXU4KtWZMe1liaeuV/Qos2N8U0CPd8eecSQDN4U7ZzhgO
jWROf4Ad4D8lYDLPZKifq5Aff8Ufx7t3U/bLsdR7hJ7m2sbsTuvKz8XKopxRXoFHPdf8+iKFeT/n
Px/g3Wiiy63ctLzfSXQxkPT7ElypCzkvVt/nxfanNJVZgZ2C1SoMDWGgk7VNEfqs9D7/bWkSftGI
jom0xxP8VgkLzNPjm8bXV1KrwxIMjg3wZKipnC8fDW9929V0PACnARu7KdVmbY8d2HNtaSCchnYm
fOUr5MnA6XnTBbZfbz2dankMnFzjfzvuMACTB9If0Mp9uIT2QGkc06CwO6iwOUXVQTgPXAsSXDQV
e1u+CSv1Vwkkt62M+xI0Uk+KYSXyduiMlSIHTpgLRwjvIYmxTZSvPfhMAN0Bb7sy8aNv6Gutfk7H
1EWabb6EiZFV8hnxACcZ9pN0P4pjKFWPlvIiE+FQl7nuAw8oGd1GGd+Y+IAhaQ0VRRmNBz8aDsJK
bzCCT0SABp1pXza6Tr1YzoEZRgRialdcsTAWDHN7V4TdvoVaNhqvFcKeddOtAsNGf66rfoMGPhNZ
frV/3n1X8yQFztIuK1HUfx0I0MhpUhVZtm08vH6/fT6XVT5unz/YvHfbdIz0CMls0NPzqcCYNnKG
R/kWevNivAOhkN2fS+7pV35O7t/v2NP6WxUi8GdoaJ1rUC8AD0m7Og+RMp+SGTxRbvSaZnHfEHwU
biHP0vqidir9bS5iySx6hFS67AOchmTl+9VabwHyRp5yaOHqxj7BLJl3GsPSQW+kbHGP7F8ye3Ct
QVt2A05Z4FcAEi1TVETMyhmAyMN3vxzwCwr055mz0OdPan6oaeqYtgszfQ16h9qa0DeSPV2p6fDG
qVpKiKx1INvVlq5djLpQCSp8MhB06xwb4nwxM8XhHE5dlgKfle49+bnxYIJL2WZII4fjDMc7D9fG
pD6XZXaLpe3T0AHt9kLsw9vLEvtow+uvU/BGpghcUQRr6FS3oWyiS5juPE1ZGSj+5xXSyHkcOE1i
JnDcwiUkbou/5HfNswfPcIGlFAWT2NFwASg8tAKgEIBW1LWJVgGO281aSn/Inb+bxosq/OmFHJ6w
VKkbmq4ZdBdiyFfYKmHpPMt/SJx5e+eBT7F7Y4mFz1LAd+hzTg5hhdpedb2PwLNxqAAMT2Cek+5a
3UpJ7tIJWijZAacC34gfrTpfoiHSlr/G5BiKOyjygwDcJR5mlFkQ3ef5oWqsjUZwm6f6fppgfpd7
yX4Y8nTTd78mq8PrTJDVAymm5FKmR2skCEx2CTn+TAo0SI6htW3yovqBa8GVrVMZrdpNOwAYFOnC
T6XLciYEo2TRLg1lr7dY9xBkDmDGi6PMFulBbLUJDAywYCNkWsAqha5caFDEw2Rr+vcW+buqk6hT
+I/uCz1dj1jXK6gICoHuDpikgdwreuuJifpE7GsjBSuP0f31gA8hAM38JoK1Bq5qHdqQPoufhYTi
pNZf4I5F/HqnTNA6s0PfFa46UkIhGahsnFGs4NJXngv8Ffzi0KrPMbz72H/zsseyR4u9w8ISUoPQ
gHujUMw19jQJRP4K38nUX8jMrCwfOHbylKJ73shYnbUyRX8b4FPMRQ6aTvOm4zQAqs+RRhTRjxCg
l6HWzjS8BKO2TpoKNisBaNQBi/oxqPdG/MMvqIjF7Way7mN8T1CGd1QysyyHbU4hQir3CkzPzEuu
h6G7KwLI5RqNBq14TfQJGUFpaWKf3ZmRq/kDOpfIkHorpPjX00gb9TG0HkfRrGMkPtVAdczhhwZK
yOuo+uk4QXd44qIMHvWw6tG41L11rL8Rf64A+SxHjkz4GkjHXtm01n0DpQaMpTn8ElSadIXXhKfT
4HNMjVhi5o3qb8I7Jk1wsEY7eE6T5ko3kmUFqjBQoIsUJNaliYTOnBlxArhYTAmCXLcbwPoGwN3Y
KbPB+oXWNndN+sMIxh16v1xjewlW3yjeNJ3itfIYjdqtjQIUyfaqTHpH6UDIgK8vMNKz+E9q/9h3
0aZuyZ6bO5N+cV4/9qTNdiuRtx062XckGOnm+NJAFR7SEvWPp0C/G9VjmxXLCNnX1HuQ/YdBOsZV
Cdg+2mDwzUtcO+ikIgELDqgk3Rsy84eo0C6laYdcHbQTrLwN9qG/n6Qb0KKLMf8R99gHyoUTtsDm
IJcEBbR3/XkMbgQs97C0ZqFU1knfl1aJh7UnXFPk90LvcLqjLMoSUA9xRt1CqJXlQAPEzIJLFfya
LiE3TwFPGext71duSCkkT5BT0RG1ot4vB40rjd2igmVslMhy6DByD1UdUf0bV0WkX2dD+NR1vPZJ
epWG8i7Hx0SEVIkxgbV5aAQq7HI+YeORrMsWVilYy1jXDhJp0ihdFzpwD2l4tkVz7PRDKw75eEuv
L/M63ERQXuBglCaeaiQsvZasPA6yVxF7xY8JxS4vFy70iR5Y+qxqEJEQhbF6HavWjdYhsFTUHJNC
gsLlr/0JBIF1NNOYSCM4ThVQG6kkVryRo5tQJ3cc4JFx91QZ5oMaIJwMTSZDwe0NCZbCW2NiUjYW
OVW1nUS/TlV1X8RYnUfS1hgiR21fqiHfJyPqn9rPSQoOmpdvpNxwh+pyrhfaaBeZ6PGayBBl7Ju0
wqMv5lWCz9GE6sGEXIdMi190AFgviuFn3B6kTIc6h9aSFbuQj5xEXSfhtgoRwYJ9N1IBD3gtBADf
QttPvorIBlLw9outuDXV16bcyz7Sg8bk9C0yVQ18QBCZUXarU7bHjHApla9FcWOoYMenV4/zUUeI
D0/yix9c5sFVUl0iC+MPgC4xTerN194vXRFuUxZw9I9Tn29bO5/zSyCZg45ZhraoTdhctAHwntnm
Tf2j0FFwC7JHueSirfnJk2Y5Hi5C5SShlFCBiOtIiWriDmh+enAfRP11jJWwlN2X+LH5g7eVC2UR
x9fmBVStcZGsYzajr2CppMW73qZmlqtbEyBzkI/EEdTnwjHdNLm58WvNtfsUwY7bxIvQXwuuFAS+
uE0OISCCRgpuw/gQjt6mFull5A0b31evcinado19MEv/b5zO/5q4/csgEf2vTdyQE3jJ6Ru9t3Cb
/x9/W7hp6l8a5FvLpMc/G7KpJF79W938n39pyl8mSp2yxX+2gVPP3aksr5rg//xLEX/xJ6icoyeo
qzJAxH8buMl/QaLGyYXuNn1noVv/iYHb7Pf2vr1sChlrOVszaLlqiNGap0BHflmvZgNsmQlXtHUp
zTa8vqbZLpdkeI+9pXhUzF5GuymTAeUiE+RkNdwgFKX8aOsXDVEqwvQgkAU93bdwkq1NVPSQ9cfZ
ryGJMTNQJiyw91iACnUnzBxrFWEbN6OksZs10RQIzJgGIoONBRFptHII1Bnej8SVyXAj2WF6kBqZ
uvCgi3arRYoXbpB3bNcKtVBEpDwtJmAFSg+3x0nSMEVTIIKxVtPrqiOaJq2sTIuoUr17qnnFYrAM
1IiTviL8LUFmN6IoKYMn3Zoerur2U1jNnk/VIpHokvtKRhE94D7tEnoV1Bmr5hCkqLcMlZ1dd6Ga
HIXPH8RzoDh63BlQn8clDooUbIsOWQQ7U1+B6KUXiUKnqQ06JIYq9J2Q0dIq/aBPWrhVouuhtemN
QnrdgHcVK1vPlcMQNcPPQfHy+zGIwKFQiOY1FxMAla6lfpbnoRNIfegkNXpfozqg+BX3ngsemUdd
b1oXv1dUJvCWknZRGfm3hRWYw56O7IzZxWpjrIZxETZF6yBAGF1bdToTiKeAAjMRXpyNxkWiZ9JL
W+g4jZVok9+V2swwhLM0XFeAO9+EQbrSUXDdTyMA7Siry+sil30k2yISYtUKBDrYpUTPburH8lJp
EqTjI9+roWAGKgVb2yC47i1T31t6iEQMAY7nDhN+SPKkVqu+yw0J/XtV/k1XsXR9L4cdjapjTbAm
yQkJUD1hDe6kuV49BrqOE4hlDMld5ylFsKowpIcaxV4PLxLPpxObh6kk7aop765KKMng9e32JhwU
GnOWPttr9YnmWnhpH0tVivZViH8ZsbKKB02r5rhZi1Z0bsMyRU+plsz9PFNVblojJCtpCpgmlS1f
C5OAWpFzfT9kcrckp2zpbBXR1RQp01tXlNNBIKQPNyYtf5pxoLygITfcZ1ZV/FaVElOocnijSS0v
cR6aQ6pqODaeGTzQZKuf4loJEecPIBqOjVbrN5NkTPYFnSCKyRmKzBtd+FoPr8yApS6mqevpRZhl
tOnsPrPgg+SUziVt9mtt4e/wvAnSTT3XUvq6EQ6IyNSkGLDAOQ3YSG3ajE9RNhnBCo3BROG5DkE+
ws9NbkYbn1csb1qbt7fOpmYjsyn9dQoZgkhcdOi1ida0m5+JmqmXSTn0b/lgj/6l2k7l9bvr9/g3
Nua92dXHZp3JHYcHB40/gbeWreJ29bEmKRBPEkZL57NPHqRScMgN9/sRxMeqyj9DKDDHTMUE2XFa
LdMVKwwhFAvi5kWwHdczSFw+0DdZoQtzBBbrzDguIL/1AjeTZbK8h2G6LZ9D91wdRJnhWv/GB/3z
UxC5RnaWDcyr8HG2g6cZcgqWb6GtdVTnL8mkf3jb7gXDe+9i1tmIdvRkUlTGnHN4EnUuHn039lxU
fFf1QbQnaQTKLQu0Hgx8CK7rDeIytHb2IXVoR7+SXquL8IEXIlhZ61lZGaz5us2uKM30zutQudBI
Fxogd9wNbr7/RqcP259dANybcrEqBA/cx9+WAaiUpdIQ+A/CoO7vVPK/sBGL70f5CAL7Z/VNDTyd
ORekT5Gbal2GrVGBBZ5Rg7OFjbqut9X6XNH568n8e5iT/nPWFZGaqEzGnwVgE88biRn77roZNfXM
uqlfHh9IF7N+CgHBn4/+7qMOKkdebXWY92Do68vE8Veznc2wSdjeKJTd65fTY8tmj5fI9UBS8BaI
P9FcSNaFg8vIVXSIdMd37buzVIIvV/vdTyMser/fqIQnsQVWZWEdwLEiZ+HvlU32mEQb5TreUvsA
wtU+8gy4bPY7//H7b/2xRP73t8YzF0Vp21R1VTv5CGaSw5macd+2tW7begO+saD+gz6bqXQutc/v
h/uzQ09P1/vxTnaw19tBGtHjXyD9szWW9cFDu/5NugzipX2jbNIDetGrGUfZHKB6HamAvaST8+sM
duuPbPV3P2O+C9/tB8+nPojUM6YRK3np74PnEYGjTXdU9ym9w0V8kJYUIqEzJZtijTqMI+/rK54r
ZFA3xh5f2DOwrpMGzOfvcHLjYZ1N/y1iXcyrGTQ75ssZQxdcGm5xn1yb2+8/wwn76P8Nh7GraqM8
jcPSx/nrEntBNub6r4M0zSqZTZ1y1n4G7elLtPQ29q8zQ35xp5uqLJuyroFWBMv6ccg2tezILMt5
ycl2F/muHNftG+DwDaQCjQab5lZrChoeXNrVmbG/eNrej62d0HVqOFGVmjM2Yljrals5neNv2G3L
niDLVXeaOx3GTXA4M+wXNxxtdHmm0Bi6LZ9W8/s8r/W+5aOG3kTajCpZI1GeykCNDQUBW5PAmQuI
45vxqoxGV9NuSj/besYdWBYjHp7O/J6P3YU/X/3D7zk57FXRFZXl83u0Q7tqEWVczrYAHVWeFTyp
/04r9YvrBXweEln6nCliFvHxo6dpNBCRsc+g+WrXyMA49BYO8nP1qMrL8klfCxcbtkP8YiCU/vL9
dL/66NxoEJgNCxilfvLRNUtSQ0NitnYdXFiZ/aucmtvQ4oJpqjP3yVd7+/1QJ9OUJw9v25zQafJt
faNbvrdstQL9nzFNVxgBykhOstW+n9/Xg4JcZm44cJwGSZY2VXpi8nBkID5CmVpaKm8DfRcWMjrj
xt33o311Q5m6pghB9Ik1+ic6WCdNhLgsZ7+bXNMt1/aShxM/NtR7zt6HXzyKED4hnqnYu9ImO3km
5EgEuYmL7UIW6A3qcvqrGKXlpOQPzdS6Y9Tf2FlLp0k9c1P8IUScPAwm9W7eY+4pC5Ttxw3bj0MY
iJiHwSmexLpzaALdqRtpmTwGDiK8VwhXOvipPCA67KLSdGaNv7gwQFlQtLA1WTbEaeGii0IZJa5R
W7Q7vqmxwwf0iIZlslDXq3xb7YLd/qxDxxeXwocxT+LdZqi0KJHILOqVdDU47XriXmzBV6A9AA/1
3NPzxRQp88BBtVUIAFRpPi5woOMo1iuGtohrjCJQgPdilHOEfOZDfrVdbVqplOEZSZZPT39pDUbQ
1YxTI32d4AhhIJSflcoiBUtEPdhoftih2EshcsqcGwkMzpmP+cX9QyplKFj6Af3/5NfRJeXIFuMX
ZH131cFq66hWT63hRuhJpBUQyLbcqRMKArIHAlqiHwY/j8psggO4XZkrqbbWZ37TV6tvUhlQFRny
BR34j6uv2G2ShBJp8Syj0WzT1TbGghV0ybDKVqFDCxKt8DOxzRf3lI1BM8grEmYYTyexRj/IU1fM
Y2r4elsltmMurqQeEnuz7O/3E/xyfkA9FDQGZ5T8yfHN0jwz2Muo/tIRyFUZ5V3zKjOF+/0wX02J
HaxbGF3rpnb6sEd1rKVGgLhwZfZAr7h+/XJlcP8XBobOyTmbpfld/ngpKULXNd5R3F/YSCdfrVU1
IcIRUHdibwKoj4oaOd9P6PO6MQLVUgVa+Mz3PVm3wjKbOEsGqvY0hdUePr+NVmh9jkP15UTeDSM+
bj9tMAZfChgmsPqdBhI6C1+/n8iXI3CxWDwOxDrayQhAAFHYSHsFxg/NV1TRaTD9T9aKsFnWFYJZ
2EsfJyEaZdQbrcU3Bm1R6pyXZj7dqqI89xh8jp2ALcnzFSbjN0Z5+uM4WRy13mgwTr0aHMVB0x9A
Fu3qRXhtr/Q1zFongm/mLWEOrs+RK09AcHOs+GH00/tTbn0kb0xG/1u1qH5D7xtaKoCoH/8hwf3z
WCe7T6TQMwLvz1idE27UPXCM7hbLuGjxilqLm7p5dzw36ldbHmy4CqrRJEpUTw5VUqt2UlfohXq4
KPS+5xbdsJQi/8xu+SKiYCFtxSSa4Fr6FKalUiS1Obo+i/G6ezLWigsfZFlTeV94PLSqvs4ei5V0
PV7Uv6pl0G/rzVnhh3n9Tu8PXlqZSx/krNDnQ/Mu26Xe7lHtpHM3G4/JB38lIVZgLepjtT4XTnyx
aVlRKneYnNkY954ejl6T8tBkVf14h3Tvc6mgbJdra88Pt1h5Ytc+3X9/4k9gWn92z4chTyKKAYeF
QbNjdLwdE/4Xtl+IkrFZZRfHzGv/bHXyi43DeISmiqqqNKxO3jOjHos89phiYcdbFpyCgQH/ST5D
4RcfSZL/zMume0XJl/rMacDd9VWWegO3fomPG3ZZKzBEI87tVwZQlNV8/ENX5Lt0ryqL4Wje6Ufr
H+my/21//svguP/X7U8QHEXzoffJX/+796kaf82JLMV43Kl5BSxOwN+9T6H9Zdi6ZtIPZefzPLBx
/ul9qspfBlV14lCNxEIlDPr/vU+h/GX/CYj5c0MHZm3+J73P+dJ6f9K1ORfkpiEEIlDQPyUQnozD
gmr4sFOggg3qBnHbXQH1XejF0rbr9btVOf79D3/XlfgzHIxr3luN42CcXNwQIK2gmghZ20LsAxGt
Zwj890Mop6ng32PMntwWCF6i+Y+Xl4GmZOfZqDCAlN1OiFsJx/jt4YAXLq6GxZtGxaoFdbrYMcHt
mbFPL07Gtgjv+KxzLsrX+Th24BftOGQeBJXiOaivEk+FhlfsPf++hCahVZBXrhMJNBugmzNDn55+
jUQPx09yB8bn8TiZNmL1OGtKDC1lV12D7626g9lyqXTaZui8C/hheNf9SMR0/f3Ap7cbXxIiMfJA
aAXxQT8td+kZvdWLGIRSamEfFqgrT0LGoxWteubTnr4V81B06gltLc4Rgc7H1Q073Ur9lqHqYnzR
ccS7UJDoD+XhuvCTexTB7Zs6hSH6/QS/GJUuGi6uFiG1gkTEx1FlUKRmHkZIRkx+BLRWES8xeM2V
N8TbPgauau80BMJevx91fmI/HEwLfhJm67yIdNg+fc5SsTBrGP1oKWtTni1FpOSvSlz62pnMZH7s
TsfBktUQpHg6X3C+IN499ROwUtxfMtykLG+m0q4GES9yOdvjC3BmIT9PSQfLoRuyCfdc/ZTfGlGg
mUUp5r5xi2vHzyD4/Z+u2TyAPRebVAilp2lPLEzgDXAFl5Eo1lmCzn1apfXq+0E+73cGgTdPWWtW
2D9dsFa2wkSeFa2nxPi/nJ3HcuNI1yifCBGwBWBLEvSkDEW5DUJSd8N7VME8/U3Oaj51x3T8dzkm
AiJQKJw6JtNnmrTqF7mA3Ouak/2X9f7b5owwwLaBNxhEBaSWvj0bI8zI2ckppfdY0mm9ngHtmT6G
bmjKNI799+/609OxQbRxQDH/MLLjaqVhOHWVLofIufCyPzLW+39ea/we3iOOQjyg3yJobTBkrdOW
wij1gLPM0rpsO4Dm+2CAZszXANC7x//zj+IF4u55bBkk6b7dwTGpu5kJyAzTYcn5ri/CYV1UXviX
y/xhTTAwwroz3Vsa4ftpuNAMK+oijzWBvtJBTGcxV2m37V9eoN93ohtFhAzQrVlK+N+/nj1dcn2X
oCuBhuQLiIfSoD9HaIDi/SpiBoAWPYze9TL2bFpi/vtW/mEx0vhDEoOVr5MQ+vZpE25k50hA+I3T
RcueNPFKO/TDZF3/+zK/70eYam1S8BTxKfp8byow/Fn52cgUnunW2JWy1KqrvVZ16qtzDU4kUZrF
yV/W5W8RA3QW0hgGIRfLhED6f/fAou5MfZIdGhhRYN2sPgzPJ9c1TB+MPFYPRZR3W+Gm3V/u6B9W
jWUhquZd0Plufv9yurnehSplrDlXedAYDF4kjb4xvfAvB4Pvb7YgEGH146d2fIPSyrcnlxoaw+cF
T66eIu0uklMV+Gbd/SX2+f7gvl/l9lf8+0OSVaFVlJRlaXYzV7EVucu8msXBxPEe5MyH/OWhfb97
3693++//ul7UD52laG1fhnTiGoe5eTaby3+vxT9ewmK1U5KiaPI9oVLL2k6kzyWm9jwxPlXA8fRh
+//3Vb6vPn6IDf2IBU/+2fmt5GVmmczSEiGa40TDkShuCIo6Cn8NRQbHphhMSBa5vVOzBXQjllHy
lwDuDw/Otg0Krbc3wPrtV475ZJSdNzHi3CExlpG2pgkSE0ZZMNrtV3/hWH3fw/75tUQB7GO+Dgzm
247sOQMjo6XKlgNmIGQPTEwtR7OMX0oph6AOx/EohMhPdTpNf7Gp/+Fx2pRK2D057VBe/bZiyLxx
2rAHbjTtZJ+4PdWmHkt054WUH//9TP/wyv3PpW73/F+LMwWTYoqMXWyuzFcx+Wv4XX9ZnH+8kf/6
Nd9upM6wUjzMBMND5HvHpG4wwyn50Ildj91iUZdI0IpEW/5//LB/zp/EP8TC3646J1lPLwBpeDMk
ZzrGnsvE1OT/ZZH89kqw+WOtMDhS3H7hP0ibf90+mvV6paVmy/gz1tgwqV5oLJ8Woe1tozK+q9Ps
SckYT4Hzl03sn7nVf4fDRMDkUMmi+rS1uWRtvj24Bo1fFIPdJk65Dso9TCN8+dH8mefNEzf5ynjd
qgffUvj5y3/f2t+W57dLf1uenhW2uuwU8gz/xXdBCJdfCciZ/77Ib40c33/gt5WZDDJjuDXmJFri
zgyTtYb2mOHlD1+EDY2oGZM9xsau7ZUvkr3Whbs4M/jsOhmk2TD6C7fztlx+u900fXsoIlFjfY/Y
xUB9uO950BYO9SZW+05N+zYpj1aS7aX+twr/n27x7dX3CGB08h7fbnHTRa60Jp6uJ+pj0kSbBskL
hY6/3eTvZ/HbTb5h1+h51z1aZr51EviWZocq4VEy6PVzcMb7NGPklelEbzYRzwy9BXzBM5H2MULB
mfK/n/GfbqpLPZi/wXWp9HwLZ7LEHeTQMzM3x6UtnyK/s6u1VaTNfN+T4gkfc5velvWYq9p5/O9L
/7bvcYAE88XGQP6DbfZbqCFmyANVDyzJGb2jYRa/bLv4/O9L/Lbv3S7B5u3c6v3kzr79ugoHSmWO
aO9ThYYFdLs+ZWho+lXXGs+Rljz04fR/3fS+XdL8302hYLQzdFBnLPuCLtI5a/Zz8bdY47ev8Ldr
fLtzo2fHpHfm2zX696Fy8DvGh4aengVD5n/7PYb72w7LqdIi2CBVBHrR+f4m8HO8OKehf9EKpNai
MWdj1ST6RHHI1pV7N+r/qFl0bjCwmnmm5asWNxGzOaDbpGoxlKg+esuBq2406GlVJPBcjkJk8yMe
3k/Z2PsmBzQMXC/6UVm03ye8fdu2MNyTCC0XN7iLqKlMm8Bm9HXR2yI7WJ7UFxGD7YU2iUUlpg/c
llc5jpfsRm/XjTehvE1t/wjnpwKv9YS4abLLU06zR2Jz3q+TpVabD9lw1LRN63+KDrMt4lTGJg8Q
4wMbz8EiZcC4ZtbZqVdQDGD+y8Bt/c2cbiPr2pho3Ipso5wmiN3q0KluW7agReyLocrtELZ7O04Z
cfyqmM40850DyMvQy31pGQ9x266kra09xtxpwTllKNwZPFoJ+sVlUq0rSs1L5miqZRwPB7sR58qL
t6H7jAX4ODnVccDKWA/JWUzwd3OnwKQrR2Yx8UZUyuqWJKKewr7Y0kEO2IY0Cr76Dj4YnQ1MwDFP
36lz2W1NP9k74VMvvvCcYyZKr5rmil0FscEfnS+HfIU9Jg+Fh2DPQdtgm1tn5mMTtS3W9wzXJAIf
kV6ypH8xBNIDAG626JamervJtMskCdy+Wthsn+5ww641jEVbG6ErnDrJjZWwFHq4D0HsjMzeWvWv
VNMC2v453pTozfziYbCoSQh7yQwiR+Vy0czXMO73jYkB0kvRVk8nQ2KKGLA47W7T7MzAwcfrk8Dm
HfSvsbOYk8ehWxS06zcnX+yltb0x2lLmnQ10VjWft4Uls82UnuFBmc1HTEOmNyCEPTIalkwbyARd
x4DL1kjXUrODzsbrzgxuW22QUcJ/dII+eimTH2MOzgsxE1N4KwaBFtJIn6ZC39vg8/USvrWbbWKa
uOfkRcvUi4skq24Ymq6ilVfgmfcRQSyxUObpxqdXNV649m5kQLx7ulGuUgYI9JGurONsP6FOO6Cu
xGz2WukPo2OsuK+G/WsIqf/5NbDLvc1a8OCMHXMZ7qw0vhZ9uByd04zG0N/29SNm3JUpHhxA8U57
78rHfL6TaN/GVFvnib+Mo3haJaqGQHayhLM3hbazzGs6/poZEUlxGRjG51zv8nBeTcbGjPtVM1cw
KZ5r54KUVAHYEYHro3hNrqlCAp6dbPM629eKcuQ4PlFzwm1GcCFcRjyDeXoC2szseAZI91REu4Gj
hd++dJLgTnkLM5R7I1J3hksnRC+6nReBL8I0rIo1IOlFMe3y5O0m1tPnXamYy6Cb/z6BXdmGsKIP
sffpmpfB+tAM2LhQMMBqeaV9oJzBgb7zXyq55vom3lfvzkgxEbdHIdUqJgvv8E/6Ma6dteTJIDZV
jOkCnirWqdwU6Tq1n5i8dp5ywFTxh3JWjn8q+vNo7jm4WAwvNyNJuYKxrKPdMYejfuqDbBZNyDCW
4YdfdNAwXTP9LBGm0fL4fLNa9DpTo7k9zOscEB2n2MDxOnU/EVqDR6xLYG+MI/VWPyGamAOLF3ps
5XlK+01nITAH4ZDP2Q/l5QgneXMTptJHNTG5VgiGZeOtzJxnOdu4qcK9E9Oq643hg49WvMibOzPn
jat08cAQ17qJ/bMKNQAjCSC52x8sYrFpevemvqbZyD5msbgKyaS/zgzlZBpLk3YMf4w24CMWYaWt
W9V+2DW0odzZs6HsAHEtUuNdmk4QFeOuK/1t2p2rUL/DdJHDErPStcmTr+Z9Iu9sb6nh9M6eyLhE
vsX6fmqNR9dbewBc462LNPZmOGT+SVfr3L/W2NSGQ4g8M187H5mzbpl9T3ANB2W8LcMHs2CbhnrT
fxkdiyk71OWpzAK+E4nz4LXPQAg0bJ4fVbqeiiuqd4O8IKmfSWSM6OyJzxYx36q8YN51a4/LpqNf
5zwPB5aax7xvt9LcQwt9gWGeERF1R8+BFm3SYtpEVg/H/E0k+WcU9RdnUOdI/ez5M2oiaBWhCema
B2MaTmZYbAZ/urP6ql62c7RwBtNnQNlZa9hQSN8lr3XRrVWuX3p7Wk0iITUEqwq/Cp+uWF1ldjT7
KcDLvvWKGyfvVA2vVvacZW+h8dDZJzH+qKtNJja+2vbJRt02u3s1Bwmbo0Z32XAdJxZ5g+4rC0K+
iYP30jlbQCJ+/qMgAwHGXct+SP/BVl9hjGU7fQLWMPpBEh2y5D0xDnnJ2G+Cbzh5i7xXC/c0YgEQ
WtmNUjb/ipF7eL9EtpntgC8aQ3P9msaJMnqh3LDI4kd9XtvWWesuNSAFByiCs67qRegt8+EXxchQ
VKuqbe796KUe9XV843fOz4Nxtv0WYF504HS7ylLvWFaMojNHCL9GPZXlSBOiw5JXbvaZA13shnLV
Jg6T6hZ5FRP/H4WNprFOQ5oEhnqGAr6SSfcmokfnBgCT7sn18HlrROvNG62OgTHQWg93LJ22rt7e
1m01NJu8urOqXYaC0WcMHslq19NRUF2cAvwmqQxqvtew1p5NJzoPo/EID0P3P3QDKeAJoSh8Lmdr
MEJa1dfGoyQJMA9V650/xPuuSa9ln9ynpn9I/WI3TQ99zz4Oh2jiqVx9tz+3FUDOybjYuot6xngf
CggC/RxM+M98MInj7LLTiqXXfBTm1vI4rIfncrqMtr90rbsG+6udFLhE9j5snoG8fx7x/CZvVeQ/
FOPyTLizriwUN6cuesv1ratBRVzX4brRmhU65m1ZXGyNjtsBpFbz3s1no74O1kmUH2GhwPPPq8Rk
HGHw8DKzj6TVuTWSrVB0tjifrj4Hg+bz4DG0D4e+eA0ZsIdpQIF4kzfH2Vun2mUI33wSGxMCGzm2
q6qaUeJATdDtu2KG5KPGCDiGsZtQ0Atwa6mB9xpaQFwAFezYhGZrM8SnDOe1DqW0s7q7Kh+3WcQH
p663aTywn4PjzrJNYlc0TDkXyMhrVN8gP28+0X4CYdKG761AJqUVzcrDPjAUxk7qYjXcYhXuWEWI
0Nn73gSRu7d7fZUNH9aAqCFJDlPobOIGkFvNBjEZgWFDhZyyizUT7UoVtMwZFmP5JmZMkjjmjmRx
H2P72Wsu2mzAvMnWBgxGXSYYW6PH1hs2g7B/yvgVol1VH+bcWU2af+wLGzCgedLCYSNjfRfJryoR
Oyc8aeOwwjYMwad7T6uHaHBf8vjAxOElp8wnp9tHACN9S4O/sSScYODx1UL3EEtICoxLL9CYPoyd
Fxhuwr5yjdW8rrTuOkXW2tQxMA8/Zxw0Xt4tevzN5gfjw7HbPMZeFCSEow7WI3LA+1w/2/XTjapj
yRj6UgS41J/lomAXNZtyFfpAa+1cvXtePy8iZTxOw4dq5U7aRz0MLL52WLZgyTmcxPRsHolpOFDM
Gn+ZWfu0Y4VTQGpGPMmBr7oj5nDddnO5zuzK5zH3hLfMc16oPal1lbTlyckifcHQbbMYwty/U25R
7Y0M31PRu4cytQ56lZjB7PtDMGewVl0HCgry2VAQVvitedFn/eSlvVjZcbJKJjtIRFFsODWszTZ6
rifmsb0ciFj5nHEz3Fi/q1y1K8GEFJl23/X52TLMPqh84T17iT9sM8rMJiwgtO/L0jyOBgvE1e5Y
hryIvbl3R++kbjxL9GNwNe4b+Iytlx5byJNR+RTJH36N8TtFVpmt++R56PbleEpHk0POOgEy0s+7
gs9jbZ+YeT9qYBbHkjpOWh3s0Vtktf3CZMKThyeGjPSqte5HGULFFag1rnMFp2liereE91m7nOeq
RyMvL2334Tg/q3ob5uoYjRHu+C1CWZocXECHSN9pwlDudZT5qs7wTRXdUvTDSu/4dnj3ngYtglVW
I4y0onrZTxw/fPjDrKfJ31pC8cnhtFibr1GF9ywal8VkPvHKvhR5u45THfqQ7z/4fnmXA95pCEv8
qPpsYwUe+qboGpcY5mWaL6qQHlVEu61X3UkkcDVfXg3wpTOsu/Q0GWqpsnA5kfDXMm/VyqM3vBd0
nVeQQyrt3gJw5fo1g33PKbuoUmTEIPEIkEX6jdzN+SDxL5W+D+v+WAixxTC2KhqxN8rjlPHZuxsz
5GXtvVUwwIQbz4FurJGK09qvdmgPfid3SUJCt4+CuOLsEkc7rLewZbMNc+IcZ0hdC3HRVALLNW3W
rsr3Msnaj3HWPg3fQEkhYFbhaCnsZnOT7o500LGZBwXiEzOs1vk434eCZyKK+aktp18RRBr7ynhz
lR1M797H5qfzjXScIzRMgp8fNXGsSSjGivDEDa7hLFyUc34dVGwVWdaua/c0RZwhks3tMz9FlzJ/
rGx9y3MYMmuRynZhlzHQrhUEK2R6dX4nolfbfJ0HTOj3KnowqWunidrMMvoKcxCNhH9FFAc5JA+a
ZeL2NDrEyhyGm3zjwtoqy100b8ACTSkae89kEBKLugenR9LIAI7cGU5jBUUvOmftbkQg1TxwFrOL
Ld37ApRYd2t2egGduWkY9YFLCzLVWBJmld3RMXZm/gRfSvk7gwAVl/pEkOfInQpV0BvbNJyR2o8f
jJ0bwVyAD2ZJB5lmAv565dRQaSun3yt703nAY/W6WzblCXfcyMpagJC96WxjOEwet+lX3c5LbDYL
S9TcbhspubNsbzSZUa1EvI/lfaoFIGgUlEWDY2vJv891AZliKd1DmPBbLQ61q5nO3unKXFEQxz8S
Dwwwlb5zGL7O2g8D98G08OINZNQhP7cF6sbqA43RomM6O/mhVUs3OVscTbX5BdFOx/nTJbQdD1mZ
gDzee+29Hp572C4dfmhbPfbyRSMIplBz0PPiQCPWYwrXpoSBy4m1JMPTQ3xvngeh7zXIPSFgRC35
qRWXgWRM7k/7rN+28mMiEQMgLNSWlvnU6uyfeImZ6+3C90lo26alvYb+dbpyaS6/fR8d8gDgkaY1
jsEoR0kGGqcHIkOXKImUeWbGCBB7AmMYoMipNNo9mOEEMdPcPHUR+9YA5o7Bgov0lnP2AeMWbFlH
RggpfApJq1vDAliknJB8Tua2wcd2FUUYgR/S6X7gPRm8wyjI0Y9BL4mHiH5WE3DiztmPhUl3BvF8
OjAzYp31tjqUimi0eqy8FK5ypxMUkhXIOJVeB1/nqu3TrDer0JkCBxCfZmuLxnqq9b1T6Utgpgun
7APX7ldWVK4SzyHRYa/zoVnkyXGM2uVobCIT0j2rOpV8jTsOOpYR0FtnV3etv4+s+mQaX1l4shrU
tTWBkaoXKkOxIpTc1aMdZGX4VWv9r9E3dtVc7DQd8JZsHTbHtxEJBlLxgy3LwBAmO7egxTo5a7QK
6Tpk4xuLzZhIYCDpLTnqY0T0vZ3SPzIQlmF3lm2xV81Lbz741rRoomiXk3hOk592dOra7p5wjZ84
BeMMUi2LLm2VIk1vDkUekd7KQbTd3hZn2XmI2bGJjkt8RJzkQk8upUH87/ttAtUK8r/0RHrs8cvw
o5M5KJJOuotCnxkjLHpyY0NIfZ3kt/MpfWKvwJzE1C06DmoPuZisN6e2yQ90STIDqDRU+GR4QHXT
yITTHnrN+2CSSNP4l+tBfQwmmIq+LaADlvNos0E0kf5Yl5qDt2iqYEx3qsnZsGftvS37ol0O2e27
xG8u76coGfh6j4mGXWBgNeaW0nedFWeHxEuBiESlhhE7b+x2HXb4CDSHeoGLFZ5kLQXLhdsaebXt
EpNMpGjTd8dP54OXuS6NvfoIDkqPmq1liPyqJaMod11s15diFNU92dnqhlZDTd5hcYeB4ZiPOr2t
ezl0SN4VjRJB1XTDRovaJmikOT3bZjaRzTKta1dI82nwDPlVFG75U/qhIS/JwHayDGEewzaYy+zT
i5J638Z1DEqEGf1VpLX5h4HTOd/OsSSuaRwGrHQJuNqoKDX1Cc8VzDbR6kqNmRFYDU9xRXGu8dkp
2uZNuEm3mTvyjsOkFXRk9OWrUEo/dzgL7qOyUtuQBuxLq5gZShxSrW2VeeQAWscgveeE4xLbfP9Q
OQmzj5pGL73LpOdbShL1GAuT5GOfFOXZ8bvWJ+OHkR0wK58uwczdsEA9jjAYnRDnuptVm5n44ats
gbwsBmkxplX0CZlxlQ/Vc6JsIPA6lk6IZWkr97oXJkRsufWQT02D8bcY7wvLrN49OMXdyrsRufvc
t34WjuWTRMWsLU+qm510Xc9DytIvM8hZo8lnlE6HUQboxImMzMgYmbpLS3WeKo+Nze1747HJDOsk
DbdmftZGYmWOHPnrdsoeBLHTXgpNWxiald3pWuby6k8zU9yDEZFtHKylcPmKzprZvUe9oWNhH5oP
rwvjY9ym7s2fWvnkC3J9eO6amdHrxMEEp0ZP38zksEiz2mzNxaDLp9Ad82DQ2/bdvY1spUPOjjFk
3vhYd+U/H8G4PWt1Zv8YnQTwEQjvk1WW/q0Dp7LZMuU2tcaF4UAmz+hCcMu8IG1L899Ktph6zk1p
NjiIG5vgsQFCYm5sM+agL3soTABt67nc9XmOkzxMUlkslBOpEA6Tgtyv2titdw1tQKupcKHnqbm9
XdNN/XRPMFfUb4Whqu7iKK3AjwLTdJ+ZdcVOMszWqcp0Mn86smBUArXT5RxhOZCNgs8EB/bi6EpX
fc1yRP2u8tLRgCV5g1ory473Ik7Fycuq5FXP4O+l5VQuC0xUJCUsO9D1gshQpEpjn6WHbulIDtFO
FgqQu5zHn72haTbeVDNzVfLlOyhhsHMabdkxJF42zQ7KUkW4USP0XVJL1nEh6CFZLLTq3oNMiuYH
SPDi0oaadUqilAyMQxaEFVAyRaggmOqs9pdGTaTdUkjG5J2i0bpA2XG3jMQk8zL2SZYbzKevJyuj
ADFGiRUuvSGaf7U0UzRLc3KNdQsD7q4YI6dbdUJzqQi0ef1lZqJI1p3B0bhXUIi69hF3iboavXg1
ZYsv49ZlA2KrPYZ5jfzdhmzfxWQCxlGuo8qo6aGOzUB4MrsbwC+Jk8Ti5XGOLDjFyJki3VLkFDf8
KKo5/PQE9nr9yWxn88UBO1+3kqk1mO/jp96TpR17CzZpT0vUQz+boONT6LFmRxZdxIncjCX2qKYo
zenoIIx+Ij6jOtDMJZ/+1GjqeNVJgxylI4ZXb9CVtfCnrnvWefaYChUJxKaf+yUjo4QYmWpcNpo5
J5yi0fk8K719y9ucJpFJ7+M16ReKCPHkbBvRa8sWVtUyMd2J9c1Zq/bLMV6idUFe0XRNjZChSz6n
2U/PbpOUD9FY8k1se2VcLSsHpQrn91HkU+wt4xDkXxznrb70tCJ6p043vsRVnBI9x7ckmxy1u4ye
jo3pavFj42UcT9u0vi+RuqzSupw+acZoqF/P+r2CejSTqMKY59ed9661fvJhhJZcVxCW2HMNbXof
LFWRVG2qlCP7kOn+Xo6hspah2ZfB3EXFqrdESVaQFh+zBxHIhy3USm5U5J30GpAflfF6ztdZUbU/
SyDU/c5MeXKrtnSJOdJ+LhWlN2k9mlPTkgYV46Ww7fDizHCiWjQlS4Q1HoFRgYBxqpvouXTJO9WN
hJiSRuzyhW++OhkScYiEOGL83H5Mh1uAbkdmi9S5qIYByQ+htnloNBv3pWqYcOPao/MaOUmOMwj8
kbFIPIYkVxLUUg/KUuiIJWggwTtaiUKcTSfLm4NVI7BeeK2aGM5zpHNzOMczqdi+tZJzR+N6dV9M
bgg1MlN22Hxw190y6BWdKmSl1ZSvUhP61dlv41DfTUXotHeG3dXhzqN7rF5mWNiakwsoBTBGlNz4
tVaU9hwZ9LQrIR81xSyyRdlY9Dv1WqkUeVEPaqokogG+Skkx24Z00jL8mOR1GxeBjGpxo+HSAU2D
hDPN7vsUV9aH6vR9NnHOMuaPHvqMYOxo1ciqLZZeFI2fyo5VvOSeZF9dkxvPVmXK+7zzu1f6ktxT
qpsmhrbifhS+3LWxwQacsZU8h4bf3Y99/LN3EWxDDNxYLZ+rIonxkoUMZma9bW8zN7TOXmG375HV
pIDVSYzQRtRtppiTCV+xF6MleMIJxIahi3aT+uW5s8hzkKe5pv3wa07hLoUDS5VQC/7oKhfuq66X
66Rzjq0NUEb2a7Mh+ymG+qPS6jGw9AFULI6NBUCMki+mt8k4+BfUyRPsgUIjiCvMlohQmBtnkuXa
4gsERjscN75O5mwqYw8VVHcdwnnpdyKYOvtnBZuNylG/dzutBU0GAd4heIPP4JInb9BkUdxZ5/Nb
2bCN+cA324IGuc2YTMfevo6ORjk2XaouWQ2RRcWjuiuLOgjbGc47QpI2JrGkHkcQnZ31RM/3ppDH
nhDdHOotHLOtmyUPML+XfR6tBV/DG0EvTNr7KN52Bvqr4ZdMvAe9MQI5PYGdfaVblYQWI4nA6VxV
bByqNubzLOXBNKxNZusffno3SX3jUkGtKM/XlRVQ2PvRjVvPIssMc8KdtMchzNCOqS09nAu7Jyqy
DjFiF0NCzh1wfKQbvR73ft9ekrjdD8RjbgPkVeuZBvya9OiOcYt1NQNZkMBA5LQZlLVNjG7lpAMp
U45sNLlzega+NYu9MG/VduIPDY+M8IKsl69emK1qHDBjZGxF/ULtaawLyrvJV9SRX3Yj7muCTMH2
FuGYnMOE9hKzX0U8uZhhwRllT8v/1a/EGAeDu/cLuRdVw1k33OuuH2TeqQzPXijXxkTI4VrUhn3v
wka11TycRXVK6g5QX0Tp2A9ag3d3UCfXzF5M2j+z5IcF2CYno9aVQZdYn1bZBgZlHY/L+umaotBV
dS+jaB50dWSLpXGLiv6QBWlG8OppT/kIpLG/3rwowPUWVn6KfeeG8HsDuLlQob72aushotYoTBiI
bn2UslxaoFYVlLvYcsDZGrgNEjrn60D6FLRtJ2jjl7mD2c605k0yhTlOky8RDgK9nE9kOzYy0/G0
QVosLzM1w/qW9pr0oKT7icphH/sAT0qIiHLjtNYxmdd+8djGd6pc9foznMhlpj8Rqa5KeV9xQLYZ
XJx5wXNmH5QTuACHxXCqp34RCUjGfUZe9qPNOVjhu6qideSg2WFWohAvPVB628pXQ/s1VWSaG06x
0cJg4rHn+wbVcDUNTw6zs+F8sjVShMklTXiLsnnZyGEZO3icc7WVCVGJMaxrUH+TRoF39sBaliam
rS55qRx3pQPEzrt5qRsvifsi55cKFlf+MJcDEE35PhtoDJvwzRqGlpc7/mUm9qIPqXWRwRmnhHNv
EPdvvvs0cAzqp3Of75T6UF62suY80OWpRtWUmeadZBEZpn2aR8bLqlVvB9qk85p196rEXWlXy4T/
IxvuY/mmsmfNnOk0O8l8D9rRsH6NUU+RMwz8/hjVzUPMOQXq48K0EjYEY0V2Bf9ZCmmfLh5K2nTA
+NPLTH0SiMqiDi/DDbVE8zPR6LIqUBp4iiAlJ2+LOE1DnHOsKJFTA2NLrdxXZen3BuyKxmpW7lQ9
Y/Hb5LaE8U6JHm6m8+LFL2506Yrz7SjY8cJ3GpVSKlzShlT/4o64PvZG3z+nVbcgij91fngZ+/Qz
E+ZPkTCmZI3LTBxqk5kLTnbWjUi6mnVaTe5vf3OVrA3+k1cmKIISghvuYrZOBDVG/+Dm77G2zatf
Vv+z6hqQyegazDcD6eF80tqL777Srhf6O33Ym95RFYfJP2ZZt4loSJXSXpdIEyL9fpgvffqCZfZH
EhdLLb6N108dGkPsFkGFXqB+IWtrNyclm1sTiIqOCUfGqTpZ3lvnnNusDaxkVbtkidGCWfFDT9aR
3c6IopOk7TzLf5kd4cxobhVjAjWCAFp5dlp2x+jmhnh6a6rPadj5w7hUYli7RJ0i9wnEkBbtBeej
KiIN9TIUHBoYj/qUBMChGCkQ0u4EnruMtMC3fsW0IcaVsaL2eTKa/VCR1yrRgmoED6S/1c33YLLz
JHe92ut4VL1RLRrOOHO469mV9OZajtkdKeLQviaT+wTZc13HnzpLxYy2ypvJswp6mzaWCJcFbV56
T77V9yWGs7fUPpmDvxsAwYvOB1rQUZQiPEoBjVXWjz4VS0MECr+48LO95dRrQ9zNMOv96FBMyY5u
mzt3bj44+BChlURsbNiRuXQjTtP5/2PuPJYjR7J0/Spjs0cbtDCbmUUEEDrICGpyA6NKaOnQTz8f
qupaJyPLklO7a52LymaSIBAO93P+84scII/TFaCR8BNtmHY42O1y6kO91xmIMvW1ZNwZknRl6eO7
atS7dE6uasl/gb0SRQ4Y0o8qPSUK6Q/iHtGex6l+iEz9h+Rg50+uk6mtJ/kR0w3CZIutpCHXl4gA
oriJ7ZBchcaTpADjMm1ltO3OsdMrY2zcml+N5PoFTqZuMO9hRL1aargOcctm+wen0PXHVKlvUmoW
oYEACIw2LaZsjGDS0NqlVbINQuhfFKKaVnraHCyZF5SX2bGSps8E+Dyu2U+zJ6HdQPv0VP8TyyLX
YRkjMXTNRnlVs3k8Ju39zFrnw9VU3/qWsdJbJg50RxlJhaN5NzX6GQ7XQ6K/xhxeIvI0EnM7WXFx
tnUTiRJRp1rpxcOUvXYx5SFVdNeCjDaVG8XyQXJ0cqh0JkjyuutVWhYjo4IJGfhH0WDw4XZ32ghl
rrTPpqITH5maAqZZgl+8fqUbjpdSV+r+yGBX2wQpjvdVQmjirdy+thGMAjIRRzLl8+gsSGjAOXYF
pr7vpvAxlpVVpQRrWw03pX0T19nGn9jYBlzrlGY3GUiqgBiWRkPYyBDuMjljaBdiHfzWtbBWNh25
PeM0AmTcm5zNBp2WCj2Z/I2KK3KTpimtu5aDklpLPk2lSbXxiesMqQSvgU5bcpIFswMxkTMukQBY
XGmEnqAnOYj0djT6fSSaVd1DspuzMpp0LfCKyaW9Ld93/cOYG/t4TIO1VEvUrbx5zUJL6FVkbST/
cOJwFbu0wwMwo8dtiXaxlGwXWtJ9Gqk7OUzECeWDuaDDpGupo9qdqpjkUYf2FjSh8ka5xitYf4tI
dCFtbcLwmdfdntHutQXGu81PxKIOqz5029t2TwQL9mvkhCgni2Mq3DVnkRydmG7CC/RNQH0gbpWV
Ji3iA1PNpRx7Njb8PevcI7FAknhnd0SQKpCQ55L2qmjXVLHjPrYO6T1jiUTaSI+Wfa/+8J/N0ZUf
ZThhjzqhtA/CXCT4wpccWG61wq9fXYweb31/HlwYZffcb7mTsCJuXKxHQHQxVW2ObYPn8AJ7mtms
txMwG7pzqG/8bsnkilK3u8Ki7EBCyoq41lNCdhJUlsW0UXHUSg7+e1Zt0zuiNCjyW2hfK40t/zQ9
Gdtm2e3omSr+JdyEivBVzJpdRMmboli2IIQbccXEgOLsQOKjDENwmZ+lJ3FLVQOnKllMK/shU/cZ
oY17ZPfVprvO9W0QX4GLxXjBQT9odmqMQWxMlF/8FtcL494ioWMV7kPORe2Hld2yltA4AvUGsA5J
4b0rT9EumIUKN9Yu37VvPY5rEEMoydT4AFI7MmFkL1vlmPjxuC0sYcRr7tKZbXM3fKSK45UI1xht
VV7zSOZAcM8yYdw1H4oDSUJbFURQELjdMkOt6x/O8FoYn7V/a40vinMrxJMzHXMuAbMoXanOtiWx
MnMrBq/1BiNseiQLW3PmXKY7GDvhfxK+OdO8VhQHEHknxoztw2C6gEuGWDAkY7JScjpqgGxQJpkD
hltZXwKdDXBppg1TBHlYNf0hbqGEFqvK5eo2WNFKUAg6dzlAruXJwB3E/i0y4ncqpH5LJTkx/rfC
BZRNeK+Guqdmt2KmjLwC62Bfe/6dBFnS82k+bjLuxEVTg+a3uzNutP1EbMObFnICsNcvgnvjh4Vr
OtPVpYTRrliY68jtVsOBGU+0dKw/iGa3IS4gfArlXQ6LfWrmz4SomSUBMAlqBN4deC3wZ3ZDvulu
K8777MMSh2o+m5dVsUgHNpENuZhJeZ0zOODxJAFpHVdmcR3B+4P9ixGrGw34lMH/fPOtNcP4flgL
KtF4CXJCTNyUb6jS9xm8WrpoqtfgBiKO3HnDjbHRplOtuF20huIbPOLLHkTL9tZYl7thB8mbCkWw
1iF0YsfIYc0fLVrJD+Y93ilPLJhh/0fQ1FJ5HGwK3wMzCZMDvFn0dM/lbQO9vNnG7yGJtjRxs7AE
w+g7KXCxDUg/5HhbQaNRzrX9Wms4pHtBsizeAOHGTyVaac9Z9lQ827fQ/uVzT6xydtS6Y9ovI+LL
83Uzxwkt1cyzh8VEuJXYp7EXc5/4iX2GJ7Z5EmZ6nN0hpF+J8cW+D6alOS38Y9l4U+DynXzDRDBb
4YpH49rRFtq16hlrpBoH9hFKboAGCedwj4VEWgWNO6ElFSXtipQc7kI192Zy64s3E94OBtxcL5JW
INMLs+GkJHNoMQ/TPmJp3iGwXL+hpfBZtc6VXq3M3vX9gwazSLlr6q0sP4cEzAmvYh9k+pkS+kGy
6tpplg78moHKWy0W2mnsVqGy0B+4GZjPFZwIZMCsq+oEAinESj1azzQO0MtxiLff6iuKsJtx2gVg
ixSoxNNC19KurOyUwgFmRfqmZxBokIXvNL7oD9t+S3RUSlab8cOYXpzxpSmuDPvKITCkeQ5NuPXZ
axGsHRcHfOhj46LbkGzSfzK21/hzPRz7V2h+3HXppbvpbWqQhS4Za0gbWV4kz9JZ3ien7EGcI1he
n/6JfajZ1SyucTcjFvJCfYzSZceByncRj7XgLAEvFlTuCE44FN7IZQABgb9ci03v3JblWSYEultR
22AKeasgfemJoV4YR3VPMmvH/4lvrsVHtGQIwq70IJGyslH32jP5qsy0N6a1DRnDMXZp3Q6K63Dd
ZD/klQ4gd9PsiAlj8XfTdorvmhLA6obMQO5Rei2OvBvPqnnv7HXScNkh2KLFEh5oP3rkp1mH4BYs
UvqwDib11W7SDhAtasL4dmxX3bmJzx1B1yjgUriluAvMnyajayZxO8vn+D1O4KkmcS5bPXrsryeM
x4lhjFx9pCdfaFdkaa/4erlNPHItxC64jgKqvYV4mx7H10Tetke7X5ofmeIO8XbIPkseoMqKpHt3
WKF++1iyf3RJvpSLe5kjv+g8Ig3J/dWKXWOryx6eRdwSzO35m1Q+IvqNoXjcSdt6pbnyztq0SxTx
cbz2+w8oJRq28KTpNGtjXa/RtB6cZ1h9dJrdRwkfQb3Tj2IrnoIP/zWB7XeQXhjpI3hd6C+xR89S
KkvpQSau11mwCY4SGUF7CE2oQt77997ZGeo2uYt3pK+ny9wLHrUHDvZ2uGoobuUlZA8CHl4caVdR
O70z1RXPuWtTWbugqnse51MHxrxkjIU+xCNnKdkEj9GNRXZoeTLBzq75An6Mc2O5j2Y+7CKctmPr
USoMGzhI3dO0Hr0q207v5lX9Eb2Ig3SCuwmWzWlxcDha435VbcIT5+oZPu4VHan26NxkD/K9+eRc
xdmSn8//ogVn8ZP6DCTWydfUY6M/91DwQoyV459s7QZDp6rzLI226o5GRHUeMnnfNfc5FE6ne+mM
nZGcyfOI86s521yyblu6dmzqac4XeAhL9lXel675pJSLyljD7R+mdY/BueomgGL5iUahClo31yNy
NiDoJ2tmjOchOjACxntiWYQINa4VCtygPVjmfnI2hfYyw8ZduDdCnhqiGBqWz7bvZLdveFmC9rrI
wPFN54eYeXQWgoYw4ADCdheL3dz/sFVCgyJtDKCz6SdN7p7k0Njih7bH8pV9npqA3BMIBcUmqO41
9myRm1eR9KngjzzZrCRDW/mOueod/5FB20I85jNTBKKuuTIgz3UJ01PbQ9j6I+AH6kAohY+H9Yh/
tj14Nadx6AnnNNZ7q7+N6DIIcnDWTTAsOIXqt5kYOdGCsBj1dY/VQ30vDVdoYZj81FAiOt7RvYqo
uUNXtM2NXVic8sdI5gSHJ/4jACGQyVTrH+ktkm4BJZASO/TXMP20fDWwAFSLAO9qIfXxLm8hmDZb
URHQzFiOY9a/rovrwL6KYU+2u0R4U/PHh+m76m35kbB8Bi/M11B9aCtbfFkzGgJso0PCSyEjBF5H
+0yQVSpceaaXJTcapHI6R+W+4b67pUReQwvqsCC5RL/RNPYtr36qz0274wBqNdtDOrucI74y1FL+
KUnta5UHRZuju/KbeKKFG+unTr2mvunHU1mdWqjToBbixcAYUNmb9/gBy+qxtOF5HJzPUVuKRzie
zNBLqLXPNXNiXVslEtuzeaiAHksr3Nv5c9+mW0XUiyTV3ipIXxqDCOWVrbWNSDz7obHHg2DP0oX8
RpeuSLQjeQdU6bF41Vuv77dTvisgq9kwAssMMlRUH3XyyjqJPueekGq8Qe4jPo6krGmGkTUNq5lg
Yyyb8rmC9mCeE/piUgufTccbP3nrJfy3Hdx+lcqdXjiybLZDextzIhG2sOijbBuidRCL1rknPsap
1nPmOD1aB1Mr5BQlZpE8Cif1uAU9/RTalvxNh+F5QbNJRE4ELlGTg1XF7XIYXF3s9eYP7VJIWt9C
s1e+dEqjdaWsnQrLvEXvPBXTep4aE2843tPhA3bJsDUfp5zxpiuV0jLT83XFqm5QCFWtG1isbEBn
qWVmYAOCVrdWkS4HAFMjI5coLnyyLcvrQYv2SdGjCQLFLbW0cY3cYviikQ2n7+tOkZCDteV+DCNl
FVKpTGESHiS7dZ4MKYbCj+4qlRnfNf4ucTQAIy4CcSjSHQpJhvOIy+BKtpY97lX47N0gpL0l2ibm
/Kust5pUM1gA0WvSxM3KIRIuDBG9EQxon/2mioxNk8LodRE0AAtWtgKISfAFi9w08L+qhmZ6Fl3g
Pw+xCuc8gCvJuvfPXRela3LZ+y3EoObJz8Jyl/pqeuohj3+Epa2u2qmI7rOpo+no+u6slH26xkQE
RqdsTDtjhFySRmZ+nEx/2CqafI4D4LLEiMsnPSJRXU6YAEHjtphyYos1jHszU3Jy6QSbQGZguYD1
iDJeG1UGtNG3knaQSC8faAcCY+3j+HQX9iAMToj2SeDwQUMR9CMlWCI0L8qhh3gDMws4Fzq1poTw
UJh5x0xZgTGo2ilrOuqi8awGnCdTN8cZkRV0V1lS+kRGTOAGUQxTNDbztrgnGorpVAiUbyLyafpw
+mgTi6xlOElbE0WLKymFBEE3NigxcwGdDIYnznLVj2wgexscNYeCmpQ5ioZKrnZNL+ub2Miy42Ah
y2DUETfFRmkJu+NuMHdcmNb0nEQAyfHUa/uC3Dsfdl1QbmBo80qFalDyd0ZURcjwrDBFup5sX6Gn
6bvH1pw9x2yWAWgYhUgMIGkaNeCFD8oaWczJ5kCgeZUTL+9GYmhdAltp4srQ8uwmRfLQpjSFIh8/
gx5JJOGP5kFEpUpQnyJ26hCitIyVxl+XGuBK42czFwtCVpQ2Ngz1Ub4RvUFRFOl2xYZT187ca0gg
mJpSjlRokdkOTwIaQ3MdqFpFFJaaEdesYjtjwZjXSBSFibPsO7q/0NTEY9Ep+r0iGTDdusIamE5F
QeWmtQ9ZtirNtZlk1Yxp6/WHXSMplHy9fyuUXGIXGFLU/J0ortrOaA4Jqq4HrYltmnaNiTXpuVA7
1WYqD1JU0p+2RcerWFp24LhqkGZ0xrqK0GLUTfrt0Hek13QYHfFSqkOWnEgKM0mcRzMg74Mia52t
nxutsx9qC+pr6LSK+WAC4Us3lWzkxqJzQBAfNB47JWMVEs6lVmPp7KrKaaN3axxAfTLH6lQK4tQf
K5wWcma2vp1KMqVwXtpdxiahoK/LQlNJVxMMufAQOzZHRpjZ80IvYk0OP/y2QhUw+W3SPjNyY5S+
4Fdz5rI11GPkQ5CspMccZxOb7aiWjavRx46XGQ8I6C518q7Y6KSfFg+ONIt1Mz+ZjJeJs44zNCm6
aa2lFYd9GCgQhFBitUVaHe186qlglQ4GCOstSXXDH0EOpkGlqi8wOZSb5z7SdC1/T1nfisJAh9GV
razyxurVwVnhkm+YiIqUXphrPU16ZGXWMN7hSl2Tq6hgYRWkuYvYKkIbvZqqdNz8XlB/aRdgza6k
uEphuM0ui0XxV3V7l1US9Jm5BeofhwI+LGQ2HwJDPt05+un317qUnc/XYmiKYf4cSfSLmbs6VI2j
w7dCdiaI7xwJlzaq/CVJjLtJ6TI3ROMJHzdj96On+/21L70J/ri28Uc8FOZjMpmBXzxZQpyyEdeO
NVGzKR1IEyRXkqSLb6xLLnX881UMnMYgOMD7+eVpBo3E2Uqs3rJVY3a4IPAm2OxF4BTbKBy+8w76
u3syZkcLjB4c6BkXZgilpsm532M00UJPc+iE28z85rH93Q2ZMv68eEpas+/i18fW6VmOqxmPjVhQ
3d53dMwpe4M1fGf7rsy/7M9mIPOjg3CK6butG/znhfdKmap6psLBpIqWPd0iqlMFv5GLdaBb+sro
+i2V38KyTHFOOEFjMXq/XyF/c6sGxT/eGRgv63QiX281HghjtAlipgGXmUxPKAC8QNADAF39/kp/
8x4Y+I/MkZOWjtPMxUOVrXgMMPOsl93TrBGYiucq3RvyGu7ayja2plL880+R0AZujhWB++rlrUU1
jDjZV+plKkKib+E2P8K7RaKp5sQHd9J3Nk9/szAxqcNR1mTso7O9fH2UcFejbppYNZxVqMrlliY2
2vz+If79NYh8ULGLUw354uMyfEQxA/zjpWXSMxeQDSD5oI/+/VWUCzMXTO/02dQEBzA2Lq51cSvF
NJmjqheYxlDylAXKQdO/UpISGdExZ05VABhNzkoO1W/u79KthveBDCC8iHCIg2p86c3bIoHD04LP
TMLYAYV0pP4IudFvbm/+9S/eOq7CVqzhioMR8IUnTiPXsl3G8+DHQTCchk9+aDxWECmUvtvaTupO
9H2SQLkIkR36BhSMUDDh7Nd+w3FG5GKcxZDSk5E49Cq5/v2v9zevJNsBboPYvWDPb19scCHMSVjo
RA/5tZJtYMUNbjeW+TYvIZVKRVd988wvP211tkNRFdNiOEdaNqvq68LFlJVBZMWbyXkBhRnsI4Mt
oDACHpnAI640a+k6thTk5Ew+fn+zvy5oXWadkT6kE0RgGxcLeppCfTQtYAhScW90qz1n6T9fU1xC
NwzCIeagkcs9tu4LAkVG1pRGhV62J8FHl/f2Nzfy65riRFJNlVPWIfTAmEuOn/y7KHGmcizZySto
Oqp9S0m4a7LCbeNhadYMXvTvNlRFu1zG1C6arsxGUgZ+Us78K/10Sbs3oQtaVBatQh/khNrG0qpP
a4o2LSS4yjDeRSE2ZL96RW+5kMeektZBIosq9Pcf4i/llE5IAE6gMpUONpmXTzhB7loPcN+ZyY+w
J59xpF3oSQmZHf3i9M1y/eUcmS9msDdgEkxIoXaxWo3UL5EZoZDCYvHU7GmmXejEj836n9/TvJnP
3qOORkjN14ebm06XmHAslnKfJ9hroCa2/PGG5O+7JpUp2Rge/P6Kv76H3NnPl1QvLplrdobrDLq8
CEZb8QNArktRoCf9oilvKTDBTO6xJP3z0/tHBvZ3Rcaf/5q/Bw+fsY6CsPmf//ryt/VncfWafYrL
f/Tle8T//PHl4LNwX5vXL3/xkO8347n9rMebT9Gmf/78v/7l//WL//H5x0+5G8vP//7P96LNm/mn
BVGR/+xEz2H/06Off5O/vm++gf/+z8OnKJqw+OU7/jSvVx2Cu3Fs5gDCHRL7ej6Gv8zrrX8htzDY
LPmKDvefq/xlXi+p9r+Ib6OfmF0lZVuWeRkFrkaEekuajLO9xZHGZm7iPvXPort5r76895QXKjaE
Mj+OfFPH5Kpf10k1+VXSD4xEVLW07tUstmfGu2OvWtuvUWdGdYTmt2QoOtTDOiMF7MWvy3HHU2z2
YV7YyNeKwmadVfgcOXoune0myq9jX6v2QcL4pdRUhvZi9M1Fjpz5nnQOXGjGkFH+kDvlgShGgF2l
qPwnSPgTosopgKjYxA5zO6dSHzvdqZjRlnWzluMa5baUz1BGbQ3hXkIChUKnS7dFbfaOWzpxnx0y
/puZiTq6KAnkH0rjqJD1A5XU2IgJYF9hexY1skTpNpXhirbccjCa11RoplAEV6ZQqo1oiuJtSJr0
LOkpBkZD1kJw6tVpCzNI3iIy0J56s0Fx4sv6sHeK1tpqaY4wx/HJkYzrlPgIsF2TzRywOlLgX0Bk
wsVDkoN90LfxA5dgopmU/QHmuL9XA0vFBqMiMVWOy32v99oBvad0Gwu5WpbgEFsD3TJgf5TW4DBV
CbtBsyHF222g740gwrIq88NdkMbKk1JY8kGfEnKZpqq+IihPRwUDF9DWffMh9QHH+0xjWGzEBY2j
Wnl1T3T60BAwrY7YdDn01OfUmrpbkjKLexVPzl2UYSUgId61lQCOsuimNz2Rk5tKY0xe5Fp8COok
PKa+jRVKV7TFg5SbhucwkfjMSNx01bCLEFja8VuDvcM2Utrc1eTeukfI318NdcSwuQ2qneyEYbYi
GFi8akMvvQXpVMmLQo0trzd0qH5D3O5lDvuD1af92siVBLsWBwQMNwhIufXwCPrQrJU6hEGjDCPW
l2Pc77le9plrVvDRxkyhk9JIYSRAaZW7xDpKOQME36aEIDctAaHN1FVT5c5tZQoicrRkPJFSD5yP
ZGNdqH64zoPOZrzI8/8QUpocjUwE60CO3hyRGyCUETaRzkxHM6Wmv48jS6zy1MFzSu+kx0otzIMh
NxKEIlE9y5UUPPa6g22WrfWqOxDldZtFXfympVK2VRq12tTTkD7V+BQ/ofwRCCzSEPOhIOjvOqxA
lyrr/zqWSe+2EFHsCh/Ba6jzOqH5DE9SxtntpIgUJw77dVXIEvSjklFlkZZeKJmlx8jKX0Rq4Ww1
Jat2elfKC6XHQcOMgvEtGSeB4yL5bZOFthQNTbGsNS17CrrMOcSRo+DcEBkHuyjUFVJmfe8LhinI
tOrXhPnRSk0ZsJLa0xwLJdV2ge8XOJ2NcC9DAeFMVsYVZr4txhjThEC8k875MAyeyAJjM4mWKEIL
ODgb4QzVidrClYiiQxAxTWzrNDyAfeDClMvhxhr9+M5xiuwE2kh6OP4FS2QM1lXYVs4R3ZCFK4Tm
iEVnDsmqHBwbebtp8Z4mKkyy2Jw9ERkfd2DomdkLPEmET1Yq9nZY/DOQ6G1hgEvn2brpVfmMlVXo
sUVCfZlE8WwNfraravQbaYffkqwGCZQfRuWqAjQfq4Eg/a/RmXmbgqGfrozHSJFqiOZSv67x/l1I
s3WKjAHlshEiui7VShwn8GWvTOGNczzq10opWcyGcudJKxQK+35WzqtxuYvbMZhXSnOPaVVz5aS8
0kyibQCAGDsIftQ+HJpxY9dszWpX2Ju8dfI7IWLD46noqw5COizsKr3hhUeKCCJ4aGIt3MalLg7w
8iEGB5zQN0ZYOtdSAtc9KgxniVoMMWsLQ8WPUcSoY5rtBlVNr3y9TvZoatJ9nk6QSLPcOkP6Vz+b
QszTYNwzbkddErCaxHTfC2Li0YnAkjRyYe5ZsQ1kOpS2j6kwldcizO1nWnLlNSLY/uDranS0IjVk
lm8z6dFg/fsSUnVfx06Awtda9ZIW35V6hd2fRsIQM/hx1pyiC7gnKw8StK6OJ87vcZbiOS/mNIpD
qulkfKrKgGJKmVTPbovorogSgbWZrt7aaJCgFTLzVVvUM/sxRW45JIO+wYfITvDlKnNthRWIvbJy
BZUXcW/ekHTpWkfdDF2iRK637bVQyzx5QkUkOylybb+wr1HAqW5fYmoXV/PMdyraTaZkjZdjtXwN
pT9AFTkWwkNXRcJF54ybUZaao2g0e1NB2vUyI5u8LmOujA0oB1qDm5nvNHHJ7o8EatGEQ7eOS+E/
ZoAPm1pr1WXpVLZrj6m0LTQ1OGshUkZgYWS1Vg6HKxmjwZXCpH9vRmlgVhCyhytKv29raEaAzcqu
BZxuVoaohq3TNNVNn1cpL42M94A7KVHjewG6wZWeJf65Nph2M6OrvFgrYDWYfXQIrahGmzsm5GR1
pb7BVD6Q4ZVZGHkQV/ZXHsA/KlaP0XtdiOJHc1mKfqlXr8vP/LapPz+b42t5+S//PyxaZ3zqN2lL
VfvaFHX0mv7HGmrv5+vP1ev8rX8Wr4ryL12hRgVeIzbGohn9f8Wr8S8aBFxkCYQAZQMK/nfxqv0L
rIdSEi92DXtruqp/1678PEAgLPsdcplwSpeVfxK9dGHFTN82J9UShzH7y/MX7aJLDsLaMtPuY0QY
la+pRvAqqNbaTbdUm50Bw3KRv0TfBuVepIT9eVXwb9pkGkb9j4fypVG2qU6T8kO7lpm/3lCvLa19
4Dmefh2vbHeOecON7X7w1EVxa21/+phOf6JKP8c/fW1Xf732RbGOT5VfBtXHnCon1sm6X0lrdSO+
6YnnnuQnROvXq1w8VxsFcDuVHzKRT+kdPKUjTNvAm3Or54Q3ZcmAflOsYDO5MBPW+fI7IPvbR3yB
RTRdSmyqYDjniN1Utd3ZGCpqKRbrfR8Pt2UordAkuVrsrNUOBk6C74fUh4EbG/CJerN1ezOSnqK2
/tThlymFrOEiclfWvfXNs/ruA5m//hNqArRH4kv9ATrDB9Js/vxAvgtOnD/VfyOMf30eCrAz7R6F
nT5DNz9dpMNGJMaUJtYOfo5NT/tR2eoC59ffry3lbz/2ny4zo2s/XyYPTIlJYLxttjpUuFWybLx5
KcvklH93S8pXbNYAlSXHFfsHICfwF9rPrxfLuyiuOphnS2WVHnCXOsPlcU239py1vupvJdf/7va+
goO/XvHi3Sn9SrYK611/yV7Vpb6sXpJPeKSL+iG9Ue7/D9ebP5WfPzW2phm7B1piUEG3fvGpAQYE
AInveH8ctBWsMTd0x5N0jDexxyz+mzz0P3IDfrmaAboOMKnLxCp9fZ6hiagm1d8hYo8YxVzBsd8X
97C/1/ZCWs/RjNMD3Me1732zaH65yxmiBGtlT8eoHUz063UDZPaGJFg0PuyAzbSZd8DhR/Ahu8Du
326+pNh8eaoWEcCOScQSkJ3JIaKqF+sGYxAMGrEa7YthhM0boc/PG7k/FE2p30a4zJ1lSaE7wFVa
5N3eaowqOUtA0meQkIw+aKpHGZefRO1rDgcKMdjIY132MCXlID5okzGmEB/A65N4xHYA4G72Qx4w
nJKkRP3Q27o/CyH6TRphGYk3jQ7l0Mrz41CH6qPVK3hxa2Hj3AFiVlTnQnptqj44+Bg84wI+DO/h
lAzHpsSYElX3pybXjoulZ79rm74x0JV2DLJVyUDJU+icbmlVuBD5HK2/GS27vWWD6J+6sgmu40lW
Xmw9GGD1mqXyI26kcTNEWnoodX26ZXG+ZEMEnYZwHGVvRJgpJb5RnJRUSPC92uRJpEaHGtNEyFT2
NmbT1tRssPal2i6KJH8P+7B6SYfM3gckG2G/YBWjs3RSf2bKOkGMGCSJZN3VIwSGOwxMmm5VZ2V2
FxtpcJeUakCpLaT2WMc5ROleYEgmcOGSRdEvrNGa3FTBhDGNE+wh41xVbqR5yMlurceTZ5gdbDAn
DxDnVtXUG3hqNEWyMzsfDzM/0p7yqa4j5pvRuNESp8CKF7P0FGHS+zSR8EUaxETxiuM8VhXFRysH
qlc1Tb4tzDyGwMWUpsdEedkbSXYeJzrVxBqNfTXBTxKRZSxkP4fbSFyuS+DFe5drE70xHMCijNpD
omRvAqceF4fxQ67hUEDDd0hqbR8PBXF3OfLQqMMqOowkULNRCuGhjwHi+AK1E50l1mAQI+QEFckE
O2tbJyRbFylsr0mqqmNUmSEuJKF8tEoIWckc1+E0Y3CSkyp/b31WVh2gEA+zaryWenwGiNWVFbQG
dhCu0ZkiYehwGvJ6VLn0eYaFN3PVFc61hYUDSezpImwwCF7qeDjEC9UJaUp/vz9cgvm8rGAuFrAi
ewTToItSouucPCkwVzFxL45bLLYLks8t6arJemROwTe74NeDks1h5gtwltgUrUxqL0dx2BJC78LO
RCmeJek6Nc+pdsyjb478X8bsFJ0muVqwBUw8ZDi/vm55MmNfJUc+MNdHCMZX2fLdWMeb8Pzd5jrv
Zf/e0+fbsUxuRJYVQhvBkC/2VsVoMyFD1peLyVOavV7Crhy+C6T5m9shjW8+rGY4mjVyUcKUuQnw
VhN7iUlIjFcEa3Ap4UcymelrGZUrGyXzhF5FoKkR5jeRQr9s52zmxBFpfHJz5rZzcfExhFzUWcjK
ZKya1FjB5xqG1PH3i/DX5zhfZJ6mg8PD0bk4M2InEXqYBsuJYXPGDFqX8+VYPP3+InNN+vXDmlc6
FyBwkKC/y9CQmsla1BhY6Zjo5zCWT+4CX8MXbLTDQ2Gawaq3ZZh9MgjcN1eeY24vLk2XRRjUzEzQ
sL65eIhRICo8M5DAGBHkaTxYOJFC4VdY98rm+AFvqqwWWlnmK/CvxGtEoHfwrQvxWAseGni7icbW
xK1IXVX97F0QKHH9mpu2hL0g3RcAraqSjZBk4Q+oTigcsI+1TqOsWTAsfeUpqzQo8IlRIUaaUJNj
SP+GjUG+HttR2muNMXiGhc1FBP/yWTbb5i0v47g+qrkJMoAxvfwgEdBZQBszzDu4bQg0Bw68I+dP
t1fqVL+rLAfvIN1u6qehsbt8TvLCNFSQ9IcveGq3pqdlJ0OvNuixO9uXtmWp5f1VWTjBj0oV8ncM
jYv284/XE9aQPg9x5lHMZcmVpkliATYTkzusBhcvlDfnyllOS7zk18VtvrSXv19hf3dBlpZN4DDL
mR3hYh2Hid7H2Kkua7dz1SVGPJthD9OLInZ07VV9lL7Jvft1SdPKz9N8RWYYrVxup10xlAP+REt7
xD0zXnFMuXZyQ36U0TaLNhhWv7+/X/cCmwk0Gx3TecIZ/5e981iSG8na7LvMHm3QYhsBhMqMVEwy
SW5glNBa4+nnIKunGInEBKbq345Zd1lXlxU93OHy3vudb+5lRAxUzpVG2mbg49XsOR1WtoH33eHP
pwBlsombQhCz4UsxmGD28HyV+fPrymmRWOnGLwmMgvpcjmvFUO8y6kCHxekqPtnCmfRp1p7nq1Zb
aDKp5fLWu+HOsBWP6H+22pYXwPrV+O3zjenIDJRki6AKPsYitjRvj6UirTCoA+7bnSD/2OMBqPKG
APs23/4dBPn/gbP/NaXmrwTOALyUb8Nl07/wV7hMVf6DjTPBMEqcMMfSp2LCv3K9WJiT4IX1TWUK
tZuKzNT8b65XMv+Di5+K5xM7uESWmM/631SvJP+HrcWUMLbky4lUKPyTaBlPwdkxIVHlxSnIQcvb
e/rP2wnSJ2nSViVYxriSAqcylOpz5Rr+py7NxR2crniDXXJh+0TUt6OeGQlGKzlZPKqj849mBLEz
bqXiW1Mr+ocRivxDqhf+99DKw3ssKxtwFwh4cLDsbqDCjmfDU9oHU4vDD65cpWcOevlJ9lR0AG5v
1MZzlgGj1QLOH1F1RacfmLjWZNfU+NamV4tnBVocWrJcNw8dqZG9C9D03AnJGQs2HdGgGOzcKM1I
ThSe04Oj22XRAEii0T6mZtdssqH5DaAMnK5ODkvuSNOlMgXrYqCZe241o11bJZza3noqiz44jj31
yaBBERP14x2X+/EEf6GnJe0HUg3pyRQRSSdhoO4DM8NlgtzDyeqp0VPCEpQdBxSCWUuAsK8DmxoU
9P2agYdZxkVb5DG4hasebPJWrXZBnX6S/Uq5xYWdendiV9zaxxweS4pmyCqCZ8CkIHlQ2lsmdmBp
oOWOao6dU2ewMSylZg9LO4vHr6YeRtyMt6GeV3cDGwN0sOI7TtHds2j4MQVYVPZT1VO+UFufbpSy
QxdpYrYz9JK25x0JVKRArWk0wW9Q6C9QCr82uAR1qBc2FmXUm6LK2500UkdSNgmUxTGFXpMUzS4Z
ZVD2phqcxyQNQb34+iGOlK9N2tyHvTkilU32ZVl+1yrdDil7xzigVz4A0U5OiaD1d5YSKB+Cxnse
Y5XEGRhzhrsU/f2QmntcokCFUwWvTQCizICvlAuwqLJUTsgZ5kdUBpLtNtqzpjXZnnQlsRbJempy
Q7LzpHlR5BLsbHDHcfVlxFX+iyak4razUus2b8Rsq5bSj8rT3B0DmxzKOvph8DqyFSOCvmEGUAGG
8BwXIYiOsCDhX446mfgRXVeopjD2itqX7dLrdT5KB/Rez5R97brI6Qc0gr2ByVAUGtVWaBUFyrwk
P/lkoM6+iPy/HzwgSYKX7SrZ6D6T74lf4lCvRXTDpOOtvlAO4DRy8NJN/iLhDwMrg/SQnGjDlsoD
4AFF8D3u4jOCAP1DVoETdmu/vSdZ8iyzPSGVryG0Nj4cL5xBRDfL4BWDelXIwsYuqlY4jPALyvIU
yOAM+AOy0yC0AjpVg+epKoHhHfAynAhySPJ0FVFxop+VSvkCQ5tSe4GiRTlrb40s3UMTAvJl4e6u
eMpv2I76Rhb75NiqnVPgqGs5QpCJFLJSVzEVt9wXUgr2tiE8YlNQ6xO5z82iBwZINJ/3gomFAL4o
opRY9+xWwrlI42jn+421C3IzvQFnMtFnqGgAbYyHTV7lsLxL+UiJrgL+uBYfXCt0fwLHLm7rlGJl
CjsM+XYcG3lfuNn4nOeB6mA7ZgExisODYY3B16EOAFgn4HF+DXXICsfgiFk5ou9XwhbpS4B/NOKv
OM17/NGFcLStsCB9BlFJqEnaU0JgV3okfGDMkdF6rUJ4mkuCzxf1fLNwqqjBunXSZTxLKRxeUENa
q9vkCH3k1CTzboNU0WGDj+6h9MXkMYrJjWHv5v0ktmPZZlkZ+5aNfN9jjIQ4QwDvX1W9vFPqJL+P
e4EAeNEA3A4kEfo6AQ6xhlCRK+K9n8nI3lqfCCtG4Z8iQJUQ5l212Sm+hCsJH+ODFqTdz8wF4RZG
8IQrQ/KNY8u94nsGz+0oemX7ycL/oQRpE5Yf5TxB+B/X0bFU0ajKqtgeBsn6VRQBqXQ3qbtjlNcR
vC6MgqzGAj/rG2zKIDE7gSk5QcKDDxAxu/vK6uliD01PStqHtKhC7NpzjyDLkB3VOA/tykqIKmZC
f69WZY3IbmycJvG1e01JgfCLieX4hcbOI8TZKS18lJbwph+l2ONC1Kri05AnNaCBEeVUMeooGjE6
jOWogkwZy/e+opAzl/ijhsFXEN5jDPAIKRaPPc2MYTBgNEBMjFx1a9Tsu2O2T0VE1SGwniNqCMNp
VEM4DRKzD/ZF6MKsUEokx3IKndSrtPAuNVPt2YKySmo707dNA7egykZilk2A60PXekdOQMMeNVLZ
4OQNG/Mogas2hgOSGaE8q2S+edF2txTAgxhIC/2Ob+fdWQF1qHDlAkcekh9CXhJyTmHrbjH3E34R
nc4PYtKKhDcDkdMjNFXMmLOSyFDo2Y1YfnKjSXflt035UGCF9b0ru+ZjmCkKviJaODhpG9ff637o
fwy1+l0PfOE3Kf2eSp7GP7deH2DT0ZsRMGVKq0ZDVm5KA0lq2JrVwQuz+OyZRFAxKMCdQMUeyHWV
+GAUoBRU91G0onOR32ghiHCirgjyxDj+rPRYYvRhYe2yLBXBfkn5B8OSmfWC3wo/Ih6Qt7InWydK
jULHGGAfxX4Cxq0VM2vftljICxbQnDQDAYFC8yAMRnQUGtXfVoIkPIXYEeLIR63Zr87qiQ2UIeUh
hpqibSrc9HfjidbRVEdoCH7lb2vdewl7fYKY59yVWJdEJfmXY2MTIBYrD0UQlvfUSADNzbJaeZA7
Kq6FMJbHU1x3mCYEgteMAHUQ7Qy+R0hFEqPkqYgTqucMIzQ/tW0fJ3tPGdP9WLiyzW6FnY8f21Rw
d1wmfEiAmGnaXaz6tqmwQ8lCqNuMTI8ytkVpbXbZka1IYr6VOry4MbB1+LeOBHN/l4MHJ7IqA3Qr
lIItseaFj465CqMTwpGBexvRslodfFxAFK8Td0oe+i+Az8XU1hpD+2x5hXLsGCtxbzZ9VeMLmJoJ
ywKcqmDW8mcq1nrMvxpTQj/rJp8Kua72XDKNG64Ucb3j1RjcFbXQbUO1MtGmq93t2EOWj/HgY5yD
eh8KrDsF3Rh+trL/ITQxDcp6Hwy2Jo4RuxjsmRTJ2rchlfMJCVIivFc9bWLU9+XEBIOrjsBcwbui
iAUJ0HtgSjdmZww3Hjo76VmmLgJRiqYXP7numcJGEXK2Jh0VJQFgAUnophDrVDqOQzcSx81ZRByA
Q9LbGB8hFJKJbm9Ra3KbS0xUTFwsBYyWD/CuyUHzHhSOAkT0z/pYIcaVTUN4MJIYo5QimApYhgIU
PXHR0PzauYq1I/Sb4H4nNCWFN8yaHdwQ/kwBvd+XWpYwyWJU73x4rV+kohJfBL8of3u9EJ8jHFCo
lzAKaJVpnSNjr3RPBXCv5w+lr8afMrMScCHOpthKLnUDMDoQb4TeFamHCsTm/5w0evlbl7ry8xh2
bIOdl964UYhLn195D0wc3aXKR0zw7QiadDqfgC5UUWZTGWV8arm5fQUjL34OKyn64FEvAOFZBF+e
hGIB9jkK91o1SMe4TOobkGUgHsah7eyiHKMvem9mj5zbMBoUQS8sCqF6X9v2FiT1jWd19b1AzivZ
Joo3UUZUDwcNzYr7T75pFndcq2B8pHGAz4DUg6/stYgIN/3zJg5wrXzHTNeD82PVyXkIh+gjNN/C
dVI43rGjVhyAVM6Fxe1Axcm9JSaisreiZDwXOs/Ak9H12lNfNLSpAodFHe375P2zwHsQSsqrud2m
8gELb1GtkAKMkwy/r/NGPiJ2rrsXkSWj37J8xWdTKqtHDy+qFmqAWKEobsKxPFMy40MZkVTpK2Bt
uICNpPXKN9GIJA64KlTSttiYKG1RTMD3/1np4fe2BjUmVpboCDoroaktAzwDVlvU1krYZVaQILaN
YlEgmhDt04jrabJtALZ+Nqww2XntBJyHzqadQZXgSpM3KghLRLyUJEGE6+4SmPv4rGjcaeBpwk8o
khjAbuHlQBW8VP0Ua3l6H2DFirNkr7m3nRQOd6U1tqOtx1yEI6+rKB4tGjJJurlRQlxSlLIOSeUI
cP2jOOgeVGUwT64PoztpB4xcUtPF4AoUm0ZxmofLplniJCJURxXx3C+igqi9KyUKD3Gojg4cxuE2
GqgWzV481/PtfHQTXGLILW0QiJp3hkdhaGOwb5UgcNkTgrOug5GKxOC2CEb1t5+mOXmsxrA5RCOW
oGJAtCr6E+8m5M6BIEzufHFWfRWFQH0SG626kQhJAnNDImjzNE2PIVmMb0KIkVCqJsl3mLgWjiNK
HN6RDaEoBBT+MWalkH8DeHrkpgjlTxEoT415llCi1XGzj0z8CROj40kiCEcC4unN2DbyzyosupPW
+sG27aLsBVWKuxtjuT+1rV86YT9qXK4xYWx7qQKAI2XV70LLjVv8kuJDOFAhq/gG7idclIWvUBb9
j60Z5hQY5pH5EvmlsknNMj/BytNw7dVARguxilR8TNTkLiXhBKEIeenOE2TtrgAY/7UeXcEWFAEO
q9Br4aGpJBCbJIWPgG6ib10P4jXlXDmjj/fuWKuDRQZPz7+HChbpA9YC/QZde/QpHRW/xRHQg4yo
FFJ4oLC1f6Je1Uj4+6QC96L6RHiZUlSeINgVnVwFO+AbSXDbNRi+da2PdW89OV9VRr6vrbZ0BCXr
HL2LmNdkZ3LQE3p4zN2k3+lu4B+KShbvSUXKz3lGYs+NgoYGNKJjvQdkTcPT+DyG4rAPuqx5aQdf
Pw6m5EOtmVT5mtB+4xkFqHtUKGwd0MJTzGl95bHmPniDx/W5UyMuL3iqpKMgQRBEgy3BOmERZbX1
ondG+1x3INhlft6GXRPIFIm7D7w+ZGAy2D7buCBFsKgjXfmgdhM9sE/gS4hZYj2R8SvuDDBlHwpe
pfu279sXIe460ADVZKKXVfpDLBZAWRLyqaeUsED2Q1LANvPK5Z5/p2Z4Nvg197tT1UeZey9LjQ+1
IhQswbpt+twU8aYy5RCrKywnNGw/0DXDTcVxAQ71iKvpU6BWHIeBrjfDjrJ5T92RjAXnUMlRPzhq
IzTFXi4nSs4QNn5gbCyr0zB1ilwfMF4sZA1EDwNXmqqFsPoAuqP71iluXd0jeYbIa4r4vZCDTnyV
Ym2UiIdkVMvkRlXc0D0PXQ415SJ69/BXeuaynmpWhmLIJGrQBSoS0TdDU9V5zDmKub+0CFo3U0kV
vAesgcAAf1SP0a24A3qzDU9CezTs683OI93zVmcJG5P3ijQIECrDFmbfUNSY7NbySmrtfbhv6pqu
k1RDdPcuWxAajW92FOFtpPKYxCMXVkfJV9pY7sifNmap0IEJMZSZQkcKb1s1B6n6cX2kZnUtf30g
hHwiWk4Y6IQv3wYtx8IkJhXRC/URBdqn4g6i/Yn7IjMdi6G9/kOIN/oLcjjPtp6vt73UuT9NU6z0
tmktbWVwocyNkasjbrYSm3tcWMfrrSxNQUooiQyT5iXdO08cukLTAqigh8MJy/LRBoa5LfbCk2qb
91zu8G7c5Gft37QqaaqG4ody53ep8hZrHMsja7/xb2u7PsY713ZvrTvNSW47W3GwUHbGNbH9uwQW
857U6J9GZyVYVQatmIcvsNFt52CzyPPzMH63HKrw+f9s2c73qvnl+vguLIM3bc6maITavanyqaPx
rUyVD2KobYuR8v+slfk0zXExLwBTbIL6VvRPmv6Fx/Hmn7ch6yq6LxTVkjSfKFJPFXmWMR9Bj+Fz
3bjGFkuLAYSdHjrXm7LepQpkSWZekJKYSnznZRvQ6Vw8m3oQ8aZs65L7kUglARL921CY99ZgTVbo
wX0r+ysFHAtL7k27s2E0E+4ZXBEYxi4W4TqFzVnwPSj/17s3rxOZ5qFMuQG5eE4WhHZvV3bsg+81
cvbfCHl2hP1GooPqVorAiUruFNcbW1zgl63NZr0VedznvGGa9eZ+tCMnlR0Lm8VNvJmqhDV92303
HqSH682+TofLgoSpk+TlEbVO2nSKE9520sXLc/R8puSwx/9upzrFueBvwLHsAW5tYU9/Mu97h8g0
KUL3SfiplysJ66WvefEL5mCUtLayFrsLOq7jDCDm2TFUAfFc7+fi8JJck6kymspxzFneU8YVq6xj
lkW37UmLE26HXwxCGILtuNV+x4f6bAlP5soKkZaWyGWzU+cvqmXzURK4DdGs+ZFCcHwfeJwfXLuy
pd+88sqD3m2HL8a2sfVdQ7ECNWZrZdLTzvXuA5PuFakzRbYtz+ZVkHmVkMaauhH4sjyzvQGZiwvH
P1TtwTD+zcdUSUhqyCCnDP3b/haiGaLjob8iKLGETFUcZSu3saWtGlbE303MtupBjQo/mw7cDhpb
zqiG5S8fY+OVCbM4LS+amW0yoteYbLOWuint6hOWkjaH31F5Atiwlc6hgz/tSr+W5wrMEKg24kQN
mE3RxvBi0R9YCDWVGybozGJbEk7YFftgL3zkNQKWZXwCKL7Ff8E/pNu14uflLv/5AbPJ2sYe+jeL
H9DIjxKEG95mK9NjeTL+aWG2pTYRVai5SguaOqDQVVpLJLuj4iiuBtWhEYbeGWB6rV0plnZy5WJk
Z7NSD1JXwkyRMGBaOKp1GtTbMP7q1qvLfW0EZ3MzS/Ki5346fULYvLdnTOK2FHTfI3q1y1//bsbA
k5LQd4uITWalf1rTiZkB6mlT/+h++z/NX76dbK2PPnaQp9wx9pJTn5WP8g2u8l+kL9cXyFSN8H5j
gVVAmTV/1c35yTH2+hBgqrXBPkQGidzCvbulssy4IZBDAnFvnCBNPUZ2c3TvRTuxh+8ftRPaaeWk
bEGkr9d9L47+n19kza7iSRUSPBv5RWiV8WOQt2jqrnd6ce+5aGE24GriE2ciiEyd8Y2J6UOpnCPo
/tcbWXrNoKZTJ1UUgCQKO99uohhPahnVdgC7j96B4roGLJr7nMQ/MtOp/AOFa1uuBLZuAAj2D7j+
2dd/wOI4WprIcYEKS5qL/Wuyb35OEdamaLo7rkAnigyut7C4IC9amK0Tb1D8bJxeM14U2VKJay/A
PXhh29L6fb2lxS920dJsG9fUTKgptGDpV9+L8eRiyNGaKxVwM03M6/OT+9OfAZstBbItJOpLJh74
VszGHOlABsUxfyjbyBbseGUTXVx4f1p7ZXpc3ClcUtu5P9Ca0H6ArEM2Ej2Hb0F31jxHxemmj4e1
s2nlg72WB1+06YNeMrWcNtWY9NwE3D8A67cHYe+5B6rJ4P0PB6B6ypfg5foHfFcg93pDvegupU+X
V6guj/+7qtW9siM1Fd63DG+8sfYxoNxN/nFN2bYy/V9/0EVfER6oI69tvmYv7obgNs31w0qf1oZz
+gkXTZC3l9y8owkYkI5kx3b93UqPCKPt3hFtjDF2eG1Qt2ooK3vLWt9mB3DhRrqrTA3n2F1LVNSQ
Grnet6UFp1KxxI0TrQfvirddQ2/c6un0jolxQYep21gHGaL99UaWxg9ynDgVqakU1872DxyK2LgS
nmZj7lU/rEEA05t7uA15Yk4hR1Su3SAWlzgFoTSGznXiqrztVltpcCVl9hF8ViZvc3Khe2vrPUsO
RiOrob+lJX7Z2tT/i/nhVQq5rEalNLPUjqGZ1zuQlbBJ9SewsOxlbfVZKqOn64O6+OUuujgbVEM3
68jU+XIluSa4y0HxQ07DntyyWfxDfOO0pi/7N9uVlbEWBMEa2U4KEwskhOhFu1VGnn/jj+udWp4p
f77bbGsOPFDGJUHdTan89nKqJEYc6QnwDFZuX29JWmxKeX1EywC55rex0Go7mJeEQ7RNRyXEVvzW
PpQiBniO55CW5jbm6aBf9uSR1rbnaVHNH3kopuFTIbGjHHvWy7yrMz+Do0F00N0nh5BrYO6Ed+B6
NvmWdN/KCSQvbSMX7c1vWhoweSoCaa9yFKibm4izQP/p3wdnz9EmnfO23w52e9fdR7a3g258qL5n
H9a6vTzgf/famt2TQtNqSlTIzCL4tfi9fujN8Bio5X7oi3+zNlQEMAgnjIkn+XZBlnIE+YytaNNI
Zx0Xkiz8ZkXjyq62vMlctDJb9mktRKaWMVmjT9LO2I0HvDId9bNH8OX/oRR8cZPRkKPILG1AcrNJ
MyRp0AXwrF/jrM0J4vEp/TJ8DG3hTp98P5QTtRan8Vf9a+2Efd2f383XP03PgWqBW3RCPM2f4TE9
wo57nJ5J06HuPw274CjuMoK87naNGrsYBSI08X+6rMxmDI7vpM4HIodTaHkcd81jf0Pq1EmfJBIE
O+QR2+h+7Tr9Tjv1uttdtCq/nTyUPwqN2NNqzsN+0oB4J+lu2GGqul8FKy6uTIR0pHR0MF7zt0Mi
54FWhkxUU0ilswmH3YlHVXSo+qYOEfBHdK9Nxqqm4adH08wkzJyqzEDH2QvHBtgRQPAS71DDbFei
tourFbYtuhQ4kzxa346COTZUg08XA3JBW9hfwOBfRjO0e3ctBD4dVPPZpSH/VRkAFVXcbGJrY+/K
lttRvFY0z61g4H3YmDtJqUyQXfBm3VjdXd/7F0Z9kqVN9aQGsfe5BobiSUUbR75wUH8Nsx8gX1YO
l4XBe9PAbGcQ6rpuk4GtTo4nF6mdbmWn0mqcKBFWurLW0uwWUMa405oNXZGsfQl+NS5wIdZ9m8L4
lT4tJXpkXpdwsScUpzxXLkb9hAyBlboJ8szxm3AnAunVrPrR8MRT7rrVdtDcB6N172QC0p1k7rsw
ddrK+yqN1IZd/4QLkwZSCL9jEqhr6nzSCHBu8R9uEJ5WjxaQ2baOKY8TyXCHL2Cl1vq+MMyXzc1P
UBV6PiRYmpP35S2Oms/lPX00j9PTHv/m6me28x1MiVZ6uTBR3zQ7W4Sx7qWV1dCs2A8nyMlfEQYE
K20sXYTeNDLb76xG87uspBGK7Q7DufmIBZIZcimo7MGut/r36EOF9ZGxSb7/42/IoYHlgsbjA52T
8naLKSHE91HVEg+TIlSo3rZPahvS/F4RvT3W2isfceHCTHNAg6enDrqd2WBKA1VWokZzvnVM5Y+e
eDcGn673aK2J2VAOIiUuwbSVhRB6nLxPEqcaKM7tc7BI15ua8VReoxh0x0COSVEjxf+z8JmfNvlo
ZHRH3mNTdxZPyi61g8d+A+zOL/cSvnq73snsxLvti03woTms8SkWZidKX1EFIqTwsHu9Nlw8e3Sv
78rRnL5frhmOGpQK5D9MeK53dHFMqa0i2TWxVudLT8MBSCl9DiJDpCAyyaJfnWxiyaWqK9fyhTWO
1JzJMem2xHeXRlUMAcGJrIPK1DZpIeIu2eQ63g+GPWjDCsL5lRA/O/XetDb9movBC8d4QLhFa9TP
OhORR3hpx5vssT2oGwSFAe8rMhfYQWU78cZf6erimBoG8nAqFIx3gI+myqRSTiq8q0NN3lWxUHys
dfzG03SVeb50nWJ6crVBYL8AdPKh2IWU93EX97Gbkqm7vZHM2j3AiMN+R7XCQ4Yvyc6IkvKckxOj
5qhtYWNY/xQLzL2OH8LXpbSf/znXUgpuPAwk/3gr55gaCm7qWIY1QS7uI9/6VpSivB08+btLHdbm
+hR+zdrNPzbZaS54aKGB/cy2HkQHgVWJGlEWb/wtF2jhqKm0I6l5SEePQHyjEyXoyi9go2PHSv0b
0taPwaC6+1qVvgAqZRumEBFFfYazk+feBT7IdYozc2yVOs/OAvAbSdWc8cVw0MQqKG+CypHcolwL
ni4cvDoVVhRAa6Cc1TlfnvyFaQojsRws0WyLqrAzyedtvcEgD0bNrbKtQcS4W1z07q4P4uKKuWh5
HkiVK5Htpqfl6TVAYblkZ4+Btw32+kbaYol5o+8gtO4iOz2z5a40Pn2h91/w727PI6pyJfctU5y3
HtEC99TAhWpPpKK38kF/ut7W4ggTLeM8p3rtHWNIM0MxLTORnSHIsVESNpDcbC2nnLe+qzDLvN7a
0lYA2Q3tKDAPcB6zqelyLE9eQMTmYu2YN/1NHndfRTP5FzsO898im4b2XJ7jDHJkEqAO2cUtORR2
FDFLEGrK6h7UkLoyUab3wrtPNb0l+C/xnXlilmmSaWHKhiOeirvoVALwogT/vPoqXhy5i3am4/Fi
By8MM+8Dihk3wk2/w9jZDnfuc/RLpUIhesBmDMNj5Xj9Yy1F1wlq/Onb9Jsu2wwzI+invlWOuM3b
ySg0+eri8rpv7NERcQE66cnK3F+cjxdtzk4qK1GsMc5pc3T720BTf+lgI4ie2bi6nSuwfNf7uDys
sBBEJNIq95y3XRQ0vK38mGBD55JQs5QHRRhOFUT9lW4tH0zguLHJoCpKnD8hwLz5ZSAXU96uPkKs
zYgQN7a0rXIsDNdq85buSlxfNEo6WNLkzN/2yk9ZGXg50SuFiy2q3p+UpBdr02PpCnPZymx6aB6+
DENYUuLlNI68bY/Sc3Qqfil32hmSc3Kc0j61sEn7f/PNLno3myJRklueING7AsRpFuLcKhJR1PPd
9amxNojTTL2Y/cPQAsLVacYQvqkeUcw2XmlhafLxvoXsYFBDRvbgbQsNJC8eI2xTHXjdjdyoj6iN
jnlF9cP1riw2JMvMPGY4u+6sKyi3E6/ABm6Th+amEA+N/MlHhHS9kaXxUi4amcXtU9cY5Y4LPJa5
X6g3l7N05e24NN8uG5gNV2d4XC+1aQtEYujLrJyhaA8+EpSNZhZrV2aZwZ9v7Betvb6ILj5/bCp9
y82dNMumJRFXUeW/gWdIahFTexwYnOujtxTfpSyK3JihY/QE6+ftZEjaukcszGuu3UV3qtMfcmfY
SVtgA5t1Pubi9eaytdkaqoqqhob+2lo4vMgi6jRt4x2QEtnBtvucm3CYHxoPcf/dFGH+m/8B8hYL
hYe/BvKybn55tvzp7mxKkjGHkKfzA9LG7TalFHywjOxlZUzXGplNSUXEkg/LxOn6KO3G28jbaLfK
IdsLWwVGpBo4vrNG3Fr9jrNZOkiB0QNJ51V+VLObKd9vbfmb1Al+Drflfi3PsdjFKcwArsyQSfG8
nTbcgIwwT3kWuz5GpaNO+rF1pZXFsNgIJaBU7eHBpFiz2InQtaHm4jOKR56wj5Rx58f7lU81/RHv
lhv508mthlUwp0By1XApwqaJHMP7J+8gHYKPhN035mdx527q/eqFanF9XzQ4/fOL9Y33p5QiNicj
59nlMd0l55pwf3KbHbOH9c/0epGY94/cMChk5Jym9RrvvGhO0SE9eRnxTPmrezYfqS7dJo/mF/e2
fqVsNjYFO7+VabnfBPcC7MSVCPvivLSwl+JePNmdzcPQpkzmVp+2537n7kVvO+UdURRPMKH6l3Vc
XXtL43vZ3myHURIweiz/ae11jka0qD+4txP/N9sJD2sXnoWjwcDojPwBPnkqNIi3H9MrkWNGI0dD
ViX3gYp9Rw8qbPB++kO1cgotRaYNGWI0lcIyZfTzzGISuxhHpCxwzDVtya62ef+rZbcW9tkuqV4w
EDmvHQ4L57ehymSNSU7RojrbLGsBFJsU8GzS9Grj1V/dRt2hyj1cX4MLq/xNK7PdMkECl4TA5zdD
BQGxVdx436WGt1LetXT0vGlmtmPlGkROecrMxkdqrTcAZawXFfth7nPn6WUxEI7ZNM/l42Cc1jOb
K52cBzLNym/MJKX1rnV/EfD37JTi7381kgimsFJ8lR29nY6uoY8AMGgE2IbTFegQy7X1vDwl/jQx
2758tyvbfNJX5E25MV3zqASUjuvS2rVkrZ3ZyuoRAwLMYLa/ytsa5Otb1ztF+8rG1oTzZouje4fy
567ZXJ+NS0uaKzF3VqL270VNg5sFSqrTwb54NFoMGsUflfxUNe3Kel7qIHEyLq4EltF0zNaWamDO
oo++RiR7tCsK7TX5Ecnf7npvFluxKHwyOanfi6XqoI2xBqI3RYP9hvxxAI/bSelKK0svdk7QP81M
g3pxyoiRFyj1FL4WT6MtYbm8FUBy7KxtdowPOizhj2v3j6XPdNnibPja3uvcjuDhpk7LJx3zbiNX
9hI42l4zV24ha03N9qfCqmrNA7OxEUKca3trGB/MwgvuPMGsNhkO7Nc/2VJBwJvBnG1UCtJEQYun
rnGCpV/kjxoIPtPObr2jtPW2Cgzow1o9wML2NKXBJ5M3HcXlPEBG9V2il1VNH5PYNiWcltp/fpiQ
P1HYm+B5o+uZl6tkVZFZaO6J6pQfCw0rHVR6Rvf5+uC97weNTFIFLnPcG+elBn08Ih8Wcg0qQPHc
xCa+ke3KQTLNrLc3qrdNzHZABNWD3hWltikDAeOhR69snAz/LHxGGjdd2Y3er18aM0QM2DCkAAE7
/fOLhQUtJYQtE6BaE0fbCHHgBHpstc71UVtqBbYf9RlUaWCTPJtxgltb7qBgCmTmP43h1oMaAEPv
ehsLN1FF4v4HZBamJCfcbEevY0801IG70nQxU7exPQEVkCw/Fl+RHx0tB4ckMrH5nkSeXrNLbcmx
r/2KhVvUNCss4mHodUAHz77eUOA0BMCJc5j4egkTg9Lo4AQ42NoOUwRV2QW7f7643rY56zk7U2u0
iUT5AnTBuzF39afQg+VzfYAX5qVM4YIxVecjC59ftKuemobKJf0iGyNRI1U7DolwiE3jpVf7uyhy
1+pPF2YNgQ80iLydFuRrVpVEWlNxf0r97Ojp4efaIFixKnSfJt+b9YbJEecjT4SphJe/vF0CFDBO
SjJGzz/mx0HfoON3hDvK2ZVdcQo5Y6arGwyN7j62HFgbaymZd9v/rP3ZjIHg23jZFMQax3A3HdTg
b7b1FDyAonT9E76XW83ams2UwhJIDVe0pTUy9af1fpR/DyFPtvAxBkfkBY9p4DsSQLsWMA1UCaem
mMpTdTJnWB6GaP6jBJBzugvNeOUYfH8uTT/uNR1GglozXy/YF3uRmsRdVk2pxcohUoTQ5HZC+ca2
98u81faDjf50vYx0cfQvGp1tTUlgalE60GgUf/DyZquPEjZwP0bzv45K/9fA0OI006f8EHcl+R0T
GeyyFTSY874WiPxlUaPukt3a+//dKp0GkbQsChoZ98x53KRrtAzcPbsg/KqtGH5Ixm+9/jWUo93o
Kbvr0+ndAqUtTI0nzSMgZDS1b1dOVwIzqijJw+PPsn0x3bXEEptgTce61sx0Jl/Mi0HWoa+2UzMi
8rkAj9OHVPz6P+vK9Bsu2lB7KY1rXEk2PdTVIJO3oVlttTG2rzfz/iLLkBEombjRCgDx+a0cH4e2
asgibsYfzbfqMdu6dr3RHiXEuOXes9dSXe+uK1NtAkQdSpMUsNjzbH3vN3rcUDS4oZSu+xoPsfzJ
8Icf1zu12IiBXhzzVdhH0uyqLIuFjNMGM7vJsergeejdiEUTrRw/C7OAggMV6KthwcKeP3CxMMzj
qJkO1vCgDZ885ZMeruxA00V7dhJgQIyTEI8zWpifcGZZY4OSTRdj/AREXTghrFDi0c45g5BTnrow
2l8fuve7z7RuOHYoAiCGpsyGLlH9IheDijiqRCC1iXae1lLRoNh9uJLPff+RqOHGU9cCtqwiQ5gV
OkmtWfAgpW/llGRo/M+wkVY6s9QEdeLAlHnZaniAvV1DoagFWZATeQyMAfJeukfst7LjTOPx9gsx
yS6amH7CxTKV8D0UY50m+kDbqs03VUBxDfCkgOwlZ871j/O+po8g82Vrs03BwlEHLQ6tdf+btPPa
kdxYtugXEaA3ryyW6+numenxeiHGid57fv1d2QLOqWIRxTO6EiAI6IeoTGZGhtmx90PdHfOPIjKA
XfBj/CV5rB59dHchWAkOWyPJtyf92qw4NBeLHCE7LiZhNiHYsoN0p0zqLrG3ChG3n4vAyqZvxpsE
eslarA5lX6cb/ZLVJfm4j5Breahta4sv49YK14lTJ+Q6hCDAIrop09IpNehNGY3SPIiTCMmzDc+w
EjggBUKrm/KvBYP4krSi6zUjSXumx4qUoUAI9gbIXSuJRDNSKBSkh6HIPV2uQ0Kr4qBL8Vt7+DXQ
NbEdqODgTb5/bm6XzM8hmQIWza0GIX39/fIZZivLjOh4yY/glT3FTrdOprit1/fg2sTi2wVDnZcV
kHdXl4AxcUwm5I0aNaBqZX2Gy+6oODH0be2T3X3+/y1ucTjLGmwmpKKcGnR3UJZD93VrFvjWDbM4
fD16VjqPyhIc1Ze2Zo1DiFO0pQMEwTvNd54gHyQhnpj/BOWqbY0I3l45YRJtBZ4vZlrshXdElKir
A7Gfkfw0NbAa+m/D+vv9nVtdltB3FH4eHciFjTFPFMuBDQAESKfts6D8aYFVNNvClYKn2IcmzOn6
DX95G3QaNmmoAIGIkNBYvC812U7Uj5VoLVduAHHcMJZvg1KwJdtPFA/PEazW8qhsmH1FkS3OJ3aR
ASKhAs3+CuW7cGE5MtgR3PZ8Qs14noHV9VMA8+9L2X5ogXxXZFI5mhmDUm+8QeL43RhGfxKHJpQl
Xoe4LgzTL/cbp84oH0OXfaycIncpoxlerfXtPrSUfiOjugUQwzACvuw/Bhc3cR4DG8FYfA9TYdMh
dY5KdxT0Fc4+eUzOkEimNqpv5tf0Jful7YXy258/F9e/YHEj57lpqjrkFwBA2w3qh878YA5b02+3
bbbFOhcnCTbzuekZIqGugQaCR7vmwdkL1IDq5cetttctqkhYQ3kJNAxw1xtobRs3QdQbKGIV3SfJ
+pnqyQNl0d2o2S5iuftcQdqy/yUPz/7cbnzR2xNEhYpCFXqBdN20ZUimQPZvpI5muFEqo5VMWnM2
R3N8yZBJOMRBFm6U+7RbvyAm0QDwU0AHBi4vd1YWrIO9Dv8loEjrAMWZuVPMBxnpON0rHsIPOZyH
Li/bCAuCfg6e4L0G7uK/i/4CwH2YaCNnnszcSPpehY8Rpr5mNxcUmahVBIdY+zBZG1u08nmExKCY
N3jFPC4j/izS5MhH/AF3MqEEzhuY7/K4lX+2iiRzKGLVdYhbIGRHoU3Vvg+x6mw8siuZ1HVgsYg2
qyxkWmUmsNCPIxT2cFRT8wPmUXnNI0TLE7LkmzOnt2cDmyKv5mASbCzrmNClxxw4gMHj9M6OYzcw
QBO3phuofxytXxlazgqy6yVppK65jJW8KEH7rurzDQzy7ZMnTJgk78Trou17HaWUxaRZJW7NnfVI
fmuD0jlOlp5+MLo82t9/+W4DouvjIm7AhVPWE8gws4HjYrQWUvIB7LIb0LmFMC/oL/RbZHrWjAFD
Gg1p5bWJfLTNOC9MdC/3ykH5mJeu/kl/0Hf5wT5DJrbrzpnXpy7D//jg8GFi7vK4NUV2+9jyG4gj
iCRQp7tRUarnVq/akYvsF2Z7LGoC0Kqb4KqQApX6WWSfE5k7KeU+7Q9VCU/3d/n2cGKe+FenzE32
tcxejbptEN9g6kJjdO0cBmN36EwQmUqgdF5XSuOf30CGSQhn2G4LJ708QXKntHUIeTc3sPneO2ch
rQTx3iGvXrFV/6LHzUemIgx0F+/MFN3iyDak54KC3KQEYCIbkTOpxjU939/G28NKGQMJWk2nKkyL
Z5Gw8CzEkTUTCspafZY17W3ebcltrfkuME28LWQtJrPPi5IzWPF2tksRRD+0j+p+BkrVeP5pOqhe
vPd3ysaSbg8mS1JJkJiPFUNG4u8X968tx7qTFIIiqyQA0gtlpuvcaMdRAiyWqw9ykpzLpH2MpzHZ
eCrE43Udj2GaE4JEGnVPRPiuTUNX0UZqnhOA+ozdNomSn2bkV/Ay3XAcx7o4TlW4BaRdXa8DSAFB
KUa7lgcz1jsrgz5cVL2qA+TDe07wS2SSOUgJwN1eTd7ZafS7iLIv98/ObffHZLkXlhcfljLiCDcS
O60/oUCwG47R+3/GOuyvgpXgfwA83t76a4uL4+pbcU3DFYv+J6dzy3N5CD0NhDLCU3g7QYYQQ1la
/Ih+bCz1NmwRhgmVhAge4LlF2GIFjVrTmOEMB9nRQKrSZdwi/pLbGjQ1jkJq0YXozFfDj9lAAdkI
q4cBmURXYk7a1czxyfGlmB4HMoH12H0Na/sdVep642FYqQ2IzMegI8h/GHFdfBHIPRh/1TgLuXRQ
hmN6Ng60dj716mno9jRZJ7iMp9OEPtWwcfTXHMml5cWXMSIZha0ey/bY7bQQ2aH86/1vsJJ8XC9u
cbumPumbSsYE3OvZ0T+C9jtau7B16z1U3PvSbXn6SjfYIVTudact9o+VEOJqbxeFDsUsS3/SOXt9
15QkOlnl9kolHZrI2djLlfSDlTooIJIRQKPy2ti6cGFd4oySXIlj/qQcOOMHpD5eUcQMKu22BoZf
49el17qwtkzVu1yJArvAWvvVcgWkUXlTHsaPlFQIL63aVSMGCtWT826LymDtzBA8MOFmCTZgW9z2
i2VCW9lEqU2NIAD6D1oPAdKNsG/NN15aWFxbH3mFssnI44SYvWhDdYfwlB2s8/2juWVmEfLBgd6h
GvZqRmBek6MYH9qGn65+qcvliN9xsWFjmoxdW2Gn2s8HdZ8eIgk4ZkvkFbuCNbKAi8x41w/AeA7t
FnB/pZ0KaOK/n2v50BRmqIdBh/XmodsHp+YYNzv4a61n3es8/ZBmbvwQwjE7eu2h+mJ9vL/HW4tf
IjaVViv912+pfOjCnfD9/hk9rfGl/NK6CHMxRVg+SWcZirKNz7uSAV6vfOHc6hR9+Dlg5fpR/3s4
2mflWJy1nflmG1G/5mUuN3nh5NIodBoE3rj61Wcl+TtNj3K+9UqIn7u88Jc2Fp5srgM6jBE2Wq8R
ZHaCftR66jlA/VHytvAat1BRwoRLc2LJF6fWLDRkxZvX3YtOqTf/yL3YS47GMThnxU5Q4zoP2QGI
71R45qf7p2YtYLAZWtaRXgWJ81qOuLDdxWrQlj2x56jWForHXXFA7eRbYSDW15hW4t03t/oAMwr0
SrjPGOQyaHeQkEh9GXvR5xq5j2o3VDvFE0R6lScJ5SlIkxjE2OyirMZil4YXL3+eOypKRRgWUmLG
wfgqsARiDASO7lw5xi/KfnqzlQOuHlZ6bLYhClj6kkZS6rSosnK+LIItLi2yfSd9mlAKvb+pa1Yc
PiH9KaivbiArIw9/16Ci69qDcuwKydMRGY2drTbDylGhOQTLqk5OCZZpcSsaZqhzaeQ1skZ08yJj
IOlSpOEx6SX/qY4ydQPLv2oPkCClJaiAb/KUaZyMtOhZ1mTq76pK9oJqPKLJ41ZhsJG8rplCGAbN
JVIiuIcXh8OemVzXIJpz+6p+iFFa0pOzVoWwav2+/6lWwmTqw9TBiZAZpDUWewhpM+1KJTZcvWFk
McilE52M0LVj44i/eULjrWHm3Njsia0sEHFlUIpksozK34y2dNmUT05H3+2RKZCzvE/24SF/Y1gM
ew0H+2tMOtI1uy02kpWTSRFGAeLAgjk2i331dcduOwuzPfoqjoPGYvMxjN/d31OxZwtvTR2A8WcW
yCVY5rNyNUlhDQrUrVX5cycNyGqp+Jb7RtZCTtDTGkgNKI5IHBaRUjmOqdyBgnfN9zNzybgqqq3N
oxgb26bxXftcHA/kBgUPDynk9YsQx01TW62puYWafYWA38V9H4pU3o3lJuOaeDBvts/WHQZKbIFy
WCysm2w563pswVDz3j82buo5z82hh4UTfZxNhu3VjdTgpiQZMvnvsmraS10bJ92guVZUOo89EgMP
gVQg0shkaPfDDDSaJiTxJ0325feDPYUvIUzAcMiqqAhXQipq48uubQCzqeStIIUpfi42u0exTQJM
LkrH0WkE6wP6WbCQDufpg/4j3f15px3ICjUymDOo64H7uf64DvxVjRGx4amDSKCkTM0BSiLzx/1l
rV09jRKLqVKj4lVYhMJlNPkZSqqaa+iz/bUya/sBF0CCHgxVsbGFtzcQwXi4F8n/aevrywTJ6W0n
jjMVW8Nk7jMYMjwJtNRGriIO4vVBxQrlMVrAuDDaI9f7phZaPZmixC/reR/Afe+ET4zfDt9Hpauf
O6qFh8aekg2ra/uI4yJCY6qMSv/idFiSU/WpT5FfC+b3ct88TGpKOdlIvv3596IoQTbL4woWTMSk
F4GYOTnt1EF34k4tApOZUtZe27XJ42TWG3WCtRUhDEz2TLyHW16syK7gQFHzBj6TOQcW/zMC453I
W6W+LSvCxV2sZ8RzzejOcc3R6Y5ingA521vS1jj2qhkm1Cg8gVkBMHptBqH2IozKltaIniMlHrvT
9M5ENuDPPw7og/9YWTzbs2a1g+awZUw0PzKx81NL9ecUZcN/YcaEvVRUp1SihOvF2EVqWRVOwWW+
cpfb+okCwHkItiQI1l4XKs2IKAFtY/hokY3bqBY20FlzXTX/XVv4O8nuvyMf/JiU3fH+ilZNORRd
QTpAb3eDxTHpQpsOppBp+1JpCIYmZtDuFH94HJpxf9/YWnJB6xTULHX+lWYt9eQRCSreaATp6oSZ
60bd51pfAnRAJdCd46BEcUgfnzTqjI+wJ4de3FXf5zzQP5WITzjIkzR+69JuCDx5VLUNX/J6Gpcu
TNCLmYBZIK2QF5c8GILUlpm5f22b9+fpk6D8HHe2G79RT9tYgNtoUwTsOsInzKAadAivz1Os1zMT
6PgUEDq7tjfd2LG9SFepWDHaob4Y2peNLyCu280CLywufEugBLJSNliUH+ps908vY3wYIE0zD/l7
5tA3bsxKNMESxQAuTUsq/Mvgr6sRsExDWYMwpvWCU3c0z/JZkOyl++1M/dbZXBlbsiVJ1pTZWslp
Lob2W52ZUE612nOi9N7GNt5eG1YjLgxdZYoDS68G4HRu/ZJH5x/9L3SXEkJoNztSwbV3cNLuwn3z
xhg2o7N1wzDEMLMsOpfi7xde2x/rLEMaWqOP7T9lUvO+Hqdnca/dpvU/3F/lrS2a5lBZCJyeQDos
zoqExJE20lB068T6xYjVX1o3/Ryi4u8RfN59U7cfDiNk4QJsRSa5DN7HQJrH3ODDdcPwVzT7n6qq
893ZUbZGKm5jFIIgnnCUBMkSbhpceS2XYTWNrElR6LI+q8VLXz82eQEAfyPAWzVFw8XmLdegnFsE
eHGsRHM2BYz5RNI7qR2+0cP7acrBs4lfO4RFa7j3N3HNIApKqgiFmK9ffq/Igl+tUySumpZ5aUGy
HCqUHOBp0t6Ym8CbtYINRQ269wIeB5uvcDUXR1GK66QtgUlzB6a/M9O1Cjf3gr3ttfs2ffjf8q61
c8KVUwRhAlqK+sI/Z4VWTFLGEsPcRuZsolVoHLKh3d/fyVszFDVEfieAsELl73ppajopSYZ4OAqe
9XML2TD5nU+EJKFYfN+S8PBLf4zkF++8LGAI9uKp1yLD7CSD+2xL7Y8oQxyjH7YgUmurEYyj1J+o
c/H8Xq9GGZDk9BsuV+YEM1gY7Tc60uhSQdu0cY1vTyD+F8fIEINBR3555HOfqFXTxTUOwl0cHSPj
OeqrXTpnyDtvVBVWbYnCk6h2Me8lVn1x/KrR7wZFEb6+DT51Tv1QG0roofF9zAaUqSKnHjZWt4Ja
YXmQnMCTqQIXXrJ0kTIWiCT3GqiVaR/unC9T6gJLnvb2e/TsEWqT9tYuOaJusi8iL+KRRcz8aP6L
wylGZmEHFY55OTKkO41U6wiiunrpnOymYMQ58LJ52Ciyr54acc9EdU9QPlzvL52KoZIr4SmDXtlN
8lg/mvXMvF2Zjx/vXwLhCZeXQIcLl4znteqwOKB11GiRGk+aIBqGAsU/R2em+o9bTa7VE3NhZuE8
qqrJAzvhPctCWd6rsc1g6WSlwFNGapa6+gFR5a27t2pT4GAcijc6p+d6F/M6i2ACJuKNIB08AWeO
d34UVG5Smz0zbHbjjkrxcn8713zKZRC72M4khTgO/8gBqab2gOMqdqM6qBvTNyvjFpS/dJCXzApA
jb0sYFTF1EuJyVcTGK6Msug+eBg6GlnKDtF6L/gQ7mV3a85/5VReGjUWmKI5kXoQf5zKaMzcrO+Z
xHlr6xtLWzmPV0YWGyiV9CmigZXVGbrJ9kMoj8hlp2czqH/MWnWkAv8MM+aG1RUU9tWGLmcvYqny
48lmbem5eu7o9f6cdzw/25xDW5u4OJSDM+aZrWMIUPlPHyV1T/4NPliIDMwcVEAoQsxhq6x2G06y
PMI7h+4S0PmbMl5CpcRX8Ft+X8N1JBUfDJTHd9qglijNpj/vX4L14wntLch9Us2b0b1QdQadSg0n
5e/8EaU7z4DKSat3vbxTLXhDaDYf0iPlfH3rZqxuLz07OiPi2V3m1LZftbHe42embAwgM23jc13P
0RkJ8a2+yMpV5+4xDg3ymdLXck+dpB/myOeqR9HwnBrp51orNjZy7TJwyXVoSUCeoqN37cHUxhnx
nJmovoqW+f8KDVDFzV08AgRa/7UjlnrxnreRP8OXgB3BTBnt+9aVf9sA0YxT03tq5caHaNdS8+7a
pzZFQwy+I5r3rrnhPNdOqaBBVKkogihfejXaC7B+KonmxkHH8F3sxcrk0Svac6B3G0d07etd2Fo6
sykcTD1psCUkamL1OXFQ8LQ9upGHOdpVw7HQ9tv0AyvtbKoN/12isXBvCVIftAUx2x+0gwTFUvYp
p3m3r9+Mu4yXV88OtbzzEfX7kokfsInXEQaWn/ryByweYlUptSmr+QGCuqo/C1fHmM1uOG8jTta2
GLYMEhReKt7fRRJWhK0GHrskJwqMp7mrvSAIvI3PuLYcBz4zUVrnHVwmr346J3aQUBX8Zzka8Bla
vW53Vk9b4+JrroWZVxGD0jGgP3N9Sfww9BujEk7NN5+aaH4uNPkNMNGNS7DqPIWImJhF4n1fppLO
qCahlokYk0sPn38C/GBf/iiJbMdjbXvmaTjlX+V4t1VhXasX0QMVTg12OjJ1sQMXbmBy8izKRSU3
TQm0C6InAB7QkkramHyJ26b9i0cD8mursryGuVl3rOPfSRv4H1SYUjc63CsFS/vq1yzKLUYh240C
cMfNITcwd9GDGF6N9+oZHKVHbLCvZLcpPO3jxpFa+c7sOsrojGEyIumIsPJiF5zCpElDigo5yrRX
Ry8e3IjMGu7jx9ptPpTOrnorbb7QK5dFkH5SkWSU5rbRFljcSVtGeLk3fml55Q2Rfby/sBXvKsDn
KiSOora9fK+aYFbUaegNt4xG6UsjWcpPaQDKKWmzflbCeouLYGVFGCFL4tJwa16/78U+VnXUdU0z
wSkaQy/TjLX5JmsqcyNyW7UCXlthjoBxhuVtmRjOsCSmztywbeqP1azXp6QLh9P9vVspFgscEGVp
MZRIVnZ9JvI0lEYzHIEmRGOxCxRUC2K/1x7bprJd1QnrE8ODdEB8a4uEdu2rgQEWAHsquTeqz7NV
D36nSri3bvgZKn12UGKGh7QZ8JM9SRuXbuXsizSbGj54ZYMC0vU6rbGJ9BTlVXp48U6nkCDZ2SG1
N6yslfqvzIiPenE0MuRJa6nFzPiz94B1HaTdz3ovPU3IAG9X+leqZfaVuYVfkxGbqf0Oc73/EH0u
z4Ja1z8E1in+jlDuqwTeVsC9Ern9U6VmLJeKxbIaMzQp1NF+YLq8tu0npAQySOym2pPLPn0OfdP+
BMFM5o1Bq53kodmKTVdODe1tahQikqJjuviOUAQ5aPBRmbatMXWV0vqKqlnpxo3/IzSUjbG8lc8J
YytzNOLNoEG7tNYGnZQVViUggZDEv0M1JX0bHYUUevVNfxO+3yTYFT//Ooi5Nrg4P0pWjXnpYDA9
oz/5Xf0tptmsT0JG26yP/0LxGNd8ucDFAaq1yAllFZrzGgC5ksOvG/55rxYT+DB8MzPbNzg1W2Ig
KQ2gGAAYkX5BUtP5avizHjMgMM8bL8GtzxS2HGbueXHIlBaRjJZO5Zx3bJ8sNTstOxmckfv+ctUC
jXqZUiQQdGvxhqpqPcPTJzYLPjPPUv3kZKS9teFHbr0V67iwsijg5mUXK80AbCMLY/XcmVV0ZuIw
cwNkSzbyhZUUSdiCoUdhWk29ITzRhfaXXvF9yq/SW+dt+C49+8fwm+C5sL1636hu+Jx+Tj42Z/5v
m1L69kJfmxd/v/CYcxcQacaYTz6XTD6BTwCKYwKdjhFFeWj3tmvsEvjSNnuItwH2teHFlyzkOh0j
HcO1pr1po+GtzePKTr00uXKo6Ae3U/gubhJp50uTW2zy1q8Ax69/wOIjR7M9FrrDD5Dfq08IwBWD
FzwzuAgMOPQoRI0v3U/TOiN759VHx9t6EdedG6++gCHzAi9z8Lgw2mi0O0jgA699ZL7B9c9t4Pof
0r8BPcP/WG0R461dHlXM7NE20Jg6XThvZbKSOlZasJ1TtEtbpmGmLZbB2+eJ1vaFiYUDbcOuUQYJ
E/3hn9EGMXOgnrZ4Jlc/3qWdheOEKcpqAw078Rk2v2nnFO7wXMHkZO3i5/6LgG9rO6ly29EloAk2
B/5XtxL8Hxx84u4ut3LUk1JPBaW4HiXzHu7t3ku13tzwpysBBtt5YWaxnX4GflAXhO/NfvT8h+pB
q4/hwdpZUMxnnpEcy6ctYPya7xMUTzBSwZRG/HvtEGCShfF3ogsOfKEhDoX3JhyD5tQHvr8xYb3m
ewRBmgJpJIX05VxYO43gRiS6PfNQO4/W4HzrbDlyK7IzN7ej2Lv/dqyZgzQR5SwAh/jaxesUGIrk
Gxlg9GmoTsiC7hyN/s7EmZne/wtLdOWoT4gSwvKVQpXMjqaUhZWZ/FaRvkomg4BJ5/nqJsvHmhuF
qg9CKTIhCFcXbjSKTb+My05U2ART3+sVQNxBlHiajVdx9TSS4dFGFUqVN+yuZk00hor7P60y5WNz
hFHzxdohbOp2b7MPzrvNotJaPAauiDKPyFBueo+OXZY6zYF/qjCC0TuX6Mg5nH/Vg2lDfrPlWMR2
LQPAC4NLsMngtHBBDhjU9B9zYnzq7N89M+vkh6hWfr9/SlZfAIDGoh7AoOxNN25SC0hufYIZobqk
M/ACeOdc75UH9L8eOjf6ct/eLTsr0ealvYU3sfQ5VK2MsEYGWWLB0Aql1T6p3OKBDv/j/H5SPPlQ
0ycAgLzHZ7bu8Gbrk665l8vfsHDciaREuo9YgZv6D+38iC7kLvPNjZu+UnC6XukiqpG7AKiNzc6K
NpYIpXxPeUnO+kE+Od640bQW23ZzZi4+4+IKVr4lj434jG0We7VZemPz1/0vt7ZpIoIHJk33AUjN
tU+G8r1P7FhMtBRO6IVW+9AY0inuNyE7a8ffpKqiCJVKyvaLCMGq41brBLNUqsifjVr94uj5i5U6
P5sk+rtqtqj3Vr8TFQjgGA41SZLH64U5ma32Q6yJIXzrZ3SqUE/hNkyu9grw33raVi8c4BEmToBl
UIhbfCnFMoa2Y2SC6CQ4BeM+GBFsQZjjjPD0/GBBVLxZF1/7dJcmF1FmEmUp9LmYRCPe3JWx0+zk
3PqrmuIN77wWeYm+vogW4F9eVhclpa6BMUg0V9Rx+BqbZvGmq0LtIUuacF/Po3IMfVp0k55TeOnS
LbDX2uNKSQ5gGcMMyOAubtzsRO2sFJgf4vpQlMirtN+cqdzNzni6fxnWLDGdgYoqtVQ4phYBSiCF
fTwKadoCvWi3kIxjaSWWi5z3oZrCjfRs7fPZ4DJIaSFZZYbo+oCGjTMQM6CWaHdqtlOiyDlnSl+D
0pv0jdR21RSYPJAo6LgA97o2BSDRd4zBYsYyieuTqnX1gbGy/Hl26k3/uOayeMhthTkFQSW9uOeq
qEVrEmgy+aF5lkoPriwQsYNnZ0zrMs59TI+bTYC1t5zJExXvT5GYJur1+rJSbQHNMoU1vLIKN8Qq
GXJ/DHNTXSk3VQ3XtlNUIhQDFdxbzSvHHOngJAOEN8GgPY9+nH2a8jjy/MlPtgAhK3eP5g2YJSgc
weEuI0tgNFnWymD/otgpyUWS0MuUZJ9GSClm8ge/hEk6cbLvfehs3PqVy8DgHOUxLh6cMstNneoh
n5oC7vhUKVs3ypxfje/Pbj5Io1eq/tZHVFceCCYY6CWQeABKXFbFnVKOx0rlI9L+ho47/Fq9qKlr
5G6vE0uEh5/R2TrGp+ERvfTv08cQSdxd8k0Qrw3nXN5lm3RQK5+ZNIXgyWE8iXRs4dKB9Pe92tFT
1ifbRcWNjZZA9SEvuzXwubrV4PcBR9pkLOrCwyXVYELkmxnunDf4ndT/y1HiH6XTfmsQtflzZwAQ
GPp6etOADZZALXK+uoBMCR6jTI4hBi2SfakUUFUTBRzu+9MVXyAwxzATA/JDGmLhCyB4N6Qmq4T8
QGu8s5jyPsXGEG2g8NcODmGFmKyjDXhDzJTmtST1MgvSC7KGVHbbOTwXgwGqSAFg1GzNfK6tirdQ
8B4KGcRlZDHNNFAsoT1LtLRjKM41x8/3923tPEBRDE0xYOpbmIYyNzOyDTwDHcTejYJSYF34X+20
ealy6/gvbEGGB+ZbpQ6+BCkmudTmXUK5w8ilD70VfrHUoUA8Moho62lb5J+rK6MtBcQZn3YTSvjh
3MQCqAtwO34wguybXU6/aqMGVVClGw5s7f5S/iRi4EkXZerrV6HqjRiJTWy1bfA8oTWUWvUHo24+
3d9AEWYtYnRScQX/QNGPWuvCTaTNnDUt+DC3Letf2ZjhK/PeK5i+HYM4pCKQlW4uF1/uW11pNbOL
EN+wiTb9/eXqOpA8tpn4xNOFGz1PnxvmPKW9/CGCi8N4UPbVh38zL3FtU9yMi4puGbY0/QKHgn86
wJiiyS+mEX52tFja31/d2jEBJEMlhRluZsXFp70w1ENnrWcNwbutBg8Iae+ztHUlO/WGYdqoFK3d
5ktT4qdcmBojVW4qEUWHata7EKa+KfPNQbB1IzgoJnKJUJY9yrrrSuoNBjXFSXEl/S8DXOf9HVs7
7GCuwGzrqKPcCBEWkloGcxQQkxgow0uBzoxU2UcwgU1bIcmqKdH3F2OvhOWLe8XHMZrG515pXfxU
x+PR6oy3YB033PqaGRp0qIMICjVGX68/TDEOTHXxR9x6eHRylfdD+9z7f46oZ2hFTJlReHoFHF6b
MZNR6ZUoBdxojG+lJHx06nCrs7pynF/hN5APCzWFJaJeCrUh1x1y3yrSs5MpwwoPtXPeRLspMUYY
BJP5x/3jsGYR5CRVGaQvmUtYRPxmKLXaJDP44FTDOWumX4XvnHWtQCA1jzaKFCsfivNG00x8pFuA
eZEZkdLH8EiY1hy+lYE3eZrdKWfo3OWNx2rVFCqUgv2XpH7pa6O+mBot5bECRuBWA1WkWP1QKurh
/u6tXFfCe1rQhPdUB5czwnOTTkFRNrQCS58JVM1+sOxq/vMb+zp5A3QQYbabygsy1IDNEspVZfCs
wiWk2g+G9fnPF0LTVODZgDmTkV0fbhtuSh/2LrqN/fQtm52vTa5uxZNrmwVUwYYiknkUZ5k0o9pR
q4VgijOKngnU1IU0cmOrVk0w0s8/zIOQmV8vI47qJINmlBNW978TI39RlPpfAAIgdf+vDfEbLt4B
KdeFWpaw8X5WXeswn5KdcpwO5XN3bqnebFWM1o4ywp+o0iIbS1Vl4d76Ma7MPscesAsmAefpSR6k
90QYG0dAhB+L8IQ+CNgY/hUjSgs7KppmqiSmvDRl/GDEzUtcsjQn/WHPw8fGmDawTWuVfHJGKmGO
gE/KyyMnyQZagYK8RnTzf9npVD/Xmt7Z+0yblC8TdJHQU8ajeTJ7NfbSLBpcM26gf/cHKTirU9CN
rlXV6V/ojQX7+9dhZc+pEPC7mHnjfi/hkE7Tm80YsReFYx+bYHjKg2J2UbrceLpW8JBcOahumJRm
6vLm4xJ6tnk7U7eddr1Hqoxweb7rnrJjhNSRHrnS38MvpXLL49apWvH7RIPkDnDkymQPi2AUMF48
qV1nuCols9TNqGiRoqiM6UMRW7lplW6UzNbapcQ0cCHZKJAItsXre+NYfQQTHBYF41yLKuqbeXiO
9tlufoGm2ROJevN2UvctJIZogh83A5+VA371A9TrH5AOPhz1OT8g6aq3KHInpyaMpZ0ciGmrvNT2
jdz+ip3k68QwFrlACY9mVn+Ne4eDGOoqzYj0ZxrH5y4AupL4xZfadj5Hshq7zWCG+04Ncxf9idrr
phB8t27nkO07+rMy9Z8jJ/fSVvsud92neAr2OLDvKE0/a0nwZYRi2zVKzDA/J7lUzB78Pv5GSv69
tWUvT4s3clO8OF16zi1j1+mMFQWV+lNV0s96LivHfE4jkN264wYd6VibKJ+0jJujjvpnET3AcxW+
7eZ2wxXe3BJmC6GTgL0W2RpqoYsz1JUZgFqLrL3x+69yNL7oxfBWi7ONgbGb74YZwbwDyxXtAJ7C
6+8WqUVgVgHxnWRHaQwWMpZPelDY59lo6sxNtUzdVXki/Wn5A7N4XYNIjAyeCaprsy2SFJBJ81zN
ZbPzp9Rrx3TXQrB+39XcXETMCBfArD4zJYiXXJsxxq4PbZ/0bEpgSx8eRqdxFYIWWE42FrSWCVKF
UAGwMFXLSNzCVFAWY1j6XAAh+Jk2XvhL38de7xbxXntyjv2zY+6GL5m8ZffmA+JCGVZmGs2hKH8D
+vYjo5xUUZoUdoUiY4gImdsYfLVd8ihat2JiZpJ3MDMiOXd/f28O6atxE0g7a6eJuwgJCicyy0JB
qVPOQ5e6houssCuNX+9bWXXk3AROKt5cMG1df0a1DSu91pG21N6Gvqt41gm1xycdqGByHrz2uf1r
OFX78Hjf7M3hEau6sKpeW02MWEmdFKvVqLx1EnkvzR9ildCqsTae69VtFOA9Bjc1MVl4bamuhrGN
UtLGfK7Okp597NTqHBvGhktZCeBsghD6R9QraJAtmnHT1MZpLpoCiVrb3xvZn3ZRPYQv97dtbTGM
6ZP/KvQ4brgjajt3slhOwFWrEg9RrchnXY6SB2lKM+++qdUFmZAjU62lPL4cOwiDqkvjAFOG0bi1
NBPFDRsm1g6BQ1FYsGGQbS8/TTuZWZXIqeE6U8O7lNNNKeLfoaa8T4rw079YjkUFEM4svPGypNmF
eguMjOVU4fu0++1Thf9/GViOLqHfFCcDtJhuqj/WzegqWbThcFc+PlU+QUZOvsZZE3+/iN9NdD10
dQZ+oCfuFKpv66A9qYm6cTNXin0MN4NyY4yVMHfJ9TWJ45VasBfYhn8gHgIg9k2aEq9s06cohrvU
lDfqU8sGEBT8ZG5MkMIYLMLJ5br0uMg7GA5cR3qfFf15Lsydmn+ai8mVB/UQxr+b0tz4Wjf8r8Io
0/8yeSkn70YHGY4BqTRbkhOBjg7eiHZaCX+9tg/39sb6lju6NLX0dZDcdmWAqc6Rd4pU7wwteUgH
/THSqoeu7l/mYAtJuDwqS5MLp0d4IZeRRFZsmIErE1mV/YtSbgUaN5Hx0ozwIRcnsq6qvI0KVjY9
dIMgnpXSQ4VOMHrFJqQXwNHiwE3eZR9V4sVXVMIWEva1CHyZ/C1/wuLwzHLc9wip0DrfCfgpyrf7
HtGM7En/Zv+KdE8+M6DxffAUzIf7dFcf5DeOJzgRLcWVX/x9+lV/JpnYHExbO9WXB0w4v4u9mUqr
VnuRbUvpeJo19VRNNvC8ENjVVLyN4LBygvFlrqcNp7pldxErjYmlJFGFXZGtAA4+QTO+109b1AHL
52G574vYVodCyJ9DzDRE6aafuJvTPa+lrnufdvGkhog1c4aFiYf+MOyhMVfc4reY+QJsvDNP8cs/
vPDKH1b7xNKojBkiOaDgvAy86pAp5SKkByAlfXJwpM7cJ1arQEUVhPv7j8YNqObVFi+faE4RnCx7
U04FUY4tehzDbvSSl2xf7KRd+qbxHPr6fuBuZc8rjoEayetUCPXFm2Z7rFeJ44jPlvf1z6wIvjYS
pPcoCp43FrZ821kYxTiEW8EFqdTNFh+PnYNroZw4ho/Ri7wbZlcgw3UPbkzYTs8Pn/4nMYmVw39p
1VoUhemSVbGeYHWgKiFFbvJ/zF3Jdtw4lv2VOrlnNkeQ7NNVCw4xSaGQrdHe8MiWBM4ACc5f3xfK
qiyJwRbLuepd5pElEPPDe3d4gn85Rcju0xDGIZ5VexZcuHz+RP0sGC/WhnfhqP/Q/iyYFlXaOWmJ
9tXvSnRXlt3Wrhu/5heOmILSbVbu6sVBRsIQOoIoE5zV7zsVNiyaPWCHQLQ9YcTLhm9OdJc46WZl
OuWFMduLSLCpIJ+h/gKkxOxUUcBYQrkKHQMCJVSJB6vkHcQYRimMUB//AweDpZlEvh31BOxAcLVm
5zqK7tBa0eT62dNdj3Cq9OyHGIU/aIxnnq54zaHam7tO5V62UbIA0sfufg2xsbQ9ZeHzz6+YHeJ9
CthzomKApe2GCSdM4UulVdiC7drr/NA/GM3K8f2GhJiP9PsmZyOtan09MLhSwBAA6S0CUwwjsC+m
XbTt9pDxzGGP0ni5l34VzwcGbgn4r/CHCtvTOsHqTN5HbuL33zI75IFKywtlkOtrDKt7YFVi7lmP
YP0CEoo0shd5w6sCT/tLcul+iTz1llzYvbcGEV2K1T58xuwsiSKuw4thkmsh2ekvNIT5FdjGuE7V
C3MlWDvTApj12ZgdIYxXDZDTaGzYkIN4zXWPXUG6CQq75W58LOCGE2q+5UtDkrXT4wzROW97dnyQ
NoaOXo62/+DN476LN41nbXXosXnrms1rA2vMIlO8ZV0YXaA9c5tfF2Gx5aH6ZkoSh2vxwtLJ+G4p
zYv5mbDtWJcHSFNCaUjY3OsIuYFizqvbuF+6HOIgQ1evWdicZY7mIzqPUGuovlU2mpXKDiUNkgsp
2DH46VO8Q0B40AavPq5J8izFxe8XrDE7vOpO0aK3eUxe4SQoptDSPXpxqrYRDg/90QATZaO9Wq96
AEjd+iV/VqGY93p2bLV1TETCMK/sNb41J/D0aeiGUO00/Cn3atgtJsHaWblyYBuzc6uhBMpx8twy
IVklBxn0u78gX/FH1wB5BgIT4KE5tovwbKpzDV0rBRqYKsgerZX7lmIk8CP/bGK2ZtiYZRVNJapm
uGlTGg70MZ7Ulce8Ls+RD+e89OlFnggoNZTHzuoYVQfnbt7DC64OtA0oZYgvgwG8L2mBlPjqxtlk
m2KfTzA/gqv6LysbIFP1ofnZ0V7ENcyJXTRvNw9xWfpd16zFDGdPBDQBehdIVqhlA1092wWuaMiU
97DXq+Efo0HIJdq7V91FBnoZaG0XWu+voRDOt/usydnCHzOzbqburckWBA2Cczv6RrcIVALstU0U
/gfq8Geh0azN2cLnmegFqdAmOWZPU4IUKh6hfuOpkB8I623kr96HawM7mzvFSiJ42EsbQZ/Efqx7
zqHdxmDvNX2AJXOl/gXnULle3k/m7A5WKifLUUYiqFqknp0ZAVwFgxwmRYW9NotykuY7A3V2gGJA
AkOgN7sFLQDgR9YhmmVutsuqRPFtao0QdOo2Fq3CzyPb8xgHHUNNAYKJALdJH9GP7/TCTjQdTpcI
aS/jrRSvVcM6IFvdR77/JGMtWgfGFUsQY+mBsk99ZTd9+/wbzs/rj98wJ06ZuWHlsfO2bGHW+2oE
kok2cq/YA9y9Lb//te2PojyUSl0dvId5FbU1K6a7OcY47a3AzL+VKF5+3qn5KQp3HtT7kFuDhtVC
7UTXijbpgJr1qnzQvKpP7yw23hUk+/l5O/PN8NYOSAZ4AaGuCDTLx/lDtUmZODz5PNTZx7vKiNi+
i5Rs5TBb7A1UCyG+ASWYM6HL0uS13RlQjiBaaYWQfTSOrQl5/dQdtZWbYalDeGpJ63gg01G1+Ngh
O7carrql5cFJ5trtuxsI/+4/H7OFoo8DFsi/25idk6rbxdQpUFuKL7uf5jFL/XKvh9rOvnKizfhN
2+obflD2a8H1fGfLuZL2nVA1RjBwllnhcM7kNkPdtYO3YtDW1ZZYJRBcprinsRF83smlKZOsLxvE
CKDB57yvNnKdwZRoexEBpNpW6YNTkh/w7lyp/Cx2CvpAQHsAGgQ81cf5cibhVNrkImjvL6iqHQwC
yUc18SMRr0zbUo8A7QDYF5bHKAHJm+hdSjEeBmgNTKiXpILloZ0U162CcXQNsTJ0S11CTRd1T5Dm
ANafLUFFj4qKRRPMJbXqldrmYymqCGbRZpjwtbW41ClAaYCvAKUMpbPZad87tMudAZXAust/TobV
QvnevSOykvLr6wExHURncKnA8XN2UJA+5RVE9JHrFaUbFMbUgWwysYuCs1V5Ajnn768wudAlYhnG
TKgdA6XycaZyl/MyjcCf6TZjaARsO8UbtfeiYWsGXQhRiGBUvRxlDurRBlfoSlfPHiBv7SPtJpc/
CmzzCSxoK8YeR/tbHsy8ByCkB6Lji009wt709KDHG5jCbzO/cLwk85PT6mNWTtzZGLz7htkZo2Rm
ak4JvkGGf+RebJudtVUO4rR+my2tVyDU/+zubLijKmaVIrvbZbeqUl8bGvdsBy8dne8+X0RnV/Xb
yAKh9+YdY4K093FmMxj/TJWcWfukbGTNASylTXKnUeRkZPmoqbx2pc3F3r1rcrZDRIn6WE3QZDMx
sOINeOrBFk67VB2V7RWrX+HLvkUbZxP3rr1ZVqAC3cRoLLSX7tnXdtvtpBQhu9Z3a+/khZsOlV9A
XXGiwQhhvvWdUR+zVIMeEh+V5jQUZXFpFG7064cZ0BvQWZW4uHNE7VSnU1M70OrSqCF2UVlNgWvG
LKwitdnVIDytZJAWpsvV4GIOI3WJi5vz2aweRJ0mR3vMrUfPUcHIrUhx1BL7kimIID5fkAvHJ6zE
AAcA9B710/mpxru4NxNk/FE+H8llqpjdpgVZY6cXWhJ+3tTSqSKFBJABxqsVRK7ZCZoV5ZADZm5C
lRq1tkttp5NLBdpSu+4QX/GnSOYVNnXpx0frW/KqtSvtL3UVlW8sa+CXYKY7u/6YWxU2RCWxGqfr
iZNQhU00/P3+woC+b0Uu2neXbGGOIHFPaKWrHzlyCxNPAdx8/nwol1b++0ZkV981AlBKU8MXCjFD
9UWPeAiC2cqqXxus2enbwxSGIWIFjhx+ADS/Ys231ppWGpETPjspEHXj4QTAslT6nC2IrpyiAtwk
jBX85v2OZMopquv8SUFh/cjHqPPNKk8vC61RQ1p32l9YEARaxqjhAw6BTfdxFO2Ok56p4G9WenGa
jGILH1DkuNYilKUNjTciZPUlHfasFMGzQfYH+AQLqlJ2aPWuD9jzxhLpw+erYmnOADN1oRtjIOia
L/DS0XJ4amE4lYrfiBpif7nC/RSlupU1DsGWhZmTXnZggoN/dMbwa2q3bFgLaGI/9CPetAxnYwCL
B1ULaNpAEigZ9f2oMXpVAWp0I5oGKAk89S/SeoivnMZWUUlTcf8MLoNzgpoITQ9h3TU8183gXAOE
oz86Y6QwL7Z6fkohVeAxJsjO4Wr+mLgcAqq40tQQErLKEGZgDX0FoNdJPVZVxVNlZjrsBIrcDrW2
ag88S+iVkypaODSDElJtqL6QYnQeIiLsFycdjGMFwI3tK4mRXxumg6RB12cQ9I7Tabh3MpK1nsGG
6Dqt9XJX5Ib7mFsqZDCjwYmuR95NoaK4CfDEOQh8XsZK0wjNlCRfYQuXbQyWp4ees+TY6LHydRi4
u7fytPG0vLW3oFAAotdmefPMnLK8xSmZNF6vDmXkQ6LSuZbYoyc3B2Mk1U2k8tu0p3em2tlHTUy4
hNCLy2pIkouRWgw/rUaG22NIDvqU870Stc5rVJHJG9uR/YjyeDykba9exDaOfMjX6D4jmD6rUhWk
ZdzywsxUcRHXJRJtYE8D2SJcBEQwew0Jc26Msa/9ouXMa6jTPaK2Z92rpC9DeKxNXstaiNRAJLGo
Aq1sVq2Kl1YewF6SGfmmDzw7MxzoD/AkwfPWmFrzMrXV6aV1u9yntFkTO1hqCg4iqN8B6oNTYtbU
VJLcHTs0ZXJxUZrxZWPbod7pN59v27da5PwYBDYc5CBgBsBFmgVozTjW2pQDJkpzj40h3xdhuhl4
GN/I2ElixPNdFyLzf4313XhtMIXNVocpwF32g/16sOi+/5ZZ8IaFnCRThW/BE/EI8dowjx9a+syH
buUMWToVkaPDSwoIYBSfZ4Ew5GO1hMl3W1yw9hAzW7mgk9rvlayIvdjtX1cGWR7mZ4P8rr3ZICOs
J71Q0Z5UQGjge3ZyDvw0eGSv3PHCm75ENhCrYyARuWkKv3J9Kw7pdg24upQ6kSKsf/Z7NsBV7na6
Ysj3agCpQd+4wNYfHhxID3Vh8kyhgExL6Nx7fOWuXQoZoNsNTApuh3NjWmTyGmDH8PivhHKozezg
GspK5H/eBBT1kK6DNwBSXWdglDTpcZxp0GXTJui9FlCFM398Povn72LojgCXDji8jJHnMAKSpapu
N2hBVx7a7CcuA58gZQ7anhfpayzOs1Lum8qJJB9J+zrc3fJ8eBdlxdqQgJfW/4EGMSHw1bdBNXjm
nf4S7W3UWOILaK4krZdngf1tDZp2fvqgr5JBj1KgtMecLVgtiyO7HNHXKPfgoAzR6ucuNlZ24XIf
37UyW45qZNs9l3MmQvj8hBRAak8vN313bHDyaD7ZuEd9IzdF1VyXyQoBfeGtCAKUPMmRjZLk31kn
kwHqCixGyILnR5L6ha7GD2nh0ENXGdNXoff2nmp6vFXHWr8pXLgm+FFE1/KKC69yAEehqQbZPfDu
gb/+ONNl1kWaWdqy+Eh3RunpL+W3fOPizM2vuskjik9Pa7SchefQx0ZnZZiEW9pUdGjUvuku3R9a
7PVfx2O8Ma7Arsl8IDj2eZjSmwIFjD78D+ACSysMxG7JjAATFrnvWa/zrMMrDR8Qi7dLJ/qWHJMt
lnughc5pDMzdeqrlrMQmN9X7Rme9NvVKVEOFRuWCi31+U7QBVC/MFMb0gy/1KqmWefS0tp3O75uP
7c4u86rVlKGAOSiwTqzaxoMNR/CkMmA6alcPcQRF1JWttXQa4pFpgs2MJX5mslyAVq50NRqcnAjG
nDs97n/5SEeX3rUgu/zufMrjOAXcigDXIqQITESDKo2/fX7irvVitkasfOjzCpUgJNkp8mGAToEY
9HkTizPzrhuzFVEkRVHlcqDisj261rjnfK+RCAmXPPvl3MrHEZstgkRr8gJBGIj5ZnE3ueoh0S7q
UdhYFGuo9OVegViOVAfwdXMNADPWxyKGg4bHou5okCdsQnCy3QCOrSvL4Az287alQC3+V1NyDt+t
g6whOjzo0JTMJ6JywAGu63y2L561u3XUz9KKeJOtAvId9LT5vcSNvhakwRjiZXCaaHw92nTz+YpY
a2J2KVUjMSYnRhOCQ6YjqQ9Tsla3XWwCs/KmZY0X82wl6L0VdUOPJGVJkumWo0Cxd/IUoefnPVkI
91CtkkRXGyUDABFnczPW1Ijo1MvjztjoYaf741MOiAY9JFsU4APjjie7de70GTwEawJ3KljTxEQh
/EwHQBt0No1uh9TKsJG1OesHkyX+0M7D4tLeQr+7faz2UKPbas/xpfUtW7NcXuw5LnXkb3DB22c0
ZxcFf5tFHNv6cgB4CtDkO7y/kwNe1gBga6FofAjo7o3nlRFfutUgkfWvmZ0/LKIctGVDYGbVQ7en
3FeP1VZaaOZX9VV6MRzVHT1VK3HMUptQgIVsDzoKmNpswepqBL5aiXQAgLb02LattuFlZoYoQ4mV
cuHSwkVtCHgYsPrA5pktXBTeSZ2XKL3qLoT3iFBOTt6vcN7e4uiPjyUXqlR/NmLOHmdsUhjKemCj
gfmp3JAj2GhjEfavUyB8hhpUUX3J7J2cxXWC9mIw9r7xWUxYixxeHSl6iONseAB+dSdhFPGTk/u8
3I6B1BpYQ58tndaIdJCYRhoDYA45we+O0DzLzbSsUOyFBcdjwdLTRLTQUBX4xA9rcI3FGZRvQAjP
wsdwHvNGBaZPUfAS02hFtlCljPfwN9NX9sHSksQDAix7bAVc0LN1oheJnmUM78yhyoa927RZwPjY
7qdBrAFuFptCQQv2RkijntGhS1bl+aQgT1KbabvLJ949CJ6VF0nplCu5ksWmENMAcyLhB3MY6JD0
8ZTKVImm0hYSouRbCg5gWNv2mq/xYkuSxCZLsAiiZqsQUswF0XuKLY2E3qa1kGjz3I5nm2aoAKz+
/NBaWBIAGVhSQw/xIm7yj8vPdWK3VEs8JlPaWPsituxQLZw8/LyVpdhbU6GJDflAvGghjvWxGagT
QiGIYKJ6X/UNuBKJWySjrV0BIUh1k9YvovOlc8paBdKQgzU7T5DkwVDiQkBlcH7bgsiaKO0E+b6C
Zt2lkrj6wRzhGOi0lTcIApwyg8+DV4wmAIXgOJ0sLpQd04bsh14m0VFTOQXi14QOCFSCBi+ze/FY
TOCKVbFd+YwK59pIW3pqrSy+Vae63OkQfw0UUWnBlBTE8bilo5ymTD31hyFTO592ZrLnzBj9FmP9
y+x2JEDe9Xh+C3VFlAyag6FGmrf3RpvRQHfok1YP12Kwe//zmZXrYz6+kpgKPRFpHz2n7DOTOuM0
YltUAH481ZWjB7GllQmUEt1im2aQMaxslLsaUtoHy+yUVcTAeXoNuu6o4oAaiyf0GcCJWUWX0wEx
rlT3fSNa1RedLy7ZhmZ+vQXDY/t5l5fuKKllCPEQiDNjqGcblNki0frpTVZDOU0BSY7VlfAnLGYJ
f6VJ6IL+gFTabbZZEypf3Ejw4YEyrRQuOLPC5A7MviyZxPvDrT4Phstyk2EXWVuAlv38y3rYvRTl
S++fP9ucPZMSbicKT9Df8ZDf6uG0c30A4PeSiNTv1u7D1dZmJ5KmJ2qsUbQGK+T4WmrbAyjkl30w
wqWNrwvULhy373oHkNfHo2kYXBNFJLSXwcGw2Ss/zZC96eLaWwuS7GwDSkHw+QrS5YjNdw2iNSkO
iIV0lv8AapIZQ4eorQlsL9kVX9wrHma32g/rCtWQQ/oDgrwQxRYB30mtBsQdgW5D/8QXFOyOfLtq
Urd0Dbz/oNkUR3E0oVSID5KOEzokKjInBPasvjC20kO2uXPNYForWJ+RlPBUgAo41BQQvhKp1vtx
6Mtcj1mfI2Cum9H4wdKJHjOS0G1aZtmVgK4mvKZKO0ZyRtecx6pR6lPPW/5CUFDbCIAU7h1APlae
gDKvMJsbw5SsflSPZGFklnewIaFH8gxwh5GQ1tcL5Q7OyPKkx2NQTfZdY6zB9pdatFA8haUIcmJn
Kl2qQu1YydEiHxk9aiUfv9hRXvi13rAwQ4yAO6Q0s/vPF+HClAMRKvO8OEnORa6MiKRdbAGLnZkY
dI8Zxk0bO2q5EmAsTfKHdmYvFLUHGUtV0U63ScAn2cg3kQjAvTVBcHyjVq/lNxdCamws1PZhdAeR
HEP2/F1ILRgUCYdOupXllbVROgDHkvyC8fq+q01zZS8vHB9QWtSlwyM8fZCy/9hYilBXSUYH+sCu
/WQrUeWJWtymbZKuDOTSfDkSZgiFHBQ57Nm6VJSqSGkM+546FbEX2cOVk1u7z9fEUmeAUIFSN97w
8EGVd+27kVOTro0sS/r1ZdZTIZKTYvKnuF7zo196aCHXjYMPSr32uZ601TM7c3oOTD7UBK96BQlS
eACrztehrenBTOEHPFRmi/pUQhxo1gyqXzPCdqR0aQdJmVE7DJNpbifRRCsP6qXNiCcoUNlATkiF
j49DwLIoQz0cKhIpuMV+aaPIM4nk0RLkmMYVbOYzba0UsjDqUqLPgOcPWNtnkIY8NhWNWwlkFqJm
2IuhARSvhsK9Nyp8lVi22BiSBegeRJbOijtdo8VNLpBKTe1jrea+sL/31tq7bOkSRwLo363MNn1v
aACT5Wgl3vO9EUw7GI340lQsBpFl7TpdbW22bPUkz4nN0Zq5bfb9kfmdl987oItJTxPl9vM9snSg
fejb7HhJo8Zx+hKtDRv6tfoqGdrOLQHSkGy0l/Xwa23C5M/f7cl4qgZmSFc62lyWNf822oVn2OVK
fnopbYcqGC5hXKWgkM0RUQpcIyZNam9dAAtgn3QAaTwBp1ppTtPtENB6Uwjhj9splHDKXz9EAQBE
1hCYLihyubOzLRpImY5SbzNvH8f4OeJgkFh/QYXmQyOzaIOpOUQd30Q9BbnIG/GdxMk2Ec3a+33h
oP7QzuwEgaFDi8cmOtNFdzGoxzIX+vkSXFwSfw4XSt8fl0RnNlpUq2iBQbuuLUXQpo9UHVdaWV7o
75qZvXMI7HWpkOqhrZ9c1cCGxBvzOtr8UR6ksbf2uFnr1uzQgNhbasUV2isYLjgND+UWtPH01+Me
TI/Uz5Hi42fS4zUv4yKxoP+I4u/GHU3oHjF7Ddy6cItAEQjtQCcbHKK5iERVtuBOTjUaGa8Aad9p
/Yh1UHixAikJJ9l8vh4WZwomG7iwIGAM8P7sAMxZV9eDSCXbv/hq7HCFNkF0axy7kGy6Iyiz9cot
uTRVAFCCAkos2OrM00bCLJQa/oaAW6XmtiTuQ0zZDqKhD593bLEZKaSAeA7ZqTf80vuzzxV1DVYO
RG8ccdAi65r3zV0XmX/AR/7r5/Df9IVd/xHdi3/8D/7/J1KNdYI4afa//zjxl/KmqV9emuMT/x/5
q3/+04+/+I9j8rNmgr0283/14Zfw9//ZfvDUPH34nxDaQs34pX2px68vos2btwbwpfJf/qc//NvL
21+5HfnL33/7ydqykX+NJqz87Z8/2j///TcpAfNf7//8P3929VTg18ImThhPnua/8fIkmr//Ztq/
I4eLNQXAC6YA2OXf/ta/yJ8Y+u+uTLoiJSAdEFwDPylZ3cR//00zf4ctHeRbkcwGfhbg0t/+Jlgr
f2T8jkwtEt0Q9AbGHKki47d/fdmHKfr3lP2tbItrlpSNwG+b8jh4/1DD1kIiUdI7AQU9V4tM83FQ
GwJ3YAJ+vnvr0rFqRq/pdUFuYq720SV85u2x9vVqmBIFqipQpK5Ct2Ra882gRpYFal47WZjmNHKh
cqk7Snk3KCqC+X4ahnpHE1IRrzVKVT2Z0EmrfUMpBu2q5kYO19QsQg2k7/QqPcJWVFhXnVLp9GFs
W1Mx/KKgxJkC2vE8QTzX6kLXvF6HgkCyBbM6GuoLq4L6q3myS80cgO9JLe6pDJx/9SZ1OyO+dfG8
TadDmUFZFA7BlpWlCHpLoHrV9ktniziP/KpT4tS9sgpTqfmNkQFoIJ5LnHy5kXm8aR3BQ4dFLRmv
2qSEgs4hinI2PgLyZotNQSqDX/R1JdjOjvuaQuIr79zWa8A6aq5d8FAArCQ1q3cKxBaL61jRGf5w
0eQdQS5iSNMU2ot0YlYwQZKh+e4OLsj0PusrN9m5MUB10I+C7v6uTi0dWpS0HuwNjNoipYaiAkM4
nyNBQEOuizywojRRtiq84roLQ+viYjOaOn+2O8B2dyqlpfoAVWDUmzmcy8VDz3k6+To8f9wTUYd0
2MeoOziHQrfq/KZrJzsGFDYxYlzFTqmHvWh74En7XqgEglqaEjMq1Xh7gFzcxFWuY8voBhYqdaoW
Wz0GBwhvVjvnmyxXWLuPUqYixNNRif7e9NpEuO80YGLVfjWRmHw1CIyDw4w1hI9bpRmi8WoqqwpJ
yR5IBoIhGrreOMJSI+uu4qqgkV9aYyzxNxYU4X21Bu7zCqEJF7sMdb3sRVcKZ/CNye2ik0LS6LpI
G/bdnoj5QoaiY5c6xGDRydrs3G9mh4HwhTvhD7Zm3JWeWcH/wjN4zPiuzWhc+VnmkDIYcqv8Vg1A
oPuNQkcUY5HSzMPBjQuERmlHbM+0Kg0OwFZe8H1sJiYpQy2ldRu2cQ9NcZ+k2sj3Vm0LGkalgimv
ObGiy5YBWH2RuMLsbtSpiGL2wFgO8Qbs9QxQ6oynLwoHInA/YMZLD+rhU77j0ZDrG8tJp/TZabrO
uW61GvruTd0okcfxMNJDlqQ0waO3qugrBJqEs5103pPNONLITH3KYQh0QmjUJ4WXRMnEfVprwOdN
RLgN85turIbvBu17lgF3D9j8Vs0L0w4Sw+DqfdaV4wu2vQP8gqMlIkhRQR868NQVmO9ZKS16z0nH
RIBJ2yWxrkJEe3D7wIyAnk683nUKeBomdVTu6tFK2K0s1/Kg6BtdbDnWKAKBuLCR9DCcgkDYzs74
FPTZSGpQ+qA2EFR6GWcjkAcm60KlIm9+Rm0tjgLvcr4FBgNVwgTnjeO74FLiFyJKgdMFhIU+JTkQ
g2A7RnWD5whxuy8OYXqa+CXtNA0oE82m2wY1YvYd3WrIE2l7URxSoaYxUPBtWcdhYZrDCDg5IRM6
FlnkZ57ZR1tlRvTTNfig+TThSrdhGSPpRnSAAWH9x84mzVsIjKVxi5EFNn1AHMJQPfGtzo2z0Eq5
03v2NE7dZRzHunaFWolJrqdGsaujPeYMjgu6qO+6gmjNZhLmpG1KvM4j31GrQWwSmmRG6DhUnzz5
HOKeKMYI1RQtaXJ/go75fTLEeu33pTPBh6QbsboqUcJJOaa5etvh6WEFbYuE4nZ0zZofrdxsshOv
daDdhzGbKr9xoMPul2PljludiMLeCLtFj7WqUz2nbOGuldX6VNyOSl3TTcHqXD25DeQ1TrzLOiDS
p1p0h3qcaPR1EnHvhE3natHeHNhoXuLp4/aXSDcwet9zGED5ShqX0VYvuPKMIw3yAIgPh8zLUlsC
QnpwD8B7BEcgD7JUeS0ngMwfLcr5uINNFbVCYLd1NQCCaBh2aYsyz1YMUZwnkDmoQHkQyOOUtleg
nA21KVZNsP1ssq4+WGpsNBewqR2Ti6ZJH4dRhS5QoddH0uLm2xYA2qc/M6h/gR7gTuCcpbTNuGdU
WZZuR6tDbVqayLt554nGdrMtA7g5vVEEA7ju0jYjMlznZe5EO7WroA7ulx1vXXZbmG0ffUeByEG2
kTAFu9azTZqWx4m7BaTYSYmSWcw1eteTsqw97NP0Sc8H/CcuHewRD3CTxA2aUghwQAvhtsCqa1n5
BUrUWhzSpmbtJmWcPqmTTgrPNkRi7pnB+2HjDEZ//RYr/VLU+H/Ggh/ix09jy/+HUaNEof7fUeP2
6cfHIFP+8z9CRkR/lhQsBqkJegbA1v8rYnR+R6zmglcIKWPplffvgFH/HTbQePLDAcFGMhoeEn8G
jIrxO0TOAR13EP/DxARe0b8SMcqqzoeQEYY1kukusTJAyqASfcZTGgGWdLIMXNdSfY7UYaq2NEaE
4UeTOZTbWnPZg07tsvGmOiEvNAK4yANFRcFurg1mB5A87PpD21vahUmr7NSC8PJgp50NCwEYu2db
6C26w5UK59ZTJ0QsECKRtjvSWGQnZqlKuYuE6oigbgun9C3oO0M62GYPrhWNhe8SamWHye7wi1o2
VjVeblZzmiyNPeRKZe0rxSU1SD2d9ZogprV9A7BCZNTqKOs2IOvYNdwqFe15JFInuGjQKskV557a
bAgUoM5w4RspvUotgK+3UWojhKGCifarySGXvmmBf3uos3gIGCuay7wz05eCR0VggD8/XHGBisEh
RnB8VfcEIvB90+nglrUt/pvhxn6pwLW6o3XcaT5siLICFPEMnWnKwbqNTJA8vNqwp4dU6PUjRfy+
wyvZ2HPVsl7djIvHJtaH+0Sk7FmotUM8oynIk2u2pPIrCIQ+q52l1lsFsT9SBAC6IETROodXgWKX
xj7HwbvHWSA0qF82w5ex0KnwSMPycosMU4UyPIb1qiinHvbw/aifoEKoQUjXqdufeeewh1KPIkjG
lW66ARRprIGcrPOvagkWR9AIx6Aes1UEwLZi909FX6BaNRaoUYUj6+kVadqSei1l2S0lmCNLH1pc
H+DGXeiKXeQeNzlWVG237KGvx+h7aqjFt06B2waPZJeSvFV3OtLA971osLJqdTjBcL5uAp3l6lUa
m8ZPyy7RSA2s4jPhEUrviGInH6AbLODUaDOwodQKwRyjFKRhC2W8aarGIsBDy3is+7Y46k6Hv8Ad
C+jADm9sfaPY3P5pJe70oIPuezVB2OBedVP7auQRJgpcxjhsaN7vW1EMFaSX8gR0L3WKXgwlI+Sr
SQ33rlCFfRfpA1c3eJbByqMcIbTqQW0EsAObxgrxJ55EUPTK7fjJmhJEGVOma0Gh6NYrJwa/jmgy
1F43GkBM2DFBGKZoLRZtrpD82Jt4/oLgVcW1J0rG7hsTftYpF82uzPPiAH65EhA7TfZlKqAMM5QV
aHRNW4DQ11iIXKcJfzymvbhUYc1wyrGv793S5ddgIqMYEeW5eO2RSLkcnRZrT62i8ruVYncqtUV/
srqLXsA+NPaJ1FfdqQhRH+umHXu/AmP0DmErVrqlGnjM6SOSP76TVe61nfTsPmtTUfnEFuPWLjii
jqJNocAoVC5eoxzfUgNv8OTiQKKeQ3uXeYWaaZcMTkevQ+PgaBBIAr9kJcLIZswJfAsSQa8tloFd
SDFFCUnVB1TyhpOhD4+u6LGLsgLfkIIyvseDh15xN0O8b9rZCE0pEauIQcpRfnFG9fQCzzpx6bbN
tEUqBi/VwTJixytTU033YEOwB57YbN+3jXtvcCVjgdpQdLSwwGUFF1Hg65Os32sQnNmog6E8IHeA
wB5vCe1Zs3hzciqsqTKthRMORq0+IItlJnh+9PrJLAiQaGK0f3YNAkYjjQsO+FsmXtmUpRYCvSLv
NnpuKQ+wAnKvYaLSER+rgT9qUa/BYJkSLHNDL5pTCUvUa9A+6EU/mIi2R7zldmTCEP8ve+exXDe2
pelX6ehJj5ABb6Zwx5Kik6jkBCEL7z2eq96gX6w/UKpKEmLpZN47qogeppHW2RvbrL3Wb/J6HpIj
3r5F7sVJLp11qRQ/W6go3ZplVh/xUxUeg2phmwaTAeqni3Jmm3Xa2UWcipyUPWhn2yhjcT9BaW9J
uaSxdoSwZbEbVYGnm2G05uJFQxNiZaL2AVAndV5uJt1a9vQqzQ9KPSEQkubrIkavd+aGkCWhcNUy
k+AvCS2rF1WBRyMOYEuq+jL2TtYJ8FUXdda8STDmd8nS919VZJe+z3ltVI6WNOFexHTwQ7fozfdC
TYRvIOabYPXka4ojB/oyox0w1qVdM6GtG+JG3ThkkNqDlJZZ7DSGnk/+alXxPZsilpIURIdG0cYG
NZ+4o9A31wxsMob2mOoTb8u+xDzH7CPtuooT5SSUYuB2Sj3jfZvXh0aoxqPc1LzhUqueEdGdc+v7
ovRY/uY5bA+lVs56RpLZJp1+VKs047nQoCMndLss6e1EJOGruuo97sspXapqPKl1WFyhva+7Fka3
V4sydPsQrrAfWHLs9l0KwHeJWt+shkGxNTUdU7vI5fQ0BQNmF2CY7HhZMn9aZv26r0fR5eFXHAqF
MoqZW+Ab2jYc1pdn9DmOpQCUGg9OuagFD2uD7JQvqegEU9miOzxbsxdGVu71Sq9dj6lWOsus6U9J
oC4fs25OPPjlJvRknXeKMsHYCsoJw8luPI2aEnvU1cv7pu2km1YzwpXArJ6VMK7vkrifD+BfBk8M
1GY/tsQEnoKXTSoMcumQy8NQD+PYm9SgcEdxxJBlNmXJKeNcPupKEviZEAxHziTRrbuxfWhgM58M
JYx2sJlTR6hL7dgYanqQzEX8lFui4JemMLoJFLNl+FQZqqvoQ3rVGUlxDgOjfDdINZpwWjO6VlNk
u2UJBC/VcYMia4h2YaFqfp/Ej5VpNDtRyFBHSkLtutEgSKNpg8btqFR3GByxt7t8dFoKUG4dmpKt
i7PkCjnMYt2Cjwz8PvJjjBUOcjeOfl8E+k60GmwcOgtIjNZSFirnJ8SKWr+JI3RoBNWEtdglBm7u
jQgUSo95LpQQt2Ykjzx94kANOIuv9ErpXWse691EOeJDW4TBu7IdBKfs4vjPXtRWhh2/PGnwm2nT
Or9dcjV8B0h2calQhPuOlOV9HyX1p7i29Mw26wDx8KatO6cODRk2npQfxDTMnToLdEcvFP0YIbrF
KdsENAAKHbdMhtdEbXVTFuVThReuF4/i8ImCWWjziMk9XuMIASymtIsVMTqS983nIl7zkmSoz3O0
ZJ8U+PWHaEQ+Ka+FwRstUoRkqWEE5kvndBDGT8tiUiILkuCuTAvxwOsJrqlmjV44A6vmHNSdWV+6
XVVUsacbZAGBINVO25uI8EWy+k4OG2VwplzN9kEldoc4hCinQlXzxAYCeQMS4cFo+uWk9krlGXMP
REiolL0+i+jmi3xGf6GZ0zp52sE0xdr8PheV5H6RZvEqLDPF1SJDudXFIN/LQpMf9blUTkvX5vtE
lSpOVKANEaLUtd2RVt4bPd1xrYpxppBrIzuIgVB8UtVIv6Js2O8Dq9U+TqIlfUJqQxXshQujtXkV
px3XrRaWXpZHa90tss4l2+YkDhgaBHka/dnNo/CUJO2UsJaX4X0SLilgGJop76h6Lt4sAJrl8UtH
qszC7rtVzcXHqOkCT9dafk4h6RVEwdbYV41AdkLQxl+CqYBRGJt2FhvwHEyzOy2q0XkcofpjNAvt
Pk/y8lwE8uBoUx15Qz0imLdCcJtIXnZzGFY+SvvIhKhVfGNVgfRoBAVtdMRZXa3XhFPUqsl1T3/r
SdGM7FjlSXxDklP5GS4Ue7nEeIgeKhoytqFns19XWnacxdS8GXNV/ERW030bDc30yqlInEkzULyY
sswt6tGyY7Nozlal/dnqZWsbeSvaAimSX87m+CGoSstXy7y5LpfxfppQ/ONb+gEaiyc+enkli43l
Nlb7LcrZEdKsj1f5NH3Jh14WvbYew7MKB+Y+TOPpYHSh9aCP0ggjhZE/RuS2XBANPmxpnFckSOm4
V/pmvDVmSfqa9og1aEqfISPNhdLi/5jDT100/MRiMUzOM+u2tGkoFGVuS1reN7FbaHjCe4YGMF2y
Q/bbbZGRON1KtZoNp1aq61Q5rG5Xt0VXqfeJXo9nDhfTQR1rApdvRW3rYcASJWhOZOaxWXJh3zSD
slMnfpAdLlUPGGDJhtKtjaBK2JMmZCgqLBwLZaXoTsZb5pAWeYtEfl9qu6JX6kc14mHsT81q11or
QjS7hpgp+qnV9e5qafWscsh7wgfK4eKhVDk8rX4aH5pE6q6LuQ9v8ypTYEmgaHHO51y4qkmCaFdM
YXGoisCMvQ6wSmcbQdALdpqVlL6jSQ1vJCtWvaI06to1jDo/Ut9Z3iWzmniyWUWp3Q5coC6ChAJ0
XClRx9NCU/uLLEvro1YqduFQVA6OTFSqglGph5uyVrTCnTM4/PYwUtwUFL3zlLXMqZtj2bhVVGFs
oYb9FW3+ymnM0bo1hX5yi7jQZUcQgrsuFxT6JEIuPALpEj50eDudWypE74xBVvaKwbHrpDDAj21t
5YcuHJ8CNYvOilgV7wO8DD/3yrjsEyP9Bq9PcdvQPFdSHK5X5FfSsekQyMrJSs0PWosReTUfrIx5
GAR1djI9Nq8qBsGbhgNcSZonuqnRPuJIcBIREI5i6flJK7K1waR9iZP5vlet91zW4CKC8tpoKAHX
9Yj2juQi2LAL2/w+0HGnUxbhzgxa2csDSt6GDlJXNwQKpGKD0B4CdbKwOLwq3ifBpDrKmmA28uSp
SpS6VrSYTpKhmNdN6jHPhL0Q4QmAPeUxUYarMilv2kh5DI0Gd+QxPHLpWntjCEYnjnsnDOrGt5qF
V1da9jyE+Btlyap39OYWf8zzP9uhx0wk/mLIQ2XLckXxcFnB8Enz56TOX/u+c/phuAFN/jUIu3vA
7V/qKLWAdbehM+NSsMxPhZZdA2NHQ72/jSUO7KnFF87KUVlJK8BMf05pcIv38pXYJ3eZGSK2U+wB
wDql8cUsR4C96dHUtHNfLAdcLe67SruVcOsDKn5fIXs1K5GbZdX3Im00R0q4ctssU9Z7Dg8Nw3Jx
oBZ2Q6CdIkvGXWPIDmOErWFhPUlNOHuzUpxEfZhtDs5T1k53GpV23K1FOwqqh1IY3tfzKFKMr+8G
pfMp5VyhTMhfWLuWOfpT293UpnHFu+i9GmruLFi3bRM7o/SON49tLmhABtpiZ5laOnPT0HGJ3CGK
bSsaVEeYY79oMh/PsBFjTXr/g0wennSmI0XVzZBXj0FIphYt34pZjJwl0N/JgbCfIs2bF/E2iSfu
Eu1zrSSfwjB8yKP+aoiSnT7Uu1p9yEOyLYq8tB7vhEJRnN6cBt9Ipft0vo8g21TtXZHPu75FwaMu
vmaZeFc0q2oB3RQtrR1VWN+Dkd32vEIizQnk/qPQD58FXfKD9LOSJE9lmS5ekpYHOa2+m1LZ2Eqh
+pEAVK8e3o/Jl2ZsvlAcsoPySaaT2N2ISKLgH+MsXfyY03GKE9nNMRFMcUUakOHXaaMWFshag2cy
VQw7MbGm07TobIIfkJY0dPXkqxaT1WHmyArTrYYUbsRUoH3XTp9Cydpb6eRbkD8FblKlGOxmrrxC
HHlN6vcUeu9HDOH6svjIW9tJtUdFvraAkrRG6uvtQsuU205ogsPSFb7JC8UcHzM5TeysKPYAlv2u
C87qlL9XuthVu9ad5nW56kji5Lu0612UlkgJBD/XIj8y760ROlyT7C19dtLqdulkGKrDsQ87h+R3
j680TZ3F11qgYpKUoCEqvrd0BLqguQ2qsQ8iZYersWvU1+BJ9uXCj0LDqBVseY6e9NRyRMGkT5l6
Yh9XDmm/Q5ZxqwzGHqDL14TXYygprl6YV5aI/o4k4bD5juvUTxf5fV5wCdWQQA3LCZr5KlyauymB
oVGNnyc9/Rx1wyN4hVOoC96iFR/nNHatRabfgiWo+V0Qyn1szG6R7PhLKxVxoxgkfjd86QLTlUdq
CUHkSdPTsqg0AdTHQYN5WebhtRYCSKGswKfGIpOtEzPcsOh3c9Y0lCHz3K2zPkZm2sJNxl1U7ALd
JkysTyUqREcu1Rw9xCx4EhdKGLGaOb31OEbQSBsEh3SBuosYoANZ6+JJ6Jb7NrVKF1memaQ6f+zS
MuRczdV9Vy33ASWl1kayM82uQzPg8bZE2I7ms9Y+DSOHyjIA0sk7wKV6LB/byPzYIM3qBIC5bJFW
PvhTJfNoBbKg8rT15kRn10tl6Six3B3CMI9Rlh7WTZ/1I73C2hy5/QMpSaddoAbap7hKZNFXAWRc
U5RbcvAIE47zcQG+70EXpnDk+J+5X71WqIPFa1OpHtlpion6f9FJ8Sd9KLPRSeg/4Ug9R+VDXJZy
8y3ouWKygsrx7EoyNZ57UeMNB3gWaaQZfFgRfEzJYIOHahG5r+Zh+CBwVFzXSlpYdrGakS8OqcQw
vNfSGO3eMZuMczZWrMUAO1JbzOSkvgDDeg3toRSPAe+q4qWsrr+rOvFrDFufaGK1xIEtGJTX7THT
pGuAxuZuMPOLjOAVg/0XUuTXWCti7wWMaKAM0Qq6ZYtaBh5KGUJP0ibZ1fH52XVWEP8zBemf8ZB0
Rmxn7TZseZaohSwJIoT2UADir7X7HExboyo/+k+vQEsvETArXvGXUUF8wkMciBSsn9ejgn2tGkJl
obdV3rElqLYChaE2AVrC7qjDSGV7IeJrZOPzuFCixF0KPx103rZkugTd7ZTWN1y6/rOWdK2dy3l+
AXX4Vgyw5+gGMkNQMDajYkLzauLoQQWZlzt0MbUX7l+0q35CiS5MnPwyxGY5mJEZz5Ml2kEcUdIb
d91qtSR87hAYq2hXVu9/H27D2XqeNhCAq/4edvK/qp3IZPL6SBtZPGr+PHqa5BQNmrLKjia7rZ86
2Z9hkbXOJecS6TVC6jkwNUUkl59tGn4hwmtSPSdpBKQAwRNjv+yX6rHxRrc5Vs5oj+nHC+Nc8aCb
Bfkq3LoNX2yzxprSoQ7XcJJPhuqr/VXsDF5yio5WfAGv/ObYoA8AMVdZ6b/4zqvUdKoiRFluB8D8
vFp0FfverWzp6jIEe4Ov/DGRFlxm7jwRWYMtvlIQCjpU9K6Ss4i6fiLssIRwuyM9LtuI96l/kWK4
rvLtVFJTpCcKQ0eEB/x6Kk29q6dhIWDmrBIGMu3A/epchP3K7PbvLlPSNqIJP4f4IuJmU0RzYIT0
a2zhREOp8yLHqFx8PWyLL1jyiP4AAe8+9i9xdeRLI13viReLRg1DZVKnNW7nhvm96uhAmIDU3xyi
xDk/mnZySrG/GG8r5QFMwP3fUCN6zWH9deibdRsMARVrfoK4W/zFHW785V7fUfVDVh75JZ7OB4AW
98Pt3/jOb5zhUKL/+s5rw/rF6GkrCkPwM7TqjHcdyDtXdMi+Sic+ah7fm/1qdwZWKpfg1hse66/j
Xn/ci+CS/jM4LwRv9mjmROlZdbRzfBxs8UCTAEQbtWeMHALvwlFx6atvMPJ6Z/TobmEREzmarR9F
OBvPU03C6CPDs/uHFJFfxrrVlYhzqRkqNtR6XKSYpkaueFhtwP714+Kvr7pl8BsjRVKweP85OuuU
uLnDcqal6JscFxdH90aCo1o6igHYMQKvEDdIfSts4n5czyfs0t3Jtax95obeOkLJUWNPflCO60Av
KVu9fS6+iLtB7LdRXYWk3nZ/ZM06vKoy33SDZ86qKMP1uTjQN240pH80FSFUWCqKstkvS6hNel6u
W1U9pkzrxEJdB7lcXT6a3hrdq2Cb/dHLCRaa4F9/LtL1M6breYAk1W7a/WuLlORKo1mjrrp/5uYs
TKRGXcRpelZTGq/XRfNjkTY4Wgj+P9qCUMd1CZofGpjoi65Z6mYLpnIhtvBof/iL+ZGfdLZ51p5M
ZjPzxv1SXAi4/vi/rrQf8Vij+FOR1/1KiehNwJWFZdj4+9pC8i6ZcrvJP/9+UK+Tx19ibDXu81Wj
1syIIc3NfSbwpguC0Xj/+yBvDAS+MXRddCBXZ8nNstAjCrRkeXYyzM4S8WI0K1ugR/n7KM92fZv5
QrECFP3KowAyv/0+Gp7VixogYtS5qxVDmK6CnQLlP2jgpUM3sXS0O+WWrhnCNPNji49iLto5NyRF
4b2ZI5IL/S2XHOMSYfE1jOp5mkEro9wHaRv01nbpaL1Z0LqmLQKcQl/Sm5AKlC3XWKGLRQb2MFY/
/H4y3viuugH+C/EVqGlwd17fVKUoZ2qvmpRYT4IYnnNhvqA7dCnAJt/SU1idQ0eRJaU+0xsliitd
u//9IDYp1o9pezmKTYoVpGVgTYlpzw5sIO1jdf6RYwx7/azeQ4gub/r74v3FM/ON9fpq8tb//uKa
1xE9QXrHtNMP9QcM7jDiHPY16gIDmZ3xvbstcPp6Hun/R0b+b2CDLz76ytd5Rahx/u9/dN/+19f/
cxjKuPn2klbz/Ad/gCQF+Q8KHuxqTmBRouy2Kmn9INYI5h8oQqhgFixFozYimtz0/8msEf9AIYrK
NArkhoyVLX/qJ7NG/QN85PORxKmurQfGP8JJvt4MyIqQLsFFNpFQQ5qBX/h6wYRWgzUc7QlK6YvD
enGHU+9n1woHzSoFEV7MIxjbq8thDcm1By6T8oKKfM22stAM2pTH5ezgCtGND/WoqgubURcS86HX
MYrxARRP+knHWM2KbBn2R3MlmGpifVkiGCjyIZMBT8RulbdajzGllZlRI3tiKNPFtWWQAnJ1lvtB
+EKLTelBs5RLeApiUDCHUSik5irsTKtyQVbP8lPX1M0M0WHtN0dVjXktMD2Ao3Y20g63IaEvBwkG
lO5iWa4M/jDCIAEzEKHmHIrD7EUNN/za6KFjBuoKrCP907p+EANlCu7apG1STx+SZu1vg2xonETW
695umaIAvF9Wmh66TyHammmka8N5XBINUXPdTEVXHAW93lmxonLq54CWsOlMqwh0jFmZ3/smmqFz
FwFgtZNUGrnpo9FIDVbR29E4ZhLQ+0M7iEASwibMyusiX8rJ6aViUT4WY9Rmj2rbzuKAnkGnU/sM
kehwuASt+ttkDYhd0QnrTACtQdd6YR+HoKvgWun7pqiz8phbTSIczdiczV3VieVyLajJ/KAWbVJl
zjgIS/kUWVGjo32UTO2+KHUdzRG6EpMdSrUZ+rzAo+XOqsRGcAp1UCqMIAamwaaOCdEiU7MWLZJY
ADrQ9osVO2YkG+0uXuQJq+WwBJBz6PvMFLyoN+PkLAhxpP0ZTsEjJVp9tHtBBcwPbiy7wi6jE/zQ
EBR03SrI8r5VTF1BJKA9+HRGZerFQaVYBxUTqGCfD42sQwkA32OzcoSPINWa676fou8j6ErRzSzB
lG7lpqp4WYxWcM8bR9a8bJB4wXfFIrW7XhzawR6rUTfcAR1YOqQxzATwToH2MZzlAAyO1FQ8vOV+
ppBXlXQu0kLpHyw1zqD7zu2i7jWr1HE6i3uTml+q09iQqjGu9hooOm1f1ZApKaA3wQRCw8wmdyin
3HhX1DNOWOkwoCRT1nrenApj6FU3keXO2lmtZQp2Hqml5hc00KqrzCoAUrV6IqCLG8rDN1pXJZ2V
0JoMCuWd3thLbkqJY45NRqO0NlLraIZUnPdLXpRug4xWgHZ1HhV0mqcGKflIkVo6D4uYn6giNtm+
qcY+3hfgLCI3kMSsv45w7BZvFzOshr2MukZ2zk09V91UDloy4lGaMIOiuQjsuZzC5U6XkhyhaH6s
5QUmpwGuCIZZeGbVJDgfZ+YYAG+Dp2QX0jhZRyntexgVmZjoO/KbgmXMx8hg8sS0qwbopZqja3XS
sIGHWjvO2dwVV1ajRTmlnyyn0tr0Wu017I+7OFwC62PeGINfBEn2oVYnvfZo6cc0I3Pd6Hx8job4
WjLLJXAyqxS/VLkFhaUKKjAoagRizu5g7X1otDwQbbpXIAdNsAK1qyYmvjvYDQ9tco5Amoi3FeJ6
gyN2kyVfgTLqTjFU5gAoriYgHQ8sxsrdpgKKsM9TaVQ8mX6xeKgXegN7cIvY5ZHlgJ2kVyRFe4BG
ABx4CaSS32pRY4CJbkG5K7QLZFs18zy4EWQINjs0+SPDBTCrpWv7eJDcdqg5gKRpaR4rKxCGXcdu
+VM1phyH8VKlAVcCixHtRJoKIEKqIBxFgao/3coonOyWFBuMxyKbs1sB3NJ8M5+WxWUrCxIgLAw9
vGg2OuX9rGVC5yVJnUm+gRdzcx+3vWDZWZtJui2bbaIfWlWMR1sC6C3tukzO4rOS0sxzu0Cp4nt5
WoTsqJpN141Qh4Kk9VPgETQc6cJ+Kilkv+9FjmnHiuQUI40afJstAf7FEaHvQgoTlIyDd4scpK1r
YvDZ+VkY9l9HIQsWXyyjzmBpcZ/vZpXHwCEsaNU7ZiE2jCduDFhbdaLyVaW8ggGZAZCxlTQp+z2g
4Pm9hktG8gH2ZXidr/L9N82IkqgzW7hLnEbofUguoHN4rYqgPM4cacNDNcl9YZeiyWEVWsbSupzM
Pe8QYCohraayk79AtxGLndkLonGl15bcnCyT69OVaj6AO4E/Al2folH157hIcu+GRc2boW2DefCD
tlEkXwtyTIoEmIGZB9BYTxzg5vKRjlaS2xoNMLpiVjukhz6F9nSU+667SrkdlE9GFmrvBewywM9X
1pS5zHGfwpHimnGMcYiaAyzt5lvUqSVTipB14bVzoozglNJA2U+cvdwEuRCCuRHrBMAuq1rxBMT4
6l1Zi1DG8kqcxCtk3AUEvPUwSWwZS834bNXx1NlVuULdLCkESvDPk9v/aYSeZ4Oj/57RcwJe8IoE
/vz//8hWVekPoOdwesBMKypWkWSDP1ng0HNQGlybNFRjUBPlVfYzV9X+EFk4q2GmwUMZtRTeUz9z
VUEljZVWQUZ0RkRFXCv3/4AGTj78oqqAsONqnUcGiI8SLCE0HV7nqmIB2iSAf2ZPaIZIwwKMPAI0
F1219PdfpPI3P57eL9tGr99RP0NBa1qFWhmduHlHyYloJO0AoE7v9f0EBTYDgFall/QpLoVZR/zi
uQa3SBlzUOu2KiKAB0B1LttdbZr+70ezEXz5dTibLD9Q5XGCHY9H2BPUIJo2g7u41U2L83S3r936
bH4MMH/RkOgaP//DR+mv0TdFlLA3wWuv0Ts3vgYGhnFwFNnYOToAeT3xJJ8QbrxQUtn2jH4slhdf
cH2FvJhaLUkWtZ0ISkZLvbKgwdHtVbckYrErL0hkvH7S/BwhNSL2gcE/bRvcEdc2sDh8prXUrP25
0MProS21vSC15mFJpQlWgvxhHIPJRTk6uxD9rVWEIgidBWt18Ngy3SwhNaH6FIlttQq3eoqkfXWo
hOLClL5+Kj4PEpEHtj9PVQRP5M1ihb1HyhuA7iEx6J0pi270Zvzz9yv1rc/2KshmpWYmbO9aJkjr
jZBAkWeEEOBK31cByr+xSt74cK/CbZamjH4qbCbCTV8mNzzVGWALOz6lT4YH4XS2uYn95pPksUxt
wb24Mzgatyfaq/CbRZp200x2RniI1p+m8yrGGHpdbpegSZBinPfLRR3GVS/or1Lj81dEtIOquoEl
3cq0fL0vFNCL89wCCQKg4w6Hdpfu8rOwgyxzQUL8uWj5OtJaugdDhWYsvVtz/SUvdmAuS5nYlkTC
7NFZ/MGXfN0xUJuKTyX/TvJVr97Fu/IcXy13mK7uTOQ3x738cfnQ7EL/ok7Zr+sXjWrqLTTnuYy0
LdogSANZlRvwetIXNB5lj9fRbegZTowZfXanTfbf6GH8OtuvY27KgKu3swLFhGfEOdj1u3wn7WrE
VKvL/f9fL0ciaSJ0W3T2ABNvLsdmkVRIaTEO8F/kYqd+GDpaq4ELVu6TtYBORA2/vMk8svRLnaFf
j5/XkTcF22Q2mrquiUx7206i0U7bfa8efn8wrBvx9WJ6HWSzbAXILNPcE0QTPtXJxyih9NylrhpS
jKkURwKc+fuAb48KTdDVTxFvhc3W1Eq9N/SSgGDL7EQQsK/5KpVkVv+Ver2RZrw9qv8KYm22SKSM
GXgxlse87GsjcVSKDVH9TVIRzwD3blGT+n3AbZ+La5EnG3YxXFSKzmG+WSYlzidghYnYek2403xp
nztfNM0Gd7l4uf/P+4a/RNwsDziISYFCyXrgBLfdeT3SQbx+RMvFTV3BvdTpfuu7vRzgdqGUgyoP
BuE6JPYFaN7ojYQX1sZbJ8nLGJtdPU8FTTbUxu06XlywzGGeeBe+01sr42WIdZgvDk/IQ+PQPn8n
qIMgT2Q7vJ695qbwE9d0EVDvneiD/LFCLfnpb/gnrbO03W4vw2/ueiFQIvIZRsje4lLUGhdigxsQ
uCzfGUfk2y+27d86wF6G3Nz8+WxxsimEhI7mjcgzswkq04nDDxem9q0z+WWgzZ1vxXINzYxA6k74
WNAg6f30pjqG7qUcVF6X9u9mcXOGJJZO+U0iUmM0s6/rgmSrcvmZJ7APsLfC1RwCefYIcQ/behAK
CKvU1nAHtTqz6xYoDJxn3MKLe3gp12pefIDz/hhn0jkIFH+kO/37mVl/zm9+7vY0goW8xND514kJ
9z2oNSCp+9y/1Bu7sEOtzREUVpZA+Y4wsoKJbPppLhO3NS+4BG4BL9tjx9ocO9JSLpSungfTf5K/
q40teroTe8PnZr8aXi4I3LgWV/HFhXzhdNhmWLE8odu3ng5x8r1V7yLAof/ed9oeP30gmqFIgOQQ
7tcFDDvJ73aXgGlvvBpf3RXW5gxK07anPkac1VUogVzznuTUpiT5MVvs+GY9DdY3Y+pDAXPNXWNc
OgQvnELW5hQKTQqpgJ/ZP7hYIrZ1RDn4NByBGe6bneWGj7+f141U8ZobM2Bk7BCbI4cCkPf60B2j
Tk9alEIZcLDTAFGWjn4wrlYjVIgKf8eF5o0Rru4saNqBNUQhfXNbRaFa9lMXIAqGqVZ/JxHRdA1H
/hjYjSOeaFD/fohvrE2GZiDGTi2GWttm7+Wj1JcDQ8QuTocq3bs51cd/L8Rm4w0G/b8ppHNXmx+r
8kuOOM+/F2AzZ500tag0E8Awd5MSeJo4Xlh4b84S6ri8E0CC/tIURWdeoEyGlJwk5HfD1D90Y3wh
n30zBJbWlM3eckVUhsKIG5OOTo0Ke5WjdXLz+1l6Tvg3pznQFK5MymYke+pm90olDkC5CDXAvOpp
P3Gen5GaMPzYE7wax8ke7mR2DA+x5Mpfe1dyquN40uUL49wAIZ73FD9Do43NVGokna/3lDjFkUKH
NEITzhmoPemOhX/GSXBUe/aRkyhvcBHxjBv9wjfcIrHXzfwq8GYzw0UtYmki8LqZl3N3M7/vv017
y1udjcUHOjdopf4ra//FYDepRTAK7aI165wjSTh+D8Svv/+o62/eflMqLxKJ+9q1VzcJhdVCn1Fb
/n5V6nYIV8A4Rby5uKHV54BqvfTtLoTTNs+TYKkR0ukIR9vbTbTvqx+I7mLauQpweeOXyVudhA2g
QI8XSyNvpIMcUrAdZEDYwCY2u7zFRFWkFcNQrwCRVed0X94mfneab/Iz5RFwsk5+H7rq3e9n+K19
iboe1REefrKpb3bNEMwzJhULAiPS3SwQXUzdfyUCRBF4CRrVkc3AxrJrJjGFidfkGFGr/ZC7utY0
F1bis1zuL0uF6wz/Nh3s3xa3VaEuVGEnFcFEiO9Up7yFBP2wdJ5Z24m77j6YqNS34DX2Ts5rDLCB
Hbtx7I+i3VzMJdZp+82v2YL1GnpYzSLya4YBasJ8Gyofxuzill+n7ndRNrcbN15DmZSbIeH5p3lx
6Rn7cgdyYyeqH9YK4uUc/82BGSrtD6ovPFA268VIg9lE4xERzqW30XGADBrYynDJuuvNnfgizOYU
TedyjqKUnTi1CAhU2t6az0h87bpJ82TtAkDurTwI04m/BrU5OoVQDEvd0EAgRpCXsTEFMo4iOBhV
BprOvvkFUu7u0rvgrdoE1TkMnmDPQHV6/lkv3rxTCaYzQsLouWRf3PQ7wVPvTSqhop262dWl59nb
wySMKUoYHXKsvr6a0LUNMEdGQLVzadU64D+iI4L7yEQ61EJcnBkiNHK7C/v/jRI3KZ/F+KiHUUzf
Lpm6HhJN6lchWDoTq9dhPjmg9Fxrl8Hidy5N69snwYt4m7VTykOI7ibxkkO8zwS3j/Y4/tB/b3Wn
HNweqZTH/Gl1ZwPG4AygUfg94WE8yWiltM5QQnR1Lz0u3poFQ2TiV2sQ8M9by1KhmpBojab1eobz
0vnKPt3BvvXgxzZYIOWPvz9130qHXsXbbNQSbeBS7EUgNE+SL7kdIrmaS/352N2HR6r9LgpB33SU
c0GaOMnThLvDpQr0ejtvjicoTPh20lul9r59XzdBhdRUvN7evK/Xwvvo0124eNa+lXKtVClAuwre
jL+AljWEIIyqIX2Fuuqp8dV8bYD0Zn4NR9s1n8ZDgViqevqXXr6vAm/Sk6HBxBDyJSs7A/mWao5W
V+fff8c30gIScrQdJSha0i9U0tww8ihtGVtlfJ54moFimtv/R9p3LdetM80+EauYwy3TilrKyTcs
W5aYc+bTn4a89xYF4Sz403/nKlV5FsDBYDDT0w1Cg4T3yGYEdujLkZFVhAZNo28sfQFrWyPAUI0B
xanQXOAn3SznSdoxAjvMoA6LV5mKLIcKtXoNKp20x5bF4WU7mACL2WB4yYYd8EScdxPTL6D4IWNY
VAXZO93UBm15oVW6TF4EwAY72a3mZ77gKRfCPVEeg4TKhWnY1t35L8YK61jih1kq/qSCDIabBTup
boajAfYKwOkhY4fiEvCmISjWHH7Vmb2tHzapbVWyKoIEF5IsqbTuJODnQfs1F5m3gAgMJMgeZ4mM
rPHTEqm8f2qkpU+AZXx/xktu4k8KeciPvujmbjI5en81JQdujsz20Y9VUudNGCutiGTc04qxy+Yb
MN04gG6BIe9FF8LNJF1Nc7FVrIM53dY9BDfn0zSV0FnqOJ7FOpSrLyxR7wRZS/IC0Em8yEXdqWUd
4LF5YwpIL8tvHP+1JerKHsC7ouYBQmgGJk/NHLPNMMOHukLtwTrJPTGc7/p+ia0yEpRae10CHz++
6+RmYG2DulFnZ6D0czr0ix39wAdIM10XbwMZOBcNuiLU+0AouilXSPQ2kuYBWqUu+DeMXH0Bw6Hd
LLzDybNGdmC1wsxIQdFF8tfJT9FgKJ5H083ccvMyQd4y+1mcxrsFYC5IaJ8/MsydhWI5hoRIqkmD
wC0dcEC8XsBblYDGqgXtBXgUzptgeiVGVgCKUHFjGFQMyOqgBjcCTPRD89SOIZjRO1ADKuoJWg28
9xar3gyd7A9rVAgoBVDRdjk8c8AMb9eBfmNyotsUDy1jg2ceqCvGq+6mV7dj7f1Fw0Zm5BZoXyuY
2CdTAXRhb+wR6OYAhUTS1ofowgYSpU6HEoviqY+8lJKZvIHJAdmbjMEy6Al/9hohLRLQScDa4He7
7nJ8fZftzGxhox76ztZvzn9JiRxrOnNa26M2Vy7bvNPAAWobhaUVexOFiYHwZxoXo9rhRVsOyfgT
GEHISkC6OTXctEurX2oICC7IBZLp/vzvYSVyYJXGkD3gbSa2/fPyTXGOTTC749IG4dBS2qaBbNJ4
U2TwP4oQHNAeZDD9n7fJ3PO1USou1JayKMmE2/tfNViwDAx4qpBnA/ace7kwHtOEOvu/RVKRYchq
xQomPBuITGh3N57K+l3PkSStM2gF+IPC5CvSX3ltkVx3q1iE3hOUQlpc2lNvg+wM7Am+YNq1k9wW
j8b9ZALCAErri+E0bGK/5YCoWK/BT+ul0hRQb81iLWG9QHfvgrdk3KQeeRThSZLt1CNgXdtv9Ko/
maSO0dzGSbqQ4NuVlzk0LEv1YZZ4BCXMyLTeVurwQGSgkccO3tq4g1veQGMjgBgjSA0aT5198MPs
p01z0f+K7hVOkGfVYD8tkEpQNIygiEIAnx38Zpc8LWCSnezicvk14JU9eIonSjf85I/MaTEcCYUv
EHqjAk1fLk1mDGYVY18JO4U+4YndCaCndNN7Ax0r2RW34cv4WBlkanmnHrhvW9alitnXf+3T+ZAF
lYkpJIk2wuNxhq5wuZEfcsxpR76BazUC2Qnk4g4FOkq8CjQrJVybphKkACw8gRTDdAW+IUMSjq0M
PpCcq0LGs0OFwFFO506XYYe8ZbMAFGIHIomNPoKnvead02C0pQdi7xtgI/QyAEHGcCgm5GhYjmDF
jdSQBpauHSQ9hKAtOOw0TnxnJScrI/RDvYqKIbFM9AEHEJZbA4j3eB0m5vZpqHMZGPBDlZk6k1M6
DX1LKuu42g4hCLETENFqEufO4Fmhjh/G2ZRYA6mebVq5Xwu3cyOCB1rhWGH1iQ3g6dBnAlga08vk
Z6zitp4n8gCe0gjk9Pbkil5/IT2Clyx7NFJb+Dk5aBXbNQodGFBGRhKC7tyWOJGGleuhZq+IFroi
yMOoy1HLDAFqBtjPPmp+5JP4ZtbSrVUrp6VTNucvYuamrkxR9yIGd2oIlMHz4+ohAy4nDbeDNXP2
lB20V1aoPUVjUjZ6oHCgMEykynOwS9uVX6WA9JFThlHxA6hkF53ohfva7/NLZD7Z19tJ3YVqW0Gd
y8AaW0/dm/vhctqC3H9woptxhzaBn7YOxyIzZK/WS12FvaxgVk+DD4F+9an3QHEeOoQrdYNhugYS
0qgFN97woCyQoQD4CTwxvMuY50LUkRQHDCZlRD+sqsc7Wez8UV12SkRYD1VegZ3nQ9TBjJcwXUYd
UYxET2SM1XiSo1vpQOqQEvINrxjQFPoZc9lDOIZpapRcBu/wSNyqGoUKuhKg5S76zPCClhd7eD5E
E6MsHWY5BvOfS3j6bXV2BEoNbSN5MbjAt7HPuxqYty5mVsAagD4Mhk4+h6GhRJUNV39khw0UwArN
ETVCOGmCE0F0o+Inx2N55qgbsJ+glFBpWB/JbVIPRWTLFUVQK7sEFJN4qXCIhysAuBcQZk52/a18
dbVcKuRhRjEUUlJNHs3qcUb9ox+qa0HoXDAPgHUj1tw8Xo5tgJ7UOFTQvlPFPajYriQtvIAQwv78
dpCo9yV3X/0aKioWoHVs5hG70RSNF7WjM9QDhwaM7bsf35cKiUMiDeUywnfnLN7mUCA8WlkLCOlk
dN7/vhjEcMCpMWeJ2gG1tXkzh5DyRPMrAhFoM7Y2tLn98yZY0UbWMMgEaUwy4095TyxJ6EX0WExU
9Ac5Aa27od+ZpWc2g33eEvPhCLQPagMgFvmK+E8XySTiD3+Kk2TEoBl86LVt8it5i949CE3PG2SF
8rU9yhWscpKDhLgCXsb1YvrdYGEjLyNwq1fpPhwS6A3xchDmdmKiAck+NFc0nTr7CpjTwVhMUpAA
I7bgZi/mI5jbIcL4fH5xLD9HxeM/Q9R3g5SCPvUDDBVB6A/Ls6zyto959a9NUN7XqclkFTHiWLYD
KT2m8McHkGeT0iPp36Bo3jyE0EuGbHbyF516ZtwG8MEyFORSFoaZPodRdWqm+j2VIrgZPIdnCBv7
EMlytL0I8hnInPJqgcze3NokdfV25ZTM0AUnK86uzAfxHuQ3se5coaqx6Rz1IFwVzuymaKx70T5z
IEXScnyW+VJd/wTqRobeZN+D0ZEckuA6uEYl1IdgZeCSpqjsYrO7zV9wDbK8af00p9w2EPIuV0gU
AO2PE+xRwCakWgMKHT2Q1sDHW1yI0vvj81ykJkdpla23WQC1kAI2Zb2yZwtwSqsZnTC/sjCA0C0F
dC56gIrS7nrMOHkPM4KbOnmWY/hIIVLCa9NDhwqZSjA9ZW3K06FJYvBHj0VUR8Dpl0PFSyoZSG8c
VSDg8CiBnuG7q6+WKgqDmiqQmSJA2QNpuGYoOpCWa8u7jFnxBwwfGBRBZx/UkdSHHAwhE4wY0yLZ
0QApPEAZXgaUTexUb8DZmS/wXTL18xcTbKw9XVumAlI5il2sT7irQBJwJJyG4mtxGXrxhWqLLzoe
ZJvUT3kNH5bfro1SISpHhQMSqjDaEdJtK7XVkQNfZGVXawvUJdKpWlZoAz7dUD5DVtMeRMvpxOuw
rm1hmjn3PevrYXgZs8+6DEgm/XrEdGwQtETAoKmM61CfQPshQ1gH18gCvZ7//QIxZJBpmZqho4dN
BZpclVIxqeApZgDB++xNDApeLCO7T59wQwGrHMS7MI9K93nLVBeCNoMJzV4UJ95Kh3QDvNd+joGl
yd2/YNXkWaRiSk1odULoFEGByw42EKQByBSdj+QBmgiOWtjRvt6e30ZmGFsvkrqmqs7Q8jSFySka
jlCctMtW2vRK6OnqTb5oD5Wm7Ajfe/2NYWo0k1bbS0UxIZ8FEboXgJi5xa7cEuQ2mExLlP5t6bG8
jlwCICpO89HcmuXuL24N1pFf/wDKhcC3AQadHD+g9doH2VG98dU6DXa+A0LTzgBrDX2NcxzZJjHE
qYMcALyT1IHvx6gPGrLbkhxBQHOfQwtFUjlvCOYxBP3dv0aoM9/0Qwf2ExjRg6t4uQOs2VbbnVzr
znnf4S2G/H11LWSRpfc9OYIJILMwNDXafjAkzjFkRTBjtRrqTEB0XtZaMrxQh7Uz99a1Kuv7TphB
x/EW15vzS2J2L9bWqOMwicA36dr7qIS6D/bGNk4B11NtUirqburLGEAWzhHkbSN1DsDINU8SGQ9R
5kel2iuQTeq5FyvrpkF7GKVSTC2oMl1FKBIDUvLE8f50vd5RK7+sk4EUCYWxH/Mv4fd3dnJlkbpQ
i2WuQEEEi61Xya78E91wZwAPaCrb7RGvmWt+VYaZfa5XSR0vEfQBYvRnlcvThMkobzlmvb0c0EtF
cxN9f1v5mXjcRgUzbq/WSp24CK0CRSR2NXv0mt/9feTjmvWKU39VOfNW5bzgeR+TOnhRC06zmWzt
QjS3J8HNIw4+hFmLJkAqzNChDgSE2Oez3deFAhozmOjc3gv22MsAjMP5dXvdXYV77TQ5k7cA9Nx5
+kHeWjteFZH5lln/AGqNoxAaWirgVAhb8AV5/UY5QK6yvDbwhHqEJBQeUrgSj+1lcoAmhuDop5Jz
LmmabTL5gCEbA0kvCvJAyVM/oZRGIe7JTxgd4XI2HAHtGPBPgjFtOei7eCc+iS/Sj/7VePwD+oQK
ReMl1zwCAOZLcv07qAhodQUUCcm3GPzJBdbMrS8it9o2Xr0r9uMjt9tIkuwvec9q3VQMrFFhSPIJ
61ZB/AyBja25IzB38cjHKjNj38oUFfv63BChigZTkQUmwUZPbmOlb8Gx9A8D0f9X+IF5ZFaGqLs+
q0IQNJJv2aEHVeDFlkBK/XzE46yF7nZlQvbPZwr6e1W7ayrMc+i78zaYLdmVL9BDnynEasBPBl+Y
MQUUPWdXaEPH3p8RQhktvCv50tiQowGtFHf4zjj1+kjQ06AQ50ozyKFhJvMhPi1ufFC2kPdJ7WGb
OumxADuW0+zlAyaCbiZO6sS+mj8+IT3JklQLeLGQMNrRLrhu7gjpTuq8tHgWwiopK/CgG7wPSsXA
pghFA+kAwqwOjd6LYbrvpV/nvyfHLenRUCsIFmkhT4xWKMdlk5tdCyXdrgx5pDO8tVAxJF4ksYHo
ENJ88WSajZ0rV4F+fX4x7C+kE7AvaZ1/Gatqp6CD6CpWo//oveEIVhR8I/KAgcDXX76YmBv4YZIe
rYIcuqiVhF5C3Fcdue2RrZmuepnfVafmpsFQLc8r2KsE6hW3IpjAv0xUlXo0FqhcknCs+ID+b5Qb
Sf0H9Y9KEzhwQHe+cIILO7VZWaWcUWzlf967nWteQ3wFNLPgYvKhnOpGP+O78g7wTT4Gnrm9K6vE
rVYpfiN1taZBOgqzK+YNpLIvW403ksMzQXmm0KVFaBDPXAbJXtpTnt9z3JJVvsJ8xH8fjLrPoiED
kxS5z9IHc99uusfWBWvGkb9b3I9EXWehEmE+hJSvoIcNxMqb2NjpDUjP3ktYPaA7LcpX8vZ7+edq
hdTtBmD2JKN2RQp06lt3RewRzOKg24kNCW7uBAYzmvxnD8O3n91CnyuIOZNvVml96otQh20g/ofW
S+xyvh3TO6DgBsJ9AwTxdEPCGsXQ6MnjSN3ImQ1SHPAi3hJGBdVH+zN+Bm6A28Fmn/CVUerpQlhL
Q4t8RnFjbiQX3C6YYW8eIU+KgaYRTd8L8zsZ/coi/XApmy5vZfIBx3ZjlL9No+M81rmLIju9Osp1
UmgK0W0mvgk9D7yldTtyEgwuoGFgXBcQpjvK256TRLOT19XKqAgia1CS1cjKSH0nzu0e5WMorBEZ
oMaJ9kFuf2ceDYR1mgrFWBDfv/MyrldKaNek3oDJDkA9sPQ5SrmDRDYga4qzvJqSE13zLgVysL+k
zB8m34UJVpsbLFVj4OLDPd4ozeVi5ocxmbZVlewhs+60plT4Yjty2gDscLOySlXLE2MQy6olVt/A
8ozZwtCWbMjrBW7rZ3gVBTaclUgbmNzriByBcwumjkioQxhGIefyT9kOktjJhjx5CceDlbjWb04c
ILfAOXvUAbG6CRO+ZKkgWgWTz+CkD4M7/yQJhg5ROjde/OIGPL73CiftZAeg/5xJoY6NnKUZoUGC
MyW93auhreYcgjdmMF19ReqEhIaeau9fcTDva3mXqKUtzJy6Fs8GdclqTSCBVxmrQNXcyYznUWrs
BICK81+Jt1fURVtlYLlNyUeyAtPLzdlOupfzFnjroC5YdKaLRCDPn6mH7rH5wwTBfMQb5uD5GnWb
ikk7Z1A0J0lPs1XK0g/C3u0DwRfqm/PLYW0Yel2obhKJgi9T8tloSONAEmY0TpxSOpbolZ63wEQt
IAaiUQIuO8gnUIuBAHqrF2Qx8z68kb14j1GK2+REkDWWyxXIIceePqYra/S037gocSmRJ9PYLt3T
GEErPZ6eIfp+LWujA+q5PWRw7QrYFkHWbmLoFfmDmfBwJ0QM4uzPoALjELZKGLz/DIcQs9/Npxqz
DOUbydd7p9j1sQMe9kB384clB7+fBCojwwluMcOvYfQBhFmIZcisVQvESlutsasIYMFaAw88bi5I
JV8me17Fi+kLHx/KIFu7ukISvYEePfnNEH13gngvz5nH8QWeCSqIhtCzh4IYgjYZRZDc2JMgioCF
kXll+RDc6MCUPp63SY78OYcgP2m1qqBapAwSCSgfAqoLjNwI9WYQkgZB46q5MtoNpGfPW2QmOmsf
JDFkZVLJ/v34nZ//LE8qvm/ki8/oRjotBhD+Iu0n+0YvEjPCpgiCFlIypSyqerhEfY0xHnUjoVYJ
Lu6tcYGRIfgQbt+N5nJWyApQa3tUNAfnRhBKOez1szNjom7ptuUPjLF0dv9kbUzT1n4uGV4afM4x
lgetLVMRXp57oe4IoktP48tCA4WBwGtV8ExQIT7rjCJKRpyDGOy7o3wrTpb/f9w/OiY2gTEkKolS
TobRn6fwZhmQJpJahXgFUaFYdaafhKuKN7nO+XB0iRAziWIQzjDcNnpnx60KoQj0Aa34WhVvzy+S
RVdAZHL+dUq6UthGapBrE2yZF9pTApTTDahfvOIYHQfI3UF3TjlEfrWVrsEuv48a1NIX05mPGWba
+Rp05AR8OSEQA0FNSCa5ORV52q6H9kuEh0b71j60p8gpLqNLVGoAt3hp76p9ftkeUk7oYV594KD5
zygVe0B/PMcziqWgw1eBDRZbDINbR8yJJ844Ro9WpF9mQgPuvAbwRE1JfzRCfKd00+78l2A+gda/
gwoPijw2eUk8On8YPcMvN7hy3HQnOYRKhU+PwNtrKjo0JWR39ARbO6D/GwSB35dNb49xxAlDrNAO
kI4O4gngO0GY/TnOGlYc1FaGKDRPz32Ub4bG60vBFfF0BT2wc34TmYvCaISJkRUUF+nZiHmIayF8
DzwVFB9OUXCb50/nTTB7XhaAqmiRIk/C4fm8oADE42Ma4DuRd2MY2i0q68gLRPwDTOvA7uVH+IcT
HCIvSb3qgveIZEa+lX3KX5dBmCDHjuAqDvcN5hTG4Pn8CiXWM3W9QsoTha4Y5DSBhcYNbyrwdLc2
ZKKILi9QDwNEbBe09WJQJ4Dh0dVGLsUx+0hCIEuRAfKCqCF1f4hZAuVYghD6wyaPjZ0ADuxsZZ8c
ktTm5VRMr1mZo+6SSSH0oCZcNA+vxfSh7Ee0ln5xNpW4xZfYRvQZAPaUQbNFbWoVCGUYE3QcUaF9
zzZSCLNO6KxjjPU121ic3iyzBwT49n8GqQOeVUlkpMv7V+zcFCJJv8sf7X0TuEDOqGjVlbv2SrTl
X5YCZMaWD1Ni7+qHfeojdroVpnOLBUsYTNL0TT89WSEveDN3FWoX6LyivgiGm8+HcQgLhBYNh5EA
FoY7qI5fg3DUEa6zLcY6Nsbd+a/IXBN4I0EIp4NOjMZ6LXGpazWI0sA9JdiGshWy26XlXf/vxJdf
XGVlhfpyfQBwVSljUeqF8hLdNbvpiUAN5b34Zlyqe+1y8RPwNQ1b4acJQbIHU3FAAl7vFrBuVVyC
G2a8Wf0a6jsGUd4tpYE1B5MFuqaqKjGL1W/ObyzPCHUE1T6NexXc3Kg8PCNqK9Hv8/8/78NRuRya
ggOg5NjSuItdVb/tUFwcoZf1HStQIgLjNzi1aNxWMCym2oiwUg1VIzmNZLYQVxtns3MyyPfwuD+Z
lT0QLsiYJwDTEeqVn71fT2RtyUjKkIBrKrxRQRiI5N6XHN2fPBDMgOqFVzZl5qYrk9T7E5KBRYF1
IVbWDw1CRyY8NTPhT544e8l8oK0XR92z0NYTE7AtgW7lEsh4t9wT1V4sz8UMKhixnczhHTzG2qBC
L+maDoVGYJgpJ1EncxArwurQKcpNV0KRGCwZYTQ5prjwIMyMwEXgy2iAYngDc9PU6jpLCAWBaMz9
e8U1mKZwyTMbY3fA3X8nzYWMD3iqUN95H4X97CsgUIDaV4TF6Rc6mOi1Q7CzWgwZCiA0GDGNfv4k
sNiPTORISMTAfovgTPmJOHVjlU4w9y+STMKAVvBgeZ0nObItPwYmGk+O3PJ5ekhAosLnJ9PU1vZi
NUGfDq8IxY6ljb5XPeWXINrlxtxVmo1JnDvxmL5ke7Gzv0PV8ck2iXOrqkLaFFWVz1g2IQODbhKB
wavImqLtWEDShDeExzokn+yRuLey17YA5YJGnEDKyofuLvXa2g4BCHbmFxBhz3dYY+D0hnP+67Jy
4E9mqRsKtJKVBTVKUBYe5P1ypxzivXHSfi2/1CuVMA04UNrLn3voJgde88LdZUarFk0boo+MR4UG
rtvPqw7BaVjMFXZ5MUanVi6zHKInuQBZhdIJk0M41LaIiZ6Ix4fEuKXWdun+jdKGkZYQp7YK1JWr
t0bm5DMsPNsnC1RErytBqYIBG5scra2+gdK7ozxap2UD+DogbfjKYMgm+BkiJG4dm9AVeHkj46r8
9BOokzsJrdpHhFFa3ahviWKXy2bStnp6ZY627ir7wlvkw1xJ0MvhYVxZb2ATGDoRr0VQwan0NFQq
6l1dSvh0GJG5AW7pmfSoUwRFUQYkM/J4mT8z4q/s0WlHI0Myj9gL4tdU0QCofxaLq6ni3SxMxzFE
jAeAZAqaVZTD5qAB0JoB0V61BntGV6WTeRcK+S++RL0PE19q6mCg0GUyx6Zugr0MBs/b+j5wVSBa
Axs8LpviRKS4lF1xn+15B5K5jSvbtNdm+G7jgohbpJB4bTA8Jwd+AsBjUXMiD9tDVqYo76yaoS8n
wuQdvimX5kbFgCWyAswCA9CGWe59y0t4OJ+Ozun0yKhyVDcAKm0xky9AE7i5PR9NebtH3RmTrvXg
jsCXq6bRjsXE0RE9FVS9A55MA28t1G0xClGlWR0sGVOxaRflZ6oJDSdvY98Nqy9E3Q2Wic/TESKw
wR8fIkizXSVu5Iq3vQtZ1Mf4t/RmXRAqa4CgnpsN70RzHYR6roCmvImHAGsk/DsEBgsQ7CNhkRM2
3SbbqDfnPx5zSxGzwCz73k2gko00nyA0QsZ94z52RwUZlc5xD1aWj/LshwnKP4o5GDRjQkCWr/VN
t8tepG13aLzFya+GE+h1/kIqjbcqylFqWbAmIYFJRYYUjjyB7a/dnd84RpHp06ooN2lDRe96YG3t
YSmKx7EtdIjGBqET5Qa46vMqelTrEjrjsV5zOZpIkPgSK1c7SvlIOvej1uVYHgbnIc0IOgGvO1Qe
4fYSXC6dGs8adcno4lDFyJOJNXDhHtFnus0Oqi37hTd23GIWOyVcLY66a/oiNJNxeF+c5A+7ZTdA
ydYjLwvJGX8vYNrlhUjm1YPXJwRJNRRF6GfoDJlCUyEDxXK4eH36UCihPeqPBTi6GwLT7n8Nk8oJ
M8wsZWWTbPoq8R21Mc8bBcd8MH5l6v2o3UQ84AzPBHW0FwF0BWaO79YZv8zxYlguKl5nn/1MWi2D
OttgCwIjgQwb2jii+p6qk50GfbQJwvo2aMXTlAi+moubWTQddSm3kaZvFUAEo1K/aUbtZbTiEwoR
HDQL80Za/Srq+OtRN0UioYuULcOrtcYBlA80MGBwTng1DHbGu7JFxYEmWzoIFsNdl1shv6yTnS5t
FF+BgCje3ztr9iDyLPeg6fXI4OtLegc1gr+Y7GVHvA8fpkJCVBtGEfb4GUV0GlRji6YQJ7Fmbqol
WijUQJr3C0FmqEyg5iYiX0Gp5lsztcLNUAvNRdrV/b7sRZGD++LZo8KOKUFxPAzJRyxeamECR8nv
KgHStH/9RiBfrYuKN1JSm9pQ4FEkLvMmr7tHWRomTy3BQaGgGqukKLrFwEect8oiqURLCWxeZOZW
/TJtHhTozoykLEle2jpB+b+qvwnfjbhdvkMiT4rM4N0ilPkgavgcbVI90No/713J/kMmrlxINx2m
23M/u5BvOGsjkYW+n1bmaLh6YMidri/YUlIcGnZhtCO6CoQ0XRQJTQGUhb3/o0kqhYd+r1Vp5EUv
X3RusyPimQKgLcKFBGaE2P8GcR5QO+CclVSogyKMfN7QWp4g6y5hhXq2L5XmOV5eoJL6rX1cWaGO
QKGpsW4QlU6gmgTwa2BVeE2iGruA4KL+zSfVJD/7y4dTLTLUDhnLL6Pt+TSMQimRM9foN+B+2oih
vgV/6y7Res9oyvobt6C0skddH20jQOKeUMDrsvbaN+WrWQdvRZJzQonMiiWYCQXbAjhoodRC+X+r
p1BvWt5TmMFt7tLGGfJ7SXXk15yIut5AwsHJtnEOMMv0quKddJ1YDgRmNVt5SP0OAAbO8WeF69UP
oisxk7yAc53cGnEMCp9calIb2MnEP38q2Ms2Ic2BNzuWT3lpCthKo5EeOfraaHQec+n3QiZvKk6K
z3IbGQpD4BYHgSeMfT4NTYsPOZGKpYSWaiaW7gSagqQe/bCX3LnhlQoYmweUH/jdYBINwvcn1Cp3
EvqymAsSsRu3O5ISU+JOv0ht3djI7oQCosvLuMkCqHPxySLtp92SmQ2p5bdFddUb/dMQi6day+/O
fy+eGWofWyvXB53wEmnpjzK6mzTTjkD/ed4I64X5aTHEa1bbN84QGIgIr0oDhExYHvAk8yM3e9Qa
Hxo/ipPs9f8d9//JIuWHYS/Pk0nWlVXPqljZIbdzxXMJKlKq8tCHrQaXKAmJifQrnLj9HIaTYxEG
8h/EChwmKp3uSq2bug7b1rlEmjr21OcbM4EwfYd6cXIgEoOKnf6KNpzPRW6ur773YZfyvS4goGbi
e5oA6rjCzzf63QKaIb8j7TGONfY+fhijPDCJ5tJMCxhbFMU2q7tA5FGfMy3IJphvcH/id1Oh2Kr0
UQ8q+ELZG7YZhS56jQ5ny2TWln3YoAFoej6EwGj/4+ESCH3D0DE8QKDwQA4h2eJy7DHyHUte2aOS
j64UJTkj+U7jpqfkWdpGt5YzPxUnCJ5dW1dcZCRvfeTvqxMcoPRQNiHWRxiLwfB1CVEMR7+V/dJP
XnmvY84Ho/0+EDCupAjE/wJcUsJTYvCyAHZEWu0f+Qmr9WSzUoo5WQ+Y9x8IAw2ZpozvhIu/G6fk
rYhy8r62wlrV8bmycHbbGDjkvuXcvMxIrmigrkKHB+A86gstYa7WQo0VCUqxy4tpVwvpcY5UjhkW
1AlonA87VFAa9FyX5BR2iOQEuQrz+DbxSZdy8ebAF++sPUIUlMysIy9UkJD6JS6tTFMfTexGNEAI
5xLUcAYFibAKhfVRM8ZsG5rg59rP4qJYjpBr+rOSFDJnnoT1gALlHDQrMQGFeWk6udEitbGSBO9R
cU8WXlySacD6GB3mLZcrgOkxhBocwBmw3NGUT2k26lUKjme0KYf3bQbfbP6DTFsRecgELDqXvKDC
9CC0BgnyEOIedD9Eq5akGXsSU6LWrbR9BTloC1JM50MXzwoVucYRUnEpUZSV2sLRhbds+REtA+dS
YVWJAIj9WAt1GmJgDjW9BvlocG+A87nBSCMYn2LQW6RX0Yn001M3vuXtIIv0CWYh6GHiiY28lDrn
oOit5ZzI4HVzAjqWXDZsvQpOEHt2ZUEx3F7RQnvKl4uss46FErjn95Z9OFf2qUQrTeSunTGOjpZW
OLmp7md3FdLUHdhMnMhVTsGtZBwWNPIh+5Nd8J6oTJ9dWSf5zCqoSqURqJKGCqMQFzagSY4caxzv
YZ9BEzBHsGhDCflLc0lQ66hucS7iCKQhlh/uQfw8vhAdEby5OVkkC1YJjU9DBBUwcNSAgnxeUVE3
fT2nOPHzPo0dwyeBrn8ifOHTBR//x/balTnq80l1DbUFIgmb7MqTMjj1nuAEBKCa1RakJCF62MXo
tQceIwvzw63sUh/OLBVAlIgsbDsvJ0HCmL3Jg+8wj/3KBJUum4vaSlGDakk0gU9AraJwqy9G687t
yCt08VZD5XtGUg2lnGA1U4WH7nih9TPHCzmLoatNkEQWogFPGluen5f4DlXnNOcRS/B8T6MCZZku
Vp8T31MvRHCcAxdz8dK9za4MfnMeKoa3ICpcahG4AgZSyypE8aDJP0MdbCCTxskdWDDN9XGiIVzG
MIxDTjTrGnf2gOnd57mb3EmapxylrekmbwRlW+/6y8XT9q1sWxcojHhQRPMKZGcur/PJIiL69HuI
J60CVp+WYggFK/LAKhEQ02PT71FO8HNncKbGNjDiP+D3dA4g1Iipfgcp3KfQaTD5z/sCLKcFATJE
I6CKqCh0haERgT0uFXL0IQlUjqXbmjLnkcIzQa127GRBTck0lZaD9lC+jyzlOxZkVQN6TULMpBP3
LAZxnWbi+5pd4C7izynhvolZb1NEfwtSUmDCRPXn8ycTdCuvVXK4rds/Mx/NlojRJ9CsyjirYYZj
8ikME/JcoLmgon8FosoSsHTiHvKbfm1u8FDYvsaO+DK+mJeSl/p6aPMuURKd6CR3bZS6A8ZIU425
hlFwwm4JRRShZMj2vFya6QyrtVH7aFlK23YjzKjL6KWmDKBGytk/ZlBZpevU9oWhbFXAxMHfROUm
TMInSUpPdSi8cJIehbFj6xcJtWOC0hKlatghYgU6Jop1x9wNqK+q6BeXl3LJ5wVh7d7aJLV7iWF1
iZCTXqqvPYmRYzzVJ9JRMXeYAs6cRPdVvlHeOqkrtGpqKSlmGEWPY7Y1iF2RCqTwg8xDlD6/Sc3C
pXx66lEXaThGo9gI5EGAAQzFB7BuuxyaR+U0FPv2iTAVFzgD0Kze5IcBldBvFW4+HIguWZfAhbU9
yabrQr1aimybtjxqb/Ytu7JB3bJKrPdLQMpPBBA+ACTlYYQZzFfpc7LvtwoncWAhU9ZbqlAXrSq2
Wjm8V0L17SjvVISUzA3cPHENSP+FbnkkFzyfXInjsPRzcpLCQBN6bGVatRedaew6y+SxFDBz83Xo
ohx01gI9aErEFDCzX6vetJV3BEvX7GMugILpm2tblG8CmP0Pzz2BiICswLjr0dVsnRRiMMltetGl
0KzGLe6Zi19XSJl4bz1WdFv9ANo5MbUwKAZBhg0plG+axY1iHcSwPOAwq+axNkP55zQt0dSTPQ3k
5GXWQq+SQL4Z57uitmp7qHI/kVPOs4flLGublJOmetKi2oelAfY/gGVz7FKwdOvjwhs+ZE1cIdv5
74al3RJjEVM0Lljd4IsONPxEgHvG/fIk+QXkBEboIzyGYN1LrwZMY214HDq8dZK/r9K/AhjFIJ9h
XRtqN19qJw84GS/bAppUogKNZoVmWRpGM0oEDQkRBCkx/4G+/lJ5568/crt9zRc+TFAfC3hcNVoM
LELQbpoucaa0Bs1t5EYZj1CMWTQFKf5/qyEX1Gq/ZCmBGABRdIkNNLxzDy0c0U4eK6/6KXky0M2p
yImXvMVRX8hsBIw8kiqYlUqhHS6FZJtKCL7uptwryfJ6fiu5C6QyliIXTGSX7+6YXFV+6OVOBHAp
oUT15u2c2wYH4cJOMYHFkCG1hklfmvBLXuQYBxoWlcvBNff9JgLtTg5dxzKxCVgCL59N20JRgrNS
5sau7FJhRVJyQZUEAl7AuIewrXYCCMDy1+BI2ByG0wzyYpErJ8mMZRrIUlRZhAQsTfkzDqk+jATA
aCh5Y2d199J3GW67uvilhbNoR6l2ic7u9jtrhZyDiCaa/FXCvC9yuU0lkaTxoDZCkHa0gy7ckIr/
4oCk+XquPTxUgsThJdksZKGlrExTN2KpCe2CcjmqHlBeUJ0sBham8I2TeCW+JJOLBGrPJ0PgWqXu
xrKNDKsaZ+Rt8lFcHP1B2hJkSrR4g+nIL7NL9El5TRt2LP9Yq0px1wVjmw2DAoAB2WbF2ui1I0sQ
nppwDZfHINxk22Kyh9wdj/XVcs+XXmQGWx14AKCcyO+gTq/eWyZWjmDRCaFvyjdDWHKOzXsT5Uuw
1aErrIqgFtLp6mObQronUCA6Q2a0+hOOTIoOs5uHaDrYYuqWumNhQnlCNJRCp3vFdI1eulW4kw/f
urwg1ICYATrpLxDSWhXisIjwU4Abc9J09v8fe1+2HLeOZfsrFeed5xKc2dFVD5xy0DwcyfYLw5Zk
ziM4gPz6XpB92pnIDKFc/XojKqLKlZJ2AtjY2ONadkXvPr45Z0PRAxHC07IAfcWM+eSisWmuKfqb
9A3AP6Xjsmd9cP1AjvCusN4ZjZLhgvIArgz0Z8xjFdhGugPMG4IqyYt51gk/lCe8KnHNyoyYuB/8
FBuQnfae8cTdcP1Lfj1fTvfZ6MmZT8+a3INVCurJSkVXywm2oFTih8QGag9SovfFiJHQhZgyZ1wm
jX9+8FaDhnpyhgnqUaqgYcoIe4pnTF/nKtBsiunTx4py3uKALsQAq52NyyFYnLbQa+RJVr6jJOpW
j2ZgfWDbAcUrDC8OdzrDmLX0EeNR9slt/CX1vRpzsEZasxQJLUhFdv6e3sed1/iNr1/FtzZYbPtr
0E9ZACb8NzJD/Hn8SLLwfLZOCxPkwNblu2FXB0CxCCZP3xhRcyO75+9Zpo9kCbeQMIAxglKG+8gs
mHbdZvRZ5G4nEJkW4eigD5/t0y3ANApe1Yrs0PJ4RmC4kr1m583B/x6ymKI0zHoqcxtfpMSiKYbp
i50V/Rugq3xBHy1YuJ5ssFB2mfixYtZAAxovoWg2QDVkZ22RB5Yt61w/tQsy0b+V991cHKhRxtqZ
0gbyeG/DepmnyIDD4fTt52aTYBbV3nSPiD/S1o+1ABmlhxEesDQFfz56Pvgawo2djWQckh5fo9yl
r23En02MNgMu6d8gZZJtsZC/ihWMnxnZu2Wvrivc1DEaA0CMoypaYkz8Y+vADZt4ngawqw0MmcL3
E1O2RO9A4MVnR9wFMHwYBL2xtdg3W7XxPhZ01n8/lCS4WyPLc6t2oaFoyL200RoDeFknGEJGI561
l6fIzlnZQ4GC3VO73shW3imlucp+jlGOZFqkzktkGTJUIIkoS3CvjDWxaDPi+bCLbK9mqEtYb3V+
Zxf/Sa/jwZrEmJXqLNWUCZvIizQzYkofnEWB8+BgKNLirwemp2TOo2xxgo3DVAqHeUVkoBj3i2r7
1EB3ifHZbGTdB+eejMPFCa5GXug6ivR8F+N419UY9MSoN5g6aYaVaUkgUchzLilXe8wuYJQVkTOu
xoFpyVdjTlgOz4a33OuBefHO2cfjjtib7tXn/Eq2k2ef4kORghmp1XyBO4Hj45QpE3R/t3KYBLAT
c5DlEQBZkcyCylYpWJNqUOvFdfi1Uzu/rtD868piuLM2hBf8XctEH66olFrdl3WnwJ2hvG6IN2Hg
5Icci9vXAkzbfJOHE2cNMrgAAYvlGCj/i9VK+BZ0AcH6j8PreS88zyi6G2PCXKQ0Ec1t07GVtE2d
gxziHUI+Whc2UY07c14LaCYNlRsHGQeQkz5x47x+sz53QQHyVa96NcFfjkSL7ATPuMTH0gXLaVc2
bVoXrVU8lXrDCcM6nz0Xe95whCrsV/MvOXjd6aU/likYT1vrKLVa7qJagHUaHtP1pQXGIqFSUOVT
BT2SJIamudMNwE3B6oYgvksNUM51GyfQN/l1PAIsrgcol9Q5PX1ij2UKLqKjxQ6p+I7GV9k9B6cr
0Hw0IgHwH5aPj6UJBtTJzHbJeI9rF1+mTbHJzFlCfnbmcT0WIZhO4Ga4LOMLmvfKTXfPx4SB5xqS
7yTkT6usIC5TSYMf6oHtTEuTdj2XZ2wwsGC6HkGTAPcDQTCjvujvPUzxtUzsOaV0DQOkpw5o5FxV
uIZOUbkGXaCUY+lETDX8USW+a3xmxdNvvw3ANuCgpgRYf+BYFt6GQm3WEeOLiHox+3WXXXNnpX4G
3kr6pL2ABBQjezLM7bNneChTeBx0m45Nwy9C3sC7ZkAa47ELEPj6OWAhUFUjN/h4mWf382CVwn5m
Se/OOs+AYZoj0CvXa5QFI/tvyiqLeE+fiOP9FE1YO6J7ietLad0z9V5BunapJe/QOUNyuH+CyaoA
GdFUHP1iod+UtPMK9/PH23V+Ea7m2IaBUFrsoNC6ocu6FAUDln9JgDNvLDUotzcfCzm/il9ChJvV
pElHiw5C6Kh4XVZ59fDl/yZB0G01Y061VtBtu3nMerD8yTAlZUsQFFlT5nbV+GtZL+Y2zevdspQS
gyc7CkFzgUAF/l9wR2BWqttWQ7lzJhr0gy5Rqfest/DwW4Aqx9uPbhZ4icJDgXa7Qi81+Ii8BoYy
or9uTRBPNXcdCHcmH3zaNBie9a31Vt5w7k5zo/v2E/zHEOpxoYftxg661sfTFtayMc4z24zvBoxz
ELWqYNUU9gAY46aO5grcXoDnFzrerljW0XnGQByJEK4tW3KWtyrCXlgKX1m7faK6nrNYGIWTzGif
yd4ivAYxKpgawW5riENjaHBbcitpOPRhfJff0vvlyn4u9VB/Zg/Nxtjxgkv9pfWnKSg+I2u28sEu
KomvzqgVWP9w0HhjTAKq6eNnLctWFcNJuBoJplGGog3L5rvJyuDjC3h2rYdihG1tu6obB87czcMA
zQkcO6DXmOZ8M5+bK8Ax76pLzmY2PzjA9Bo98jX7tGwbyVrPne3hlxDM5ZQxwFLwaKsHDlPs9t7c
dFFSaFuWaZIFn3MXADCJiWMVEGrw5gSTkxmrE0/c/Oe74pqn5vldAe7THhPOwAtPgcrfSmSeXd6B
SMEIrenSNbqC5TGM56W8frXNAfmU6pLBA35WooUA3h1A4TTwPwMn8VhlYsqGMeaByDyAAitRlgtA
vPMJVqcE/pIW0hx1w9y+/1iFuCJ+JJXbhkP/S+nUPuUFBiWPH1urvYrjqUCVzA1T1d2rfHjmY4Fn
b8bBMoUTHBCBAbwBlkDPvxqAy1aaDZsmiZDzemID1A/VVjhfYiTZOqQ07RVSlO0ItP7kYr7u7vIH
XiBj35tX+lC/yVpFzsTkmFg6kCl45yUh02RwG9eE+W4Os63RRuvW9fuQXs6PhQrKa1kegJ/Oyekd
iBR0plHRPlyD4MlTBjeqSusyTh3Jy3X2vDjouKNyXGexl6lYmjJmPE/bjvvFvJ1BHVhINF8mQliF
4fbF2vCNm+baV3MQ4Jk0spikCn9+r34tRNB0dQFdZpbgHtdgTWoRblSj/7FqnxnM4BrwS4Sg2ybV
GjXmCzFvOPVnte/+An9GwFFm1g2H/zMus5fWdwMZpe1Z23EgWLBRbjtNlgFCIW/KLtl4MTqfgQ4U
VChXpvZzH1eShXKLfqp2v9YpvG7zYmZzwgukxjQ8Oml5N9dwk/WmCIjefk7K5Fu5VGGvOmPw8Q6L
ttgGQjTmsnWM2uN5RYro2FqRtRq70ug5SWD5TUt74qMA9r0GYrvvdI0MVE3UmHdpBpJ6ACcBooYY
u7EOWIsWQ4+Gqo3KJS7bsEdw0kuez7NS0BCOtDmmzk9MlTo3fZVq6Bxieqf6DavGmyRzRkm3l3jH
+FrAA0fQZmKa6MsQ/M8GFe2BzhmY6PPpalyrIOmvZ7KGv38+h1IEE2h0VeyoNaTETbZ1cc+UQQsM
kgZ18vCxJFEFxfUINgMgsQi4B0iimuKRrARA8mViK9vYRaaJWVun3ZDXj0XKtpAf5MFTiTa2bmAU
ItWWepbde1r7qZifPhZyThsOd1DQcFdfKqtrISTPKl83UQXMZIP65y6RRgA9CzcKeVbRh0IJVx/0
FCKS9GoY3L1dxJ7r1MFMSsnbIZPEPz/YsVyZqkyvIClurQ0r7P1A1sSbqPm1IEwSjJ49nYNVCTap
au3RqbmssjJ3Rl5+cRXzE3pwJRp+9nwM7JymoacR5v54SVU16i3alXNAUthF2K8k+ys3V/XuYy3A
mAP+zqGJfddvG/yoFoBckaAS9Dtzmsw0tBR6oCGg8bWFVPvWMsv7tlXzZ6Ppu8c+T/LvyqooX1Sa
xTcNKMpy3zRiloTpbNWvxJjTT727+GWlhGwtmje3oDUJ+mpGmSADmo4HwLei9es+XYBMZtJ0eBvM
HLDVNXZz9DqqmxkGZCqwd6HFt0zdRAeEBM3V0qsMEk+jlzS1MoIOeulz+PzdqpWfSbNOZpTH8fyV
1s6qeazONMW3ibva92Y/rOvN2jRt9Skp5tz8muRuhn6T2lb62a+ajH4rXdVJ/EWbMxo4sWmGdWlg
uGttWWL4az8uLFpQkVs82qIc6WcLY2jstNLlppho/uTSZMSawJplXayjkuSe2+YGBgfb1bzuKIcb
nxUn8ZaJYe6ntbTiKs6RAmTUXd2dFltzhhFnYo+QtY5tkPWALvVnDV1BuxV8duh1agE7HqnWOoM/
1sYrG2pVMoDxAt5Ff0Gronm0k9R+61k/5n6VVJbiLZbSoboc63gJNqy009HP6q5iceJlSZsoyB83
CXGGewPcbLmb+F3eAxp1x5qZAlAGSaSsd72+UFha+Uti4zhBeRZbaJcvYqrcAEmugKlVKkau54WO
QKLRMeZ1AwT5zvLYyli/dUcFoGEtRZrjNiYzZW2wVAY1vvBuq/IJodUYJxdsbBPT8jFk3pvYY5b3
LIyJW/bUi/WkXXeKu8Y3/Tiv2cbRaWbsVKWwkF5SEvI6TQPRgT2Xzc0WWLhFfWeYlYO6c43ie8Dr
w24w2OUSN16i9gDoL5tW+27TtAyt0jSajdq6FWgnrSatr2xkEZEG7h3NwaQaW+eFfSq6qaq0kChu
73aA22XdequozlRvAVZjr3dTYVRKcmXlzNFenYbSGi8D2A/J4BXzWBqBpRHwP+1Hak2Piwbmicu0
nbNXRD0dsi+jYip+RVt6p9vxXEVr35TGVarUxLqCZ9KVQHC2lSVSCYP9zIwXJQbEjl0CyqfOlvxr
Ga8oqKSUuWEDACLrwlHcwQntZlGmy9hRFjDHsdE2ItvKjTZUFacA5AcQLWbPyfTSfujGOSu2rZun
ZqAbDbU9upImf0AdpcH4PRqJuq2eFfYUGepoFOEA7qxlOyhdjLMu4on6Vjvr6LssXHt+NNp1mbar
wmj6uib6PLythlKsAbp4jLrwiVmV46ZBN7++T2ob7UPqYIC/bYqHkkS2PTuO31tjxjz4FtN4bbF1
XS47u7BMr2qVFTAybbsoF7ScZ+1xWgxab9M2Xv3cNqtiO9NxBQiCw2odRmCpMw+Gs8uulaq3W69r
idrtijhmhd92Sln5WhwbePSGWFUw/d+ky/g0uzNmmety6JaHoq/MlYRjPbj2GNCiV/vQriwH77+L
rlBfszPkg5owmRplYJGS6w7afH23SfvpkUw9STFPs/QJBSa2M423OdrS7WCIS9f2COnbJup0R1F3
FvSbXZTLlKjgeM1mGIBNtZA2Bz5rt7RDvPvY2J99JR2CZBFYc1DUFV6u1AGxBdiHoU/AIV4uNbvd
mnkZmVSXODAnfcjvj8qBJP7oHLzHdoVnAzlIeDB7cPj1ywPnW1m36Afeq5+cF1KHuOTzjbwIePbV
PBAspIgaougajCME0wJ5lGhY/vp4D88LAF6Dicl8cD7wzw9WxhqNjcyFrVezTxPa7EBQJIl5zvoX
zi8J/PMDCY420UI3IGGyvhnOhUnf6url40WcV4RfIgR3SSd9v9YORFAKEgeKaaz+ya4uK1sSb4s5
n3c1AKkwgEkR2gAf5XgpeEFBQjNCzlphqMXF3HuOCdypCHKXIKSzoo+XdXbngDIGjDTM81umKE7X
0rRguNJ1oUZ112zSegpmVZPEUcdibLR9AwXMMoExB0AIJNKEa6QldtPGxfjKUos0oa5wWzLkpIz9
fE2rOfx4UUKRjYvjZCamC5fTAHORCH0Yp0q2VDX5ZrI6JtonRnKGR6qcnOa5XUc7vyvQzmDeu/Ew
K7uUNhY44vB/1XeTbi1LgFb4yYw3PWuoMnst3gc3996/4v97Yf+VvDW3P7xF+q//xr9fmhZgoEk6
CP/811X20je0+T78N/+1//2x41/61037Vj8M/dvbcPW1FX/y6Bfx93/KD74OX4/+gbpDNix341u/
3L/RsRzeheCb8p/8dz/8x9v7X3lc2rd//vHSwJbzv5ZkTf3Hz492r//8A0BiB6fF//7PD6+/Vvi9
y+zb8vXk59++0uGff2jmnwgMgbAM3DqUPDDx+8c/5jf+ifun7gJjzsVbAZ4TlGnwSQ3m8PSff+j6
n+QHU5ujAfCDJwLQhcU/Ie6fQP8Drxqiaril+PSPv5d9dEC/Duwf9VjdNlk9UPy2eWzHAHYBKBi0
huAb4HsgdSkoMVhuy9wZQEe9touWkLBsgSekPrSuriAy9FW88C7aMd1qaHSkvg23I/W8UUhR1von
UlnUiYM+y7S+9wAj3UKLjFK3vqGmX3Y7t87jOWKF4ySgwqkmlbReOaszFDDNq0qhyDrT1m7Qu4xv
8cLWiSpDYIB6lFzleoF0AUo3Mbxcr18wbwHY21UPlSZfi5tCyYk2berSwtsbzOjjsfGzNXcFrL7P
Qj1vyE07V6SYPdImfR0CYcT5UqwEAQJ1rGprlpmlfnXAo0SNi0Qpmy5QDXBWE79tzZFs4BaWc+fR
2SpcUNkTUG2AsBoORdsGI7rj7QJcuEOCx8Xo9ZHMnruuxqgBNnDQjSeorjPcwWPS3euEJ2pNj6Rx
3TnelNtW/GzOLFvBbut0Ra/5jW00phZa2mTPdjirSa18UXKtW3jDTmElYLK18r5bQ4ZsTa5fxIOZ
ElBBzq2RKXsdsYNVR12p9XMG/8Id14fEAvFnGmRlWjVv2lSY04sJTIzlmnRIaLlBQsd6WSNtTF31
qS/m1dEjBqXr3+pCt0G8NpuNQV+sZrbQqormQMcItV4tMGuBmkBBFU+zkeBUPRBk1Z2+n5GqUJ5r
1V7cT6aZdmMBnkGwCt9WvbY4n9bZqGKCkIcwoIpnRlsmMwKiYUwwmlOP9J4O+VJ8i23WuZdKrA32
ZW1lo/6apIDDA3T1OuRrWNJUYWtIC2Np8S6SKQP7V16MI7F8C9AZFvLRhe4O37vUjsu/SlNTk3Xf
TTzyily1rYoe1CSt08RRXzEzvc+IMhiLD5gEhtiyqTQT0ULpunXQU9tEiswsACnyWcmUEZWDvLLG
+qV0ZkN/Sycztz7PjaVRVICmYs1Wjw3l1GGc2ajNLv+sgDjMpr69kFoD/CZhrC59DTqSXtqg8loM
v3AAO73Hakp22Q5sSpPdrGhsZh54reY89zB1xEoT/oU+glTCs4CzyQklMtOlyl2amaROPmMEt1/Q
d2E4sT3MY1gtjVq6YEAu3CW/bSy4zlbsFemMESgLOmjXcKz9usVtwMRbtejUViWpv5OnykKABDxL
9CdilgXlJf5yHrgug9voJk0sC72e8RWgyDlSb38Bb7gHze1rHS4XzfOBvf1p2A4NmTC4i/kHAPGp
NlK1BMVP9LsJIh1r0HKnTBC9oJOPBCVoN8o4mGd/1L209Mrr/ELdJujHApvLl+kzYkPc2I+/gzBw
wr8DTDVAmgDUhJGwE1gfq3KZ2wDFAoXgOVwAqbVRwsEDs+BljgIA6ukSeTwl8ytl87c8G9lpxKNY
uZCyUVulHxj2n0/bbZYwBZSjScIFfv0uvU4v2qs0+a3mhXeJpmnBDNhgTwS7mpCMyge3phawfL2y
Rht5dzlrr4y+frwsflLCqjBmBacUDyL6MkUmwdFI+kbrE8tLkKUp74x+Z5WSbJdQrXtfB8DIHBuN
n6gM6uKUdb7yYQAAYQLHC7PPc6iGM+aQ1nti8l46+x1qbvZkxbPjFPIPqaC31dDyoEJLxLhrTPp4
bczaRC253xV7Pvjk7jXpPOQZPUSCyMaDjqYEG4yMwikNTp4m45waXs/WwCXm45CRb3AQbuIpxcxw
PEaclkOr44d4XDekATprNVJJepSHdsfHyJ1UoNnpQLQAPrjgWNRz3bVAz0WTzpSEDrpMWad5avKw
lI0HnP3AmmVNTqcSMbRrQT8BZo2pTFE5kYt1hlUteFsQCkXdtZ1Ye9RHPcvZznbmA7gw/F1N5VPC
8P1tADGDdURYYq9Wc6z3peGpgB/XP01LjZXJukxFB82CJQXlCJx+UwPiuVhHUQoM4ZEUh9koc9hN
eURqmQhhxpIrpo1GQYPgQiCOwX+O7bVZIHMBkD4sZG9G7jOnv0ujb+MTZpX32ca8Gp5IOGxUtPHd
yhojzygr6l2Ye7QA7GOdXvcV1fmutm3dG/fxXbbN9sV0heolUFbASdNtDFkx4qxAAv8ZtxApYJjO
48XGAKw21NrQ8VLEGz4TjdIsRZtiEyU3yLH1UnAOHm4e3wQIOhAo5CIAUJbGWQmBBieNiaYLpoM7
rNmxTf2Xcmm0m4+18txpIlpEEyhedgAuihxX00qVqew1pMBczyTe8MnYt1H+sFYeSzzlKdst0ah5
8yUoXgBvNN/JasNnNBYBP29xN1RcRvHmu/OCtBODfBRsfbW8Z/GDZIWCBB2xETfbGg6Rk22K7Yxz
jmYVWqng6fAZgofbaqtMUf9M7ptLFGi/sqsSA5jfJEL5bT44RggF8wAavIC4gBnzE7DuobX7OqZY
FobMzQcOUlqFNfCmFX/8zO44fzAJ2QZcbJI0w+liwdxo4xzfoR9PStDLRGrF6aCWWnLH7M+WLgVg
EBSUrwxtYwAiRzoD3pO4ncXaax1TDOgE/Ba+rGzfby2QJaJbbi/TDvHtPZHG13vgHCq9bjUqSk1e
/dJfksB91gNceszlWi+xR576/8BTOpEpeIdgE2UoS0Bm/xPyWp2BcQQGUxiZ+NqUAxsfZ9aAHS9s
qZBZy2qTNfH8vqXOxnxYMfkw3RL05pReW3rmvr8Gc6rUIxRcp59SEcfDjgKBTmQHqHg6L17AFDUk
jWeWm0wvvEzWrCx691yKwxUFWQj4+JoIfD22ecncmhBs5hyaURUWd0rYBZhOi6xv3MX++OKd0X/4
moB2QDQBilZRO5OiStERpBEvt56M+KqpJM7g2b/PWerh2IJLXoTftaZ+sGu4oQBSATiGe0tbSbpd
mPh5VwbXAUURekMJGGfeJ0UPNN5sZwWh7ETwvMYbhH1h47cXZF9u1a103ueM4h3J4nf9QBbr0Agx
tzNBTIDo3tdCo/NWT7lONjRa/fba2WaO5+6kz/iZXYRcG74ELP7pNOY8mFZb0ZHAhpBoeBw31u3y
2QgY3vHBb336zZU15gvtbz+3leN9ADkGc9GWcKmVIm7zrqUEHc4GRkwRMABHTwnNkOyH0tO/cwIA
U3aWZ64Y96uRKuOkU4aYhV1s1lid2xA0wC5+cgE8oecSsOxX5I5e8pGxBK5n4jW29/ElOLvYA7ki
NqiBY620BXKBXc4+lbckUHGwz/0FuVNSnz72d0rw274Sv+qHqzWFSEIx5lLrQKTiqRtaXxhg8E1v
2i2hl2rUYOJPCqFw5iWC26LiErom3FDxrnd1YzOlqLgWOeBcpRgXi4N6C1gqMEpKSU75tz9+0ZF6
dVWMxSEL55zcSyAYrFqeJbj5fcQZLBGnBH0cTqH2b6zt5IKgSsQbrjTYMFQORNuMsn9f9APFQL36
JS0fFmMr0ZCTmw8fnoD/BO4rahIo6x3f/GJJqVM1AxCtonq3BtPNgLZA4sev+pfSw4WYvnagAQbq
j5pGEtHi2lCI5rDJiLmQ4gZjrBA/VGNjmKxawLKMUXcHPe8soBvlOt52l+AIt5SAAtg8lOU/3rfs
8Pwg1jGxpWCCwv8Aaufxitd1stHFWXKx8Sa+056cJ/uZzzvl/uLz6IVtbd/eLJdFUPsvzF/QxX3f
vFrbHtSr8vF30TRwn5uoDhw1tEjjuwm7gEZMUjV21XoNCxTFCIw485rlNwfmEE5zMQSTE6glmA5S
JMerRkWwmLUWYri3Vt9SjrDkO5ecdXX6CyCRkudXwDE4kSdanqEzMzPu3uXxF4VyPMoJKDUFnESX
95kOoRWp2y72y03sd1m0bGWvy+nOwtai954XSxBKGYIZAlLFOC8TZkWoZnjlYEdWWWwd9KtJ9Fh0
8XF/EIa+D3LoqFaK5mdajX5JnBZyoFCWTy6Kq26Ddj/O2chBlaBH4Em1UVGQPSunNwjpNN73CRoA
TT0hUettoGYB9Y9L5pwseTR04CbectBIMKQE7UbtmPd7ZMj8ZBH4v0PKu6j/2GKgqKHbpZ0cMBz1
5JY1z4oijbXPLAu+Ikw6ek3RFC9moroaPUHgFKy97Pv43doTrw6yDhhGnvKX9Qng9V5xI3+0+D07
NgtwUG2d12URhyKpcHxBOjK4c6Y6NSZKx+9mRDGTu/Zoige+2xZAJrfrZ4naiJaX7+OBQJHhAPWN
Rc8qrBKpLfqVPRZf4lftta287BJcn2EVpYBzetOBl/MskSxZqjjkVacr5uNXLNXYTIil8ii7orln
QGc4/Z5zL23oOBEIE8/BpInLIUUc0edqV+ApNMYKlYn6S2df7JFjt+FyTeFyWd3M20k2KnYSbYBc
DNjVmJNHcorPsQtGnj85GqjQ6x8TR+DHSFG18A1gqZr7LlJ26r1kT0UfBAJRDDUNBzYc/yVWRM01
y1EPQic7DS2EwltkbDA5R2wAmXCiIpltO7E5gjghHVXnmpugtany1prG3pgrYa+tcOWml8YEVzIq
Gv/H9QnXoxjS2my4QPvG9dCPs1m3w5bzNTKAp8lej5NoHwCEaJ/no37oXTBPLuOodrNOFh1Ds2Vg
ZkGfhBxQlcPVdRtr18EULACilqN/nVgeyEXhCR1OoIYAqa+gNtOgxnOud7iDLdAHmrtplZRCzigm
JKDagzwirzqJj1LbItOfAIHG60Lr7oeZUXcdyCFJyGHDpd6qkN5GN/2xPK63B5EdhgHULB8gb947
/hStkRqWuPG2DVCzOVqC9F4HlTc8vAtZBC5dKrcKB6LtlhmL4078SvBZ0jrAOBoHpHM8VP0vlFvZ
cyhbKj/cA3mkVdBDAEx/r0Cv44rM6aRXfquhjFd9d5dNnhBJju0kvHrfXEzCga7ZQpJP7H52dLUe
iwISOcogb1LLxiADTucApluCWdg1D6RT8ydeDWbT4csgHOA1hJOsu9vkg6kqKA0agIBCg//Gjjji
F4hHXkDlxMcoub2Rec1i/pvrEYaCDeBFc+09qQ5peto0y7QiC+W1l0Dc8pO9BX4Eglkh+TU8ozqI
q5CJRjUPOXDUgY6P0mIJRtIVHn5Elh3YmE9T8BQ7N/DFEx+UnNIJtZPHmCdYDgQK9tTITIqprhEN
4+TGsHqPwW1M1hunlA3rvAdUR36GIEkwpKRR9E5vIWmKmmvF3uL44Gr06Jnd9t9rz4pAa+r30Yxw
5LdNOA8jebTn8ryt6KcWJly3QsemLvsRtcsiRKmbZ1CVDXwN5rmPEnlioMyFHcoT7uNioUoTm5DH
Qw56Tbb9hQW7rezVrSIZmjvzYBzLEgx3PK+l2xtcYV6Se8NvsanAx/EqJZpCXphVvfKKLoFkhad3
kUvluQAHXVWuLkQYaKrXlZZRtCeAyukrxg1S8HVwZqcCbfMNMsUIcS7yK1u2s+e09VCuYNRHBeWo
llOZVovn3M0hwFyDZgNHvN0Wl/pmgVxgmm6kXIynfhwydciym3CTTR2TzcfXMl3yEVMWSEXnO7sE
kxMnzmy3bO/eAWEVWf/fzuxw/TkQKDIZVkoz9AOBQMLr7fxcp4s4KnqwjjVRFpmyA5Us0BUOtCcV
M1ob8roQeH8Aetm69+hADnMOHc8RSaSu8akjh2E6HV10Frr8UF0UJI5rYrt5DKCjKUKb5bBD/Ljt
KYBbOYVdhdIp4Hr1TREoOynMEr9/giU6Ei1qkaW15tSAlh3I5lH6GUXNqxn9UcBcfidBvag32v1v
XxgH4NKIllX0RhqauL+63bUmb9nikUcAAhMPMOebNhw8NQL/cODuAlm0epJGR6nhSKSwyrUydXRZ
rQUeLg7giDd63245U267kaZ5T9XnWBb//MADAUeEy8oJywN41DuItXLNx/7jFxSIQdMjXRv/7scn
CHlIK6MjDb7ASSqrSBtDSVvGtzPZGn/xTKT2wvE21e34LH0/zq7uQBq3SoerQy6S9B2kcVrz/hFQ
J8Bc4vUwzHihgimTd+rO8cWhxxXeFdLJJ8/VpDG6tjg4oweyOzFhfbYkLbvLokUSe8xy+zkpc/d+
UjRNAs5xxtuBbGRGHY6TRwzRS2/MvFlXZS7gurIgbz3Op24A5ARzB8NGfpCn78ixOEFHwTE6OUYM
cWW/VdlWNz+Zsh4sbppFVdFRB8PYgXamDp2UTYUwAHiJXFV0xG5z9J7X2EluOEd+PJGDq62DoA7e
ophPrrQYkysmxifqSx4n8kefI5lof9es/n/b+B9wzQ42/aRt/GF8/XrUZv7+8z/axnXnT8ADciQv
RK8mFBia9KNtXCN/OnClkaIAoB9qbjzb/rNtXNP+RNoS3j33DQGe4OAm/uwbR9s4omDeYoMqgY5K
nfZ7fePHygGUCwuRr0YcdNCop5nSZC1BRV83P1odebtltnev7ZDD/Pde91BuGnm6X/BCT2TyV/DA
aulWtcYG5hrwys2hHnvdJrnqUE1tb6nfbFyf7FFrpN4aZo8WktAAwB5+TjgcDTgctpkKA03wEYV1
C97poi21lln4DsUTSOZ4GgNdfFdDSMJsxylFymu0EUWuzCkWDPZPse67q4Y8rVg86hvHmkoHYtNd
uQPAf5jfDF7prd8ThPy/n7UR5Yn9kTGaNKaibS3c/Xg/XHLQ7eX2Fu3DPrmqENHcvR7o/e0Pq3K4
r4JNO5En+E52UqVumWJ9vEUKlITojOSWRsrZIDyzP+SgLwnFBEzsgILzWIXKYU7BZww5NOTjf2h0
GSrs4xyYPtCX5ck98fn5IdCAmQZdg6WiK+NY4JJjzLjMITDf0a/cZ6lvONrnHKCeMsgh74WX9qc4
9DG4sBynHaZoCHeHFhPFaKbTb2poSrGlX4p9Etqhfqf3nvbgbtB+/c25Lr59fIKCC/pDMmpwvDcY
r5MIlBETWkzz2AEZqXSunHK5yNks6SgV3lYugtsaDNPAGoL2Rjg8AHgRhkIULgHpTXRD5bu8tdBu
r7Tbj9ciE8R3+cDQrGtWlmOMtYxWeU1Zc69W7qNFO0kG8cyWYT0Gp9UGEzMu97GYqlittacQE7sP
Sr4GSVcFHy9EIA5+N1dHIgRHL9EVagxZz/W9um5hq3g7ur035DfrjHHm8CiAhNHh6sHLO16MlWBo
Zp4hibuU4zVPZPWo2+uhtk0l04RnlBx8v2BIxIABAG1FY7i21EZUUmLIvExvXICwZM4mdW7RzgzA
DAwwSYyvENe9q92BONEW0qkAgc8IcUsCJo70U1YOUVFRkGUXAYZsJLMT55QCnUhIKmPcD8GAoOR5
0SV1PcFgLGUGpuV7tsoKDmKu8+eCfokQ1Du2u9GogN0Em5RtF8NLI7X2tSEwQ4yZB0UwIhJA0kXx
PlbGc7fqcGWiKax7u0TDOB4RPfFKLUetA/lVpZeIOfOUQDv+Xt0J9RHtmVZVFKtLiL6jixrMWYPJ
4xern/y4Y/s8uXMnicE4v6UYdgEfF8pGJxwxU5uqjdKhBQl9K3eAN9/kSB7xqvH/kHZdS47jWPaL
GEFvXmllUplKV2leGFmOBvSe/Po9UO9MSxBX6OqNmemeiIqoK4DABXDvMcs3gN4h98d7MK6NEqxT
GNIAeXEtqVKYSSajT4VRluGdkcffi075XTSKH6XqYawTtwDjCYQvTgpe23qwkwVaBmkYDR1ml4/a
PBoDaFB2XKYuVJZ9S76zItVvu8GG663X8Ti27KP/tFjPI9L9cpaL23TqSGLgJkIvfdNLG9D3Du55
j3yrobWtdx6KycdWl419B+EYO0oXEeJSI5THEZ2zPldzsgL+B9WUws2ZRQPGZTubUVXQu057X/gE
z1HQHHdNwLvtrG2480Dy5dQJjRwTvCTAwmprZxw+ZjGBqyC3n7hyN1XPwzBrIpSkXBlNHGOlt/ia
L22GfQKDZfFdBSqk3fPIZYy78l9nGqQ18Pyl1NUr+GmeWpPRgfdpy4+TrxPb/Gx86SG5N3zyWL42
KNNsVTffgnGi7MIeXWIYUKCPwitqrM/uf38GW9DUC0nrhhqfUTYGO+wPU9XaRPJu50y2x/DX8gfs
HFdHAETQRrn8hgsu/SAsYk1KfZpSxZKhtq26ULakAL97mfLaT+oZ0leJoQYabFRs6ErMmxzG6EHf
yOE3aMBGh6yzNBjITu1LMqXKY5zP86/bP3QtHwHbhsYLekq0WX/5O6c4aqAKimNL3FGyHwxrAR5P
PS68de0wPo/DHiIZMr/aYdbpNSMdHC2xcxHFZG0/bED8cckALCSULSCz2h14G0pmSiKnr4FSCGg4
4ALgOso8U4oGDtp5hVHm+E+11d6LY+HmE9xdB9v7Ydr9dkBPxoV55qew/dMS+lV0Zj9r5UgU+FnQ
y9zsSWhPnkDslCmDerY7jM7tT7qWDs8Hy+zruNKMXKPh5EHf9NFRAkrydoS1LQSGH55jYG2h9Ml8
zAHS75pJ7zqQQPLmLA1GaXiacunpdpj1gWBlguZOSyDMHhL1aJCVnq7NuX7QixHiY93ccmZrrTIA
h3JQ8/E0AZ+JhTqZxQh7EzoYelAtd+gfPYfbFOyQDk4/iqd2dvrnmMPTmjiPyqwJw4qn0pgR1Vzy
nRmam6pDy7rm9jrp33NWDLyKwyyGdNKWJl3opzrou/kw7cEhfKCewhCX3PJS69oHA2oERVsNGIor
AtMS5T14fFh5UwhynWoK3+tS4tzq2cb0aUTonaJchofyta5aO0/xTCpcZWaA8pdtTb2gkECmbync
ivjcz7VKAHq1QE8BDYe47GKf66KXtQyD0h+7rdXBU4x2bFEI+NkExpF3P7wigdHH8lk49tWiFoCI
lgMODjkwQTG3OyRGdKelIPQxZNf0KVykcfJn4ZgdeJSl9WMLLEwcCEDEXsHESKISYFUwWLoZ2haw
P+oWU3nm1gCwYXY7pwvyZ+vIAzesrRzQoanKholjggUiQxhlNGaCu0Ght88CdL26JuEtnNU7MD3k
wFFewTRCkEozTu9BOegB1uxeqp+EQsfR8Ud9DGSHIHfrI1aRz+3arj2y4ZT739DMbheSXDITC88M
6g8Hq7T9MoNhMbqlCxtZHqp7dZxIaTqEeEHIZsstQmUIUjFjLjOh+QXBbeh5xdCj1o7gxqHdJ8iz
WxTVw+1cvb5uz6IyFwmlgobcWGBbdu78G9At/TA9zE4YUCpqJwLqBCJsFBi76h6lT67lEDc8cySN
kiQKGb3VNa4ZAOO8H4iTPHYPJ8Oax+mbBd4f3KQdNfg2b3g4q9XzUIKEu6WglgVVoctLFMkboRJS
zHhsQFVywn2yfzfGj9szvLZFANX/TxA2MQyLRCCeiMRASPJsRgOgBpPIYxSvBoGqKGA/0B9Q2X04
TJ1GRhPTOMILq+xgUSW37u1xSKuzdRaD/oazlyHaIMaSjfQdEBTbMcYaoTbH3UY5WJ/mw+RloIzw
Sk+rpzxeO8AXoSQEyBZzlzAaeVCGBOcgRYjHTh0UrZN1QGtowcmB50HeFM7yYbb2vxkt2u24vwCk
foX6LyHVB0kzzCg4ZDt4/X6HxjMUSXy6IaxAAw/WKUqu0/DqdwRIHOUUfMUr8C0aQFYZCvRSowH3
3sLT1Ag5I1u90Z+FYEqUUxV1RSshxFBVdmIA2jh/ijUGpKF0o+ZbzjzyRsR+wBhk+oIgnFDDzI9+
Q/JJXi3g7EVf2hm1w8fArSXS8zcLc3dSBHMRcxUhpQhPlBFHPhiaSr23psjJ1aeBCwdZ3RlnjzFm
Z2QpCQFiRkDIrwTtk7Tp9tITFNc6FBpgwe3M38P7nltW5EWlf362HwdIcxN1wH6kT7PlTq/tAUam
PjQkgX8JTbtAicPiu+6unYnns8usn0jPsH7gE4sDY6AN/mVfvMHLxIPLBt+8jTdGZvWko95DRg0z
G2lDZUej1T+Qug+fDBnmOpwXBf3hV1fuv2/BLKsgXHITSkQ47GXIznoQpyVOmcXQym2yPPIHS5y/
3d4bvIDM61YAq1OaVczkMtf3WUf2kTSWjjXon2oW8RLa2j48u+OjHX2xWsq6rsJUxjkfKuluLqZN
HHO2Oj0tb80fs+2WYihiU8S3Srd/4yT4u1vmjYTZbQtUa6FSijgDoEKKCzL0O+VIqdCEvLNEJ9pG
L/IA1FDshc7yIFU2BMOBJrT5hLjVN835pDJbMJKbXkxpGVrYVFsCNzoSiEf5GZkNZ2G74ULe6BTe
mmJm7w1RVFcZCLGgEqTHZA8ImBO/TTChhDDwP7BOXNl9mg5FR5xHVIqBrT7rZTq1/YwFCuVFuyy+
qvgxhNrR7V2wdgXUdBA/gAWl6nhskWcS8SCtQ+AEsy00vbq7/kv7oe+ao7TXXS0QZk84SA7atzLK
LvOGiwpfyWe4NaGsCVIBqI0i8w21UiiyUqLbXoh6G5er70KWtE67lAUUf4XPpm23YmV8K8L+vVPS
raQnnL7kWs0dHG6Ut8C3O3W+LvemEmfLMGOKbGgIOeZSfhhqvi8KyREqxS6aGdKdsmNGggtZu03M
NxlaKbPhzYGnI2VW0Om+jJ/HOX5ZBEuo5WHeaT9GpLxttDf2tLSsPWmP44cWgCuTfwwHcRN6f2Yv
dCowa0BxARoLLSEoIjJJvhSbcRy6xLC1sQp3WOBmkKlJs0miZXH00Zj82ytu5X5wEY958rQmFBU7
KAPbFewWbcGM7woSHpcKSWJaXnU4PtpR1HzdDrqSHcE3BPkP7mAUFcQOUgGzqCW6Ad3mz0mc0CuK
NwnpbJkkQZsNvqwVD50kBrejruTKi6jMly0VpRkXdJFx2cPh3G3NMeFs39UIkOmjtQ/z+oJORDle
KJfMJvK2yN5hq8cJsHJKIv8YKK/gbL62bwU3RdXmWoaC85hB4h2AhyTfQloaHjKNe3u26Ddg0utF
KCYVGOU0D2IJvYYmBuVV0JysIrZofq8k6KhnL7eDrSRXCCIhu4J+CsM4ttNQtFZVd1plQoS/dKBl
jw2O5onEq+2tTp9FSVPA4AASzowpTJUIEHyEAeA+ckvVcGrNVQ0guTqh4szfysaCKpcENT4oUsDR
gFnjXVP0k5YQ0156y7csDElooAZZuqpCnBRXmq7m1i9WchdVR4F3EfjZKDgz48MlGCJvRootS1TH
EGCZSupdCT3ypBBfY+gEq0PkQL4eNB/xz/OIBUdhaqmHuv1VYyxrqmEC5w0rc9G9Di9zO8vEoNAX
WxtEeCaC+QQrjIGzpdcKm7S2jjMTSHAdkIXLbA1hxrTAX4v01QsQ3E+frbh5DOtfYjVtZQNw+DI8
KGr1tdSS32Q/VINX67xeuQaOakAh6ZICPo+56I1xnE3yggZk2ioOzGphP1pXW71MOM1vxm2JHgyw
JQCSGFRGpBD4aF6OtMpDBRInp6dG+U3djZM738uv4yEPEkf04fzRvrTH6QDnBz/0/nR3IjTWsQnU
J+rHLJ0xIl0rZS2yjZmUMEG4J8rRElrep7xOniBjQV4ABHRAO68ELGcCQbuRvsX73fKj2VJwY1k4
xRvION64FSGjZwucRbvSUwNtAjJeIlStDcAKmA1D2igZUgptRGHDdPDvxHKGbeHG/gAic1U7wzd0
bGZ/fhB9DWhHY3T+vGpsQFqAqnkDGnhdNa7qoupGeq8UUUrqF7uMR86hsbZ0qHoBKNMIdM1JJ2Mp
NXlzWjp/sV+gkFHuZ/gDoGEeBbhTzfET+vMKuKPjfik4b8mVD3senn1LLqIwNQukYG2jQMOmhfh6
wVMR44VgXo/o7qlELzFCQppAzT6ILv0/ByFfbj8FHjniUqPAMJSVY1Q/sybnfaa1QUgoW6LUpZ9q
sJchZF0wBBhz/NW3kD3YftjATGyUoPr6C0UgHf94X2sSuoZQtcA990rdMVnCFEY5GJM+W1vDLJ0M
5sJZnnDSx/Wpa1yEYaZOrZNeFUBEtzNrfoT77O+wH13oIO9DUeRNIs2Cl7cWxAIMFF0uiNIq7PU5
bg09MzP6CE3ivaaljiJZwajcxS1MJuPYvT2B1/fYy2jM5XnWB/gK0LdKNpbw5AGPVbGcKtO9LB7w
PnlKqtpOxZ4TdW0+4Z1GVWcgzHd11Ap5FKciQBV2rwL4BCsZHXaZ0VEbeJIka+lRo8xZDfw56Kiy
xOSmbRLo88FFZ94JrRcfwyqy+8kdICO2iXYUYmaI2wZYC+lBMB2g6f7Cm/35tQ2ctrOfQTfOWXFP
T6WyMQfk/zaDP05VOaK1OFCgs1sY8dz+omtzCxtNtOrxKlGuGDtmGetLWUkol1aL4Ji9pG8zFKAe
s0iWd+nc1k+3462sV6p6qEBGCFse9fXLoc3pUBCwIWEwk75lk2YbJnjnxVOfVY5S8K6kK4M7JRY4
AYgQ6T1VcM7mMQ1TQRkXvPVmQzyqnbSHtt0L+tP7PIs2t8d1ffuFaCSVAUX7FeQrVidIrmKjySIT
O0NW3G4GMjE5LpPqVqC05sbvVny9HW9taHgso28FKTaoQTG3IwjZRzUoS3jbadomKXOvF/uNWAOv
BOmH26FW7pzAGdNHCthkuHmyYIt2mZsmDDPDnn5Ak8grHhqgf8wfipODDcG7HtAbyGVCoyQcXI+h
Sg1WDVuRQR+9jGsL5YgKHvOteSeOb/ooc1b9WhBcD1SIBIK9czV7QqLUwtwowLUbsGEBAVmuPmSB
J3Nw/Y1ADDiLwmTLNF2sduxUqnttPEBoiPKcU7cQbcPTn7EFQBe11e/ZIX/jfDDe8JhNZsKJIa4g
9GJLD7TrUu8Sb9kP+3kES5VqyZUobj/z0GI0KbEf7my0p9x6ttmMfOnrvkbQot8J/a+J8LCcnFGx
UE6jzS15wZXW7hJXABg3LZ8UhTN1vBjs0a2LUQqNac02M6BtIjhbqo9DwjMbuk6CFwvjBLo8myp5
kTtloAsDfmSw0w4UNXGMcRPNRzN8ub0WTrNy67MwZ8ks52LWoQpE5ZK0zKFYNvU1ezCP1Vsv2MW+
2NCbfvlc+up+fqshqxTw0vB1brwcLp30s+GKQKySCmaDtk6ey/DbnGyN+Q7wPkcefaJx6qkriNXL
aHRXnkWTlA7OpBOiUfkEbO3uJd+IXl471vt4n0ANNAmG3QKluvKY/MQbj7qm/wNxxevK8uXPYBJ0
odQylIbovN+BQgZC57C3HKraqu65/GlOomFFtnOpqsKmR6zWU3fN9jP3ImKTg3ocHCso/eo19uQ3
XtRTceXWymKyDCgTljXMmGjKEIeKi514oUtFJM1jchBQzN/17ugKv1Nv3mgu+QoP8qF9y9Aaub3E
VxMPrd6jQkhLrMxbyIDsS5bh8mgvSQH4gwjzSt5za+ViiK8JIhSAqMBBgyp6uaiWCAqBJp3h9G55
n71pOx8yWMYDnIIaveQZAJdBld4XQHlGr2my8Rwb97xr4Qrx4fJXMEu7awCSAOuafufBjeDpGbSv
VBK782a3fx7u/xWH7zIks4zhSZXBkwYhqdKs4qauZNgJ7sGS1wTakXdyra+ps3lmjkwJnn0FLCup
acN0B8Xvh3KXffSHZZ+8aqjmuRT0BcHl1+Ep9UJPQ8s7yIKutmf+plrNWmc/hVneejnIkTbjp9BW
90IX9iu8CKGtJR8rD60J6HZYxwh404/k4V9cggwUMCA4iQuKCg3Ty+WWhgl8J3NsLUO564VNMfe2
gEbm7X2zctZdBGFOBkLUEKaUMuZa+dnpHrF+Dfrz7RArCB7rIgazb+BCWQx6hIFkd5VsW+/TljzG
rnEP9Qy408RPoQ2nmH35nSf1snLCXsRldoo8K01S0QmEO6Wt4J+bsLirddCgeGmQN4vMBoHlT6MP
FWax7RInr7+oGNLU/DFP7XIamW3RRiEM2egJSmQot0OTL5v/PIleTBiz2tMZJqtNgghdhhpC8lLq
v24vhbUUeh7BpLX8s3MZqau1Qriw2+pjelx8/bVzJdyxqAoXcFXV7KRf6X33NW6pgnXkzpyH58oZ
eRGeOSXkRhiamq7EpEXKhrGZ/qjIH3XPufSvLgfAt0CMwIMTpJnLUSpxOxN9ETW7UZ+a8FGEBWNR
+benkhPjxHk6m0nV6tupwHzajUY9sx7a8qVaHm/HWDlU0bD87zhOXeuzGKPcqlHVYBzoGx/kOAqS
VOFUGFfelZgiVIhUamCFbMdkObEYo8maZg0ACiAKm23u0ZUQ1rg1yG7i85LqCmADjz0kU5gwo195
xfasxQx25TXiUZw01X4KU9s8Umk9KuUVpg4Pmb2Whc4DMtuWSGIlgzCk2bUeuYYSepF+VFvNtbLI
KxWDh5WmjxPmQoaylUERoBDxBN3tcu0lsM6LBYJwI3mDn7UnyCRAYxY1zxchQW+o61/x9/nwlQbS
odoCmMeFc9AQ7E+gaimwBAMD/0o6AVIAvR7OWJpT9VJtKQc63JgVIBzlEcB79/YaXV1AZ9FYdG3X
drk5NYhGdXyBlkjd2JWfqUgR3O/+gVDD2gSfx2MmWIA/M2wtEE9sfIpyguOfU/3GQUYx9v8AYcSL
R//8bBPWRd3FRkc3egMPq9zDE763lafWlX0UJvmA7LVND/ETaCSCN4GPx5xlgpULYZZj08PO1xYB
gelbzoVgJXWhsaYAEQ3WMMhr9M/PRiRZQwRVAZSSimR08Zj/ZixWjXK8ysstK+keJU1wWsBAQhOI
vbAPRm8KhYlAOGV8YF0F2a4JWBGDTd2H+oc0srXXYvcPsszVpod5Bn2NYJQgLFwRoCCmKVboS+FZ
9EzlO8HTzXMgGPE6olqMpy83Qyt+cqevf6BJQXPmxQZkojMpJyd1LHVolgNPhaaXDVV6QJeBt5Wc
+YX4/Z7XDr5OqkxA5sDLDQ1W69BoOyVV5U4+PUgmp71TfROqKU7G+7J0BP/3CGFxfLmEhj4nUw5S
yunZab0vd+pk55aX+qbburO7LHb1BKvST+MX/+Pe/rawfrmMXerCXER4gwJvoAfW8GvB7VIYZ7cc
ZxvmUPaf5jc6t9SqFhgDtHhYkbtQlcMWCIf/LWV4BYU7epThRhF/PecGuPolwTzBExeuZEjezO4n
cJoXYPYEIljkUmxltIODlfxC4FaL104VZE74xRng2mo9D8msVrA/hDmLEbJxW83vttImhwqkbNnp
fQHKCTzJPE7EtS94HpFZriTUa81MEFHKnPgIBHMHq5sf0a74PjiTh5a3X+U7KrsT+Tov9lU6x+dE
yxtfEsYNFFpwuXqKRK/QmISfIyphQfzRfFDCYoKw7eDwn+5XqRbR0GIBshKhrkWjxBKgaSVFgbFS
mztcSu/jpMLZH3Euo9cITiYO84wszNSMJwmLVH0s4WcXec0dxBjtPIjfrE/5GdKIUjDLtuShtjgE
/4IazsRnjpTKUkc5mWn8pN3C/c0nerdXa4tTV1zdHufzSU+cs6Mr7fW8GmLMZ3GHqqLqlQGBv1R9
J0MQjuKNefyk62oPMzBmP5pGHLb1goFJD4tftja0g6GRrNp57FKpSeJHLlf6ai25ng+S2ZCVPmbZ
SCeTHpvKXZO4ymbYgLwB+avHuw+IeQa/s1/oH/C6B1fnNQaLUgcgVRqYlAAFXM5ukYDwqqlAqNMr
iBOGBG7Y/Tw7Uis/SWLKSTxXFx1EA14MCCoJXd4rpo2sTDCeaABigtLXbkqBfhm7j9uZhheCWS5S
CpBWNSJEF2XPAFNBG1mAHuPtIGuzhgoR8GfUr/7qBWVWKlRIBASBuc5OGuLf1pJ9A6sgt7Wimngn
70ruBN4NTzbcaoDFZN9rJA9LY8S3w3WblrTL3VBuYROe/xqgczR581au3Ny0Z+o+Dtbe7aFKK2O9
iM7kmVhXYtQnEJ2qlkmoGKR+XO8GylKkiCnFCd/i7nPQ3IirPrG296lQOYx+IIEhXq1OFR3IRlzQ
JTcPzZYK8FFhbUrwSX6moBbw3o3SSu4GCQzeKyIuAOYVoy8M27LM0Uc/UU/NeLdkj/qWCplJ3vLa
w1rjM5X9OXR5wLfrFxU+H55t9P6KU/KKcScT0yiaVqafuPyC8J0Pob9HA4w3sLT/WOkesIPLaEy2
mYzYapsF0TpQp+J3yOvfq24N+6nikO0yhytTTA9Y5uqoS/iEoBMCdItVfJlk2jlUhRwpyA4/p8TO
fs6H4rl8TQ7yEQX8XWFCT7EDSbsL4sexA8mfs1tXZxcJB84MoFXQdvplfEmZ5jojwl+Ap2FwKOSP
6mjkP+sP/mV1ZcMgvUEjGcLT6HGz1Ao9bU3ShlCkEdsfwriLi5dRiH3A6je3d+baYj2PQ689Zwdj
PyYJ6RfEKeNHIvwslWOqcOqf15mHKrZBYZMydYEbZD5cVcgzzOtr4MyzarILWX9AWxPjagPDwhNH
hMPq7TFdrxRsOtQw4BgA6aArm8Jchi1ImPSWPSr5AwnDr0mVnbCaNmOTbKdasJvhewNc8e2o118M
UYFHgPIeyidXJHAk8yg0FETNwuqgGYk9q9ZTKxtbdRy+3w51/dFUWGehVkStlCEawLxkpGQWrVQw
LFsin23xfcrhbJXz2mbXZyCCgNhCqfsASbOgmG6Wi6nvNcsu+86WisQmEa/mdb0yEMJABdECqhSo
LWYcU0hCse5MhJByu0k0f9DCTTWVG7mBY2D0s8lLtya/AESyI8WyIUThZvj/svnUjmpQL7+KgXBQ
hivZG78JBtUwLYRy9ZWnTQlIdqyN8JJpPRNO8cPWgC4kJQ8rQX7UgF62E5dHo7mmEcmXQZlcmrWW
CggQgjau8UP2FkiI5tvIQYmDfxzSJ/ZlHr2MxWzHMcsltYfXBI5ifbYNiAWYd8XXAJUwLs+Vfj82
FL4sqmqSAS1KFuc062rfkrYybKjjeMOyuIS026rEl+xTR87ToABQo65NW80jZ5Ezzre8hk9gWmEA
R/9LgdOnm8FZcgtDqIh0QFmeLsRA4KHlGtS/UErKHeMebzdH2813hmqT9+GQuDCEuyNvf75TcSZB
fREFM+DmmEOjMXHpUvrOgK+GJzcw97IgtsuJsXK5QkFcxARDTxLmqexODbsOR4gBWsHg14uj+Znf
bWjdcZP8Gk7mKHjhELsUbe6LYyVHnEdmDe/KvB3g3gusY/7NDJa7wpW+U8tWAS47qi9Q1+w/Z2zT
6v/fg2V9NkNLzAG8wWBHZ/ENH3IpLeRhOgjT4pJ+ILC5sra8Otn6MMGPweUK4dl13IfFtAjhZNhi
EduyFDkKjO3+eKFgWH+HYDJAXoGKpUUIkeHxVMYtoICyM/EAnCsHx0UUZu/j9dYZSjYDBaCkgdio
OI0/kN6922NZuXHTb/TfwbBosrTPa+CGMJjW096X97/cXqRH/Ue8oURQbiuBMyz2HGmmBLbVI+Ip
z2nk6UGyoc2EGt5SL+GGmmbJNv+GtrYo0OMHFhZAR2w7Zi5zLYnn2liw6xbDJbiX9uTj9jxed12x
2PAwBAAWlBZKsry8nElKoaqEIASElx6hTvTUO7CtcM2v/pDDJM+RgiF3xXfZz93qYPE5/Gvn0sUP
oHeeswQ6Z2KqDybWy+gMbnuf76gis+TU6AdxN/bKYXERi14WzmKZY6pNSoNYMCGB+1H7CslTO75X
YClV8zLm6rc7m1hmt4WpuogdnVgqwEC1pvtfoUufhPo74qGBrbzc/pRr14qL0TGrRZllM9IUjC7b
KiU8Ago3fW727TsVgUd6fhwO/+rlC7STCl4B/gevPrYoXIuWkOHiTQ8Gybd8OEoRp2jgVi9DBQlk
t9tjXNuFlK2Ig5ZSPtkni1VYcdhZAthtOh74xHJK+b6xuPpqdB0wlwoVQeA6qMNeEU+xy3WSK5Fg
ZguoivVsLz7ZyK8AYMbvcm3jJuNKj9FLrTphE4gFbON5JeiVhUMhxxRQDQoK/nkZXIWGRm5NPeok
aX03z91Wq79uz+LaaY4QYD/BHPe08y9D9HENsPo8mqe1aQDE+jMDwwt9dcWpG7S/Ci96WI7Zncl5
pl1jLymjS5cAgqf6NXirXQYWYMoLDezZPD3oJbAgtz21lvYsySHxqWQyeKI7o2LzmbvtFo6kzxWs
tHlAuZVl9Nd6hYAU7TMyj4J6MIRyhjuQLYb3qlj6nfRumbxVtBqEwghAhcLbhj3Rm35Q9IJYGOvc
OVKU20IubUaVJ9FFp4xZq6AJ/h2GyTNp0ukx+Ez4lpVDGphNyx41PktDrweaF1oTsLV3OetnbYli
1wMAYqK0eEWrzcekUOUeMYEzvKu/nepAHsoV98qOuq4nLre4t/KiALOIwisptxTM6MuF05VVmcwF
JlPFydsf9O3syzhykbc5+Jy1i8VFJGY+4eyuVUaOSNH9CCx0vQu3/ynkEZ+PGVh50qPZa9EXqgh0
PJs/pQ5K1WWf40nf4/LuqjPglhBR1cgjatyQJ6kXcFE8zvdbWTMIh7oF2CEG3k1MiskbQxCMKbXs
ojZ8XDqhQWiJgVS222T8Vclko9f7XpS2VfJsRJDOjlpHlXmP/5Vql2qePGQhEI9fw5aLZ6WMxCbC
cOOtDi/7Muh2BfxCKGWKP8/08GO2CWo1WLMg36DCxp4cUWuijkhazPNJrI/qVkteF/DaFCub3oS1
iw4je5z9V1S0IYYS+IJmG26/xUbo39to2udQG739AVf2HyWVI33DwgkdEWY3AFMAxWpptGDvsGwz
Q3Z6qeKtkbWFCeMKvGnhiKCgJnq546C5q9TjNKHC5Yy/q7sBiKvIrh/LoNq0pR1nuwbKnBHEc954
17S1OcQnwjlvoQNzVcwT5ja1yma2AJLGu7lO7CqW3NziSWVfhwE/CnOnoXdOq1zMdWlsUgOie5YF
usjomYLgTvnoCJnKSZbXdwmEoVR4VJ9QqmcbVyPchEsdLjK2nu6q8qAVtSPN0tdUzwHR85fbC2Nl
TyEalduAji8ONpZ9jxlLtb5G2c6SjxlEsAb9l9SFj60RvkpDAgHAFvDQzFNaywF//lUZcv/2L6Dp
8XKfUbVP9JMhCARTLLaHnS6dLsQDNnXXxXeLZrhCZY1OpOhHUZofuzHdKv3AydlrXxLtCBNkN8Db
r2pAyhhrAEGFyJvVl1WjdQ9/ahHO5rdHtvYhcZbrJuy2IcTDpiuFNHEsLlgvk6U/tmW+BdgrqMTw
MA61mxJukpZXZpL2Aegmx4dk6zrREuotXOhRyUI3jfaUYjd6lQIKRWzfeGKma5/NglgV3e0n6v3l
bs/LMM9moPNsaIB4Zh6+RsoxV0076e/b6CsKS+/2ZF5nMLQ3zuLRwZ+9xNpW13vwtfDJrHJfZBAz
GkLOxlu55V7GYC6bmNm679EcxWVzJpuhd6gWuuDJL3PmmA9JaLcvtNKavnJxOde3lcvIdPRno5O6
Oou7GAsySdLvhQCujaLdaXVjy1NmJ/mHQCRf7Cs7JxwzluukfRmY7pTzwErfLIC1IfCIFgQ2Xjnv
YHxgD6Hm3P6Aq7tBw16TIdiMw4g5gsayEIRhxuosDey0uYtdfRa8eS4cYUn8sf99O9zqFj8Lx9zK
EhSvQpRC0I7oYi9Bh8ysINfYcaKsXP7o/P09KuZMiGqhFtXstOeWDtr5kPa8XwIslbG0rZ38D1Ti
VjYCjjhAKii7Gg0B5imSjbIS1SIimIPmRFZ0MKaO99yjfweTk5Eb8dfjuKO4W2ZVQCs8XuIZMejd
p3mg7mzUGi7cp1yu1anTdisWXaFnKxCSiFAs6hBr8MmTAvdc4iz3yStMZvK78tMCbPQI11lUJDLg
ARqI78CMBeq+n8Kzti0Oy3Pk8yqrKyUufNGz4TNLVYtggBXW+EmNn8+QTMnwRBJLGG0bT/mruZWP
dDIqy8k2sZf9Ch2eqMrK2r2Iz6zdOAvrRaHxe7KdQ8uN5Qcx42mKXGuaAAaIVgReEQo142Cfm2SW
olPSwX1NhiitqUKpEqZ8pis+jD7VHIQZ9Q4Ho1TTnMfJBicGIfvZwayDkSHcpqji0eVnrzo9zEdC
Qlv97L1mOx4ULdAk1Lw6Al4UMT2qjAtqsa/DdA0mlgfjowkAB9G+GkjWC5uIupNsbueMFYAU+op/
/yi2dZCGQiJNGX4UZXouOEETIPnxO0Y33uibIgjvlS0n5EpaRDMTAkgi5QLitXE5D6NcQ229jjAP
QbMNG3i6a/58SH0gzn6WkEnsgENpEHiMbK4a8to2h9QayBKAZ+Niy6xzM6+tJmxjgPd3+T31O7ae
qPELhOveFF7bay1tncdi1vRQCUoLSURM7a7c6IGSAPBmZlCWB94GiD6A7B0TgJRyW/qCqx2zQN6Q
Z+0r8bmVARqJWXnUfNWgkHS8VtgZV1urL8qkpB95wG8IdPA2IPgVQtte/lF54pFim1GAUe3slWeP
fiIQXAWnSle0UgjJLeZzd4kWhmpT4SoBMZAuQSaDIrlHdt+txPYzN3f0nwB1F3Z+oCmXkjCTjy8o
rEL6K6hRIs0fuIt+5doIZD7ynUjh81gLlytQMfMJs4WfROvp2RGy5Tv1SBsU7XOE/uPt9b6y3C+C
Mde4iUyqmMoIVgtvmQZDuyl24hjK0UMD2itPzm0lk6P1qFP+CnzhoW3BrPDYHOdYshBOsXtHe8hj
pDrBJl4o2D3chogz7DQPted0D+lo/Ttvbq8XPXx/4GdgQZsNYpjs22ZOxdiIZWhdTtGXGP026j+/
flA5Eny3043q6s09TJJlwFQghJ9p2PgNTAWoL0UMbKUB5DoEDrmcJ3Srmf2Dhi5KFbQcDCywiSbQ
5XpRoRTS4dH2DqBVr7/E9VBD9Tuq01Rs7swij4xfkYi3MrTci6Wtmk+1G2E24E1iORuHfIx0OfXq
PDel2IFxbj7U27BSlE6+V/DELWR/zNR2UIIyNvrSi5pQkchzOoGLVLm9kBQjDoMwhXetM5lKBmG8
aGpN/XsUxrAz981yLtrOH5FxibGRsyVOnNISUvUrFMNotIEPB/QlyOM0UTycrT3k5gxtLuvUhXxH
qL0u0YRjyRZIauyIDg3XzOvCWW5cgVDRY3eCgVxEHNwmDfEgZJPe+9Y49VrjmAaZiucuq3CHt1PS
5VNjlxA5STZ5m5LqtwIEXun2fdXHFqwpodoJed+8anMHzBK96h1A20IRR40RVsXvXGzM6kPoEphA
TeBaWd/nGj/zoTWSTtl3EhF7gJd0M6q3sE2cUWoh3WiKta3Jhal85dmklL3b9voAfnWjmNMy2wQO
FLDR0+qSpHDQnpoEVkRksqD61WKaX7JFkLXJrcKksXTHWsxkKGGbOEr9SyJEygTmMKa1swkQ6f0L
ttW8aBupMTXhs7MGRTsWo1KSHyRZcn0/1EIVpfhb1EHeRlWidLUPQ5g2vos7VckVZwC6xIRTS1+k
4admQGLBn5RlmuD7m6mj+RTXQli8FpKVkdexVZMydeZUKoRAGMQl35uZUiBRmqj99HsIl02ahyqs
Et71FRCQ37RGHjCnY4tomW32ZhY+5kaqozg5GtJ0X0+NiptmSULVJUaqUscGsy12BAZDfVDEqB44
2ZRI6V4eBd38VNuKVL7RVPAuc9KWiGHpFgqQ6lB6LWosQxJHars1llR/mJqmcyNBDJU3felHtC20
qBAg31jHcmNuQMXOlAOZibWU9hC1TbeN6zj7H/a+o0luHc32r0zMnh30ZjEbmmS68qUqSRuG3IWh
J0EQwK+fQ92ZbimrQtkTb/tCi4qQAwnCfOaYhmRkRa//qTbArsHknEQNu/Em2S2QxWLr1JXQ3Byw
7vvKgT1aZSOAuuncjoK7jk4tfL7RBkPNxgA7twLkLTulMh6Sys0cdx3XUs9BY6VK1V64r6Kmm9yM
+8MgvmjjIvTRMN+cmNyki5Ve55T60eB8TVDYM/Wh4xbZ9L4bRifI3Y2OHli29jZBU8hYvWRh+zFw
hlkcrKlblQ1zhYj6E30OCacIRE/eDGVrMOxF5Nd/wbWcRC4MgqRSH8dp5ONXGRrXfljXEUC4mkat
H2TwS1jRupt5Zzs3lDl+DXJMN7b+YV7DOS4tz/fIq4ib2RzHMLAsnB32smat1VmwU3PA6skGKTUE
jBpLOCPP4so2rk792rOxjlc89IxZr9yu/4jiReP/6EeP2R4KQlDLwltWVTt8mpdE2I/DalhlZza2
lPWNxTMjO69BDWkCp2215DPnqHKOxvK6J7eePLegeqqAUBMgjTWfR68PwnarbVniZlK8aV6ieZkh
bqaaOBAAqfta78WyUP2ouymsm7xrFMZNPTl3tDmNUR2LJU0gYd/ey0jIuspmHVlmSXmkOnIjEzMC
QuzUK9vDgskKC9Jx1/ra14atkGl3aDCn4DW4zhHLLKL36yAZP7cQia//gpXS3IgibJt9hb3k5v1s
5vmu9wbqnbxYAlriiXadUmG7pP8kjZy9JVuWpZmXtIq5GSjUWUfL/A9s4/+by/8nws9fQqc35vI3
X75/IV/mb1+m//yPH51gQh++/9ff/+hvh/nA/geMZnDzo94NRVEkUv/rMO97/0DdGK1gRJkozkEd
+p8O85bj/CMJfjqAwv8TIaiLdPt/LOZxtv8D4QrgzEDEovIcBf8Xi/ktf/tXoAvQTgLXkQhPgZ8/
fZ9/jxJIH1hem5A4Q/125+3rct1Z5b+D0Pjp1HgxUoTmFF4VTCjwPS6KFbM72sEq6ihrpALD1Of2
YIJsdVrs7hyY2IY3MJOdgqXJB74mGrcy8Tvrdq1cEpexIgFc5+nqEzcLGs/7DJnP6Atcy8QPS80c
EHImlAX9X0m6skZmMWSg7EWnZq7EkkPEUlS7RSUrjia4VdlZ4y4GciKdoqDy1VJXqwJRFNq+TuoL
HSvIr7d6ZBAaGeaaQ3iBGh9mFwPkeUHr9Gi9wjZp6LgNNSHVNfUrqScmTsSdBWxp4NKshEobeMPa
Mo3qieM3IYEX4OYXIf4I7xq0gi8pjbmDQAZoIIl4MOYdSlWp9F2dyJTa9ly7aeXTgR1Hoxr4w8P+
o6/ToF39eU1pVSesTZlvLzLZtSNR4Q/DxlhAyoEO48hT065RUKhh0s3OE6GAZtwEvykAHkRdDzdq
sab4mLSQAzxKt/Psg+FupTPXHbzkmxUsol9xHfZ8OlLZ9dEe1BZImQ+9V0NxjsYVSrC8X2VeaV3J
dMNUP4i+Tw79GoZlEC/6JVlknQ9NPzTFurgBuLjOpOscLiZCFtx1TZtWVJEbr27WvakTfRwiMR2r
cbZgGp+4w22P+uAJNxiuDJcu/FWvwn4mE+pquDTjMpmtKVu5tKtsVQ75WreU7QZB3bPV2R1PiW7w
4WQ4dZ+BGV0B2VnDJJt7zj75vY7d1B+9uDp3rjA3Kx/sj17Uwed0nQjy3rHtjnJVrth1LFao2UOW
77MDKmFmN2Z9tPxqvZFeXUGSOYHIrMZfrEbqubhtZpuklhUQXfbGVDS3J9MiYkWZ4YvjSLjSROhv
HMbAl1+dsHdy7nDnJQgDdbvIwX/RbrPCALOLNfR+Ar9+nfptw/R6cuwcxcVYpfMIK/pUNsn0qRl7
GeUsXLoP0LJE+86DgyaoDpOQt2Ra3Hx0ZmsXhHw8Wq3nPjSqdusU9D3odLvLam5NjK5SgmvziY+T
vtdthLL2osf62EvHyyUSgbMeIp2khkNE1ZNJ62KHOh1ChRC6HjRwb+IQXtNRv5IdtlsQZj5Eh1MA
KMAmdReSM9HL/aKD8XMF07McggVDDITIPBVt1yl9QiOJjvnAwnDfksHsMdd4BqVxhQUhCbKkMcON
4Nr6HHcGvdeGWcltFVNWZa7mSZMxsbIPLcIMRF3gQH6qmb0eQyvWKMIqct+1Q1WjpK2tU4XTJ9lv
2ceaExbzT8JBkgGsirt+DkI6H2NILrl5rEdZlVYbjo9Ue0qUlVwAAQ7dldzYvU9vmVLVHYnaxs6m
ObFCgGVF6GX9HJgfPCGhlzeikUMKUZ/VB/CH23DtiK2luxeaooq/LtHJ15FA+XKipP6iayj8pooN
sJjuR/YdjVwp06GPKpahYxrsvWgZT23UhGh14FoZM3sSFUVO4tQqFcvkW9msKH9Ogl4+DSFkRIOW
AUzb9f55qCl7cZUK7sNY9NvXrdgN4sSx37nVEu46MbriIfRr9S0SYsW4S8XXnKtan53IgdYBHDNK
HtrmPvFMUkLc2s8Utfq9JhF/NJbyvtcVmUolwt7PgEpdCr+i/oEHTXgb0sH6agCNSqMqjs691/Ef
dGVNkdgyKfrAobdBU+tjBOn6XRAPKGdWsykmtHP3A/KiBg55y7Tru6S7baRZboWxBkgJMZfVKXcc
V6UymqDpbK0AkmV2b1UlSTonDzwhbjvHatKWVbQ0wjO57fdrabEZ+CR3dtT3ZCWA/nZhi6yHON9p
E/k7KH/NKIDp9a8JBaqbxJ7cQxVG7FThrP6AAv9wOw74Iwxr5F0Ct+m0d0fUgwZhTgTr5RQPzjev
jfFIxKhjRKiLpH9d/F3UtGNOjd0f5GqaO8o7vWvpAvk2atyHaIRiNbR9o2Oo3OmjjJmVopFX7zxt
/Hx14EAWsMTaez33nmzqh9+YPzg6bUQ75BCvEhyCexXQ8tZkH0LK5d6erPVeztyDdJmy2EdXwtuo
7WmS+wRoH7VgcS6uW+046XEeOm794INN+CFquH0fVAF9rtYIFohhQj5IPdk7n+E7dvPAM2N3olh9
Pu2wJRueVnPrvCJTJxbuno5kaq77Xb14061LreWI6F0+w3qkLZp6hL3Lqq26QPQ6Fy7GKk3iTk6K
LR3kS6Wtv/pRV1lEFRaSRZKMBYufy8YNPoUhVfAfhkDpI2Y+Po0kWZc0nFr50DbBWri+GttCMN18
xM0gCg5KJsuSuApyYchylk3n54lPkwNB5zmvZIB6kzOwOxWEEjzfuNvRZHKfEAv0u8WO2C5UvZNx
pa3MRQRQ1rhKzqLfPM5gjcWfx4EBZzd27l4mQVPEYYUELabzZ6rj+ivjKKJaII2UFpmtYu498M1a
HCjCzO7NmvRuPmi4W+g1BDdsmbvHuPenfat6kYVhQ06k0m2KzrG3Q4HWRi2uFndAE/Unbx37bLVs
XsbxOmadjpuyrasv9ejzjHH7thlEn/MgrnaORPhPhym6pzzQH8M19p9ne2gLJl17R/QKAVuEWaVt
zYhZOr5AL5TGedibJnObwd5BJlnda6RmhfAZyu0Dnx4BjOCv67ra+6ThzmfldPFXrwuQ/PhAokdm
DYoJ83DjCzVmmzPJN/D0nPtoUlCym/j6Aix4mPehIbnwVXPvAkFyAqJqBoaPHxey0DsgD9YH3BPY
4ctssXxkozlYkVudxl4Njz1wEzvMINuNap4O9RiBwWj7UHiHn0xOVnxyv1dJ5otQ3qO2Y36AOjbv
uGXLnQoUYhoIae8Gz4eUiyeQg4ZL8H3w22RGd3BkR+aGaznanXfuvCF2CjfR4oyqxZTTWjn3CDkM
JAiXBImoLwa5wwWHxR7aPcXm6KfjItzga73ay4OdjM4Zhq2UQCWKDAd/asJvGmW3J9fudGaYAhbV
2hr1sJgorMSb8pqv471tZhwuYG5NBAot4ZgxSK7mY+/F32J7Nrjb1VpyHS4n2xbsi5hrtEVIMj/E
EtbsrO7goLqiYGNCxvYUPNdTMkTObulnNxMrMfi3ifMx7urxpnccfzeGxjqvxhugh10v7WcezAG8
7Rs9PzpWq2EGX0u67KtxdMd7P+DaKQFcURUqNJ6dD71D+wzKR5yUvue4aAm2MbVzVJa8seB+jzLS
1PAbX1vVnlSe95W2xnw29eCfBkeh2lEDJ/syQGHtxDQKlBDADu4RcnWnBvuyjPyOFTDNmYq1GyCr
UgXxQ6KXgSLc1tjjpuu6gq7TkLsV1fuZEq9sZrkWK2vXVwchUBpgMaZdDKzxSAa07MXalWK2bQiy
Tny/ttIu9cj9D7UmI5YHqfJwXOsHUWuZMnsIMjm3YQaSd5I3feKlnieDR+3qEO8jfGhbMyQxlNX3
uHCWLIyqsbRZAm2EEOXKmfUkV7MtT0Iv7PuIXRh61py31QDdUmE1GeHetPP5Av0oVNIyf3acoplV
9ShaDR8DO5hLNQqvCFGvuqHhiG4DI1FhB3IqaK+i3B9bUljtCm7mGEp68hNizknjzrsF1u5AIKul
3eMMiouOUefQtq1ziJugw1FAOnnomyEq68lRe1iMCpnDPyiAgWm/4FhwxyarUabbG5xwZTPZw83c
xcvnJJngMuR7Zv4yGcf9ZtnzuJuZWj6RuWenLmjUqQo12QejbR6HJhJF3ShQ9zwqiy4IoQ0LqMhf
nFfek4RIrkltHthDirro9KFV1ZB3JmgPsneaWzuSQ2k17ZpCSIyXLQo1eWXV9U4bA7tg1c+Y/RlS
Jo4gd7wB1SgFrdPJmmVGFJm4Ml+bpc2DsFpTQHHsYyTZcug6bp4rVMN4FiAu7hBUwYSKw7biS01q
54DK9VgGKL7mkeWL0o0AD9rkhhDFsfq1tbl/NHFPXtt1jYs46U0LkrwbHDGjuGs4LGebR6dnkFWp
poS+riENulSPDumzweuA5dC9ea1ru8s943l7oLHsV1T8Pq1Q9jnhKgVAaExa+JAu8wJ3YBtXw2hL
k/qB/g5UIr+LMXklV7hx0ymYrA/U7szDiF236Q23G9ETtFB0xKuVf47m2b+PBypfRpRQU2USs+tQ
bCgDHkefI1MJWJGRGb2sn1kqLAtDyBl1zefKH1qRQm5AyQJaSMOdoKItIjiYHpwhgFHYOupMLQn7
gUtheIV7bHS7GBLWO8W86DURAqRrQxVSXnS7/qpYjA+D6wT44hG5GMWnKGpYT+yGNWlex1VAuzhA
YXwoB+azIUcbYUrSwDTxTkEd/zgG1OxpT8JyZDiBI+ZGLahJg0ZQMgCK02jNjsloFpr2TWxuKwio
52jbkzaDFSOvMp+t/oGpiH1rPO3kbsjqu1HHVQcaVQ1/BUTrABBsYVKXGPba4HA7okrLkN1CrzwT
PR8+0aDi+7hKvHuHMnSgR2XtVBPQzIoXdupnZMCSTPNfLfftvKZhk0sr7r+FSrIzSKNQoCPCgM9o
TVgSjgfXKQV70ZPbo+m7BCQ4AZcawxbWh7ibB+/tMzghBI0CEcVDBlxvcgOh5elhECq6Hyfh6ocQ
noHWjoXDnFnjvN45IsI+HwLRpzOWzrGTyAnRY0exYVEVJGUJT+rbuhe6FGz2gY8BsNe6G2CbJo5y
EEjkhmacT3LrYlkB9XM1WENhVYsqaOh3h6lvgLsNkyo3s1kAGMKJXxm5xYY+Octqqj6aRUd+SnBT
5FNv7Ccrsa09DjfknWOD6kwcY+XMji5q7usTKt7xXYTYfQ+wXCdS3jDIZBMDQedGRHOJC0DtcAz3
QPvHtfJ2bULRqQWIwtBjApO3e4nt/oIQff1oJX30PIVRe2AyiL9BsH/KiUsgwIMIseQjpHnWBWmi
r1n0RNbA3Y9J1NwTRycPKNhGEPXlMRTY6qUuVUSiA5ayj9TTAWVyHpKcoNqc9oo1mYOshKQMmXAO
RiCc0aNmvddrDWWVPpTczSbfn774xpAC+Zw4WuGMlQ2/qdsIJE2oaYSTn+AY9Ui98zuoLOduINeH
QG6dI9mjXVA31XMYtN2eo/7y2AWWLhtnhLIYvATNTRWv9HvFfOcsqnhMeykfoe7ZpknTT9k86r3S
BvSXyOqy2uBYmntUOZo+vLEX+5z0LcnhtgqtemE9kwAuqL4hw85ZQ9Gl06z4boTzU0okJ2fEyaRA
MAMNDgfYTAot5nONzkU5Q6QyC/rEzyERZn3Rgc8KZySyK1EFpUOOWtNyaF06HQNHDHaOagecZrSP
2D13ex9WkyJchx5M+1gVpjPxHrde12UjpGIOthji+BhZSbOvB+U+cFJzk9l2L/1yxQUFxAnqaUi7
fb8pvcWvjpEva1C1UHkEA44b50OzBM6XZLIsNOsTHZ01qkBnp54hEusOYsPMdy7a3LEEcjGQZJmy
3kxdndciCfAbTfKMlLF6qIZIfWDWCsSHy0MYVYraRY4TsQPxEwFuSxTpj7plGm4zLOJ13nCuaebI
CA06Lpx7V1fNR8tT+LKr3dAZu6Dtx73bdsbckTDSH5KexBCsRP7zdeJsedatbercd1fxgnvWh2SW
FzaPGuS3F3fRg0mTPoDuqPYNImI21I65d/wRGYrUQY2GVDg0R8Epv0tmNT8Lb62wJsIR8AruN/Iz
hXzFfTuP68mzwumbR1eriCyXH2Kn7co1IogE+UT2suXNjRPhoVMcMNZyCAbq68zSKCToZa6KcWmi
b4jo6701qfrs9IS/Ggt7LbV4uH5fTOi8oOdeGcS0jD3bC45k1TZGZCLuuy6NeorSB1pc5xoF8MwS
vX1GNlZ7WcjRkM3csEXFWpiwHwuvcfVHC+tB3EA8RY/HRQZzDA+tNYDfAtMxvsdYuawcSE9hQz0K
Me8smYRjk9qe6OHFGMdUfuxrQHVfIrGJ6sQJ2jwoi7WyKW3k5vxx9p1WPakl1P5rSxoEIKmNPi+O
YDRPcR9p1sr4pqZ0BAKI2f6+UaNUh0UQXR/rqfXREsK7Wt+iYbEbks6oUZBPzKMj2r7NhDQDFSAF
ic87229d+VB5avEefGnHaIcuuESezDjbzrmC8aKVUzKpPuU0ZihZVZEYM2IFor3nwNEIKPEoZMm9
i6V5tOrK9doscaK5AmO3Uk3/oRmlpLexhZzjvhJTHBY9XEymcjYrw38b89nFLeF6VayfeVsb1AzQ
IAtx3qBljaZUXNGDqWucEnNVr87rAJ89tGhbr/po+XRsn4WEPifIJaIlr41EAlBoNoX7eXRxjAsV
ogaPxTn7LwwmGW3m1na0FHKZJGqgMqC03ILoNm+bsUWK38C2PHVQVBGvyIYVO3Y8njw8rSL4j+y6
Re0vS2gf1E/E81x+t4B2Qx9QL7Giozt5dnfA2pl1oX1/fGZ2bVUwRBzDqVwcx5mPXVjJ5qbqOmG+
jh0qRp8k+nn4RiRQiw2OrLHW8RDxaa6ybqkCIB/wP9NzjCJBeOMqZIp33gDty9yFbi76jGOMhkpR
wUraoGLhIOrQaRUYx35KRNV2jyOqOmTXW574+Evn6f7vXsp/dOgb9qwT83/95wULb2vmAOGKzhA6
OSEAJ/4FRChsEKAEVFZZdePsqqP9ofFy32T8foJ0OhBMm2ADjteN2N8/V8Nd1OBKg0d6ep2J5/wO
jnz7LBcIInC6GlpzPMvGtXfYo5uFGb+rwTsmQWGteX/Pi+Gm3/95Cn5H8rwd9QK3hQ7c0CImhwV0
46cK+1Pa1yb5d2jU2yG2R/gFCLsilx3MiiE2TBga17shbw6oOJTeDprWJc23pDL7W9+H7jnEOA9t
Th/aO3+/YWL//L4XUMi3T3PRVfO52y8RwzTPxfyC/G4TANnsqgZ84iolGS+sq6S99z+tn9gbtgh9
yK2n+MsMLAxETyowAz4MD2JrbwzwHcnzlTfbAMW/9wu3xfzPUd6IXcOemMXbp9w0fqmXBnt+xz4M
+/bjuoPwZh6MqbuvbsVVwO3blujvA1/sorYT8bgYDBw82UdUEl+W0uyDr+aV3ay7pJwexQsAfgDd
ott+DW97ZWp/0oB+mVqWoB7nwuo+A/ABtTw0PJMgG+UVlOe1US52SQSO7BJVGIXUUxrJ78n8baLX
JKGvTePFPomIjBFAYBBUe8twTO4pQ4EzroYTYBOZN7YZKp47kdD8/3HhXGyJBbd34m4nj11WN/qv
6RDs6oIV0W1FU1EgsNiJzD75VyjQ3nagvV2vIPSAjoiuenSBYYRrVeXFPd5X5PMLLddMnIed2td7
XUSAjILkUyJKfjQws2hL96Dg0GIdJ+gFhIX3DVpFhx7E+mtA1gv0+P+eD/96qgsUIPrH6GDVeKoN
Ki0hzP3T0uJhEyBFVlbYZ3+/niEBUfqPf/4M2+f903RcHBJ9pYkvZtyZKI5ncf0ygFn/5xEuSB1v
3i3e2Dq/bBbkdMbRAkPwA9mjOLwpAYcpQLn33YOC4Oj/EZL8dsCLk4F6LGh9AAlwJEGY8zbYoZtP
ik1ZGuXzbIIk0GZfiUj/usLF+6fhP79jfHGd+qPGxebhO/KDXwOVPB3kXZP3WZxbKkXV7zY69nlF
rh5IVyf54qxgCJ09HWOS5wJGHuJ5zmi+iZFKdMBzF1faNeWnn8DUP6yc+PLgQAELLQ+8avU5PNql
yOk9BfbbzuJiyjdbM1jTphuFp9pU2NFWebCyAFB8qAeNaZTJArKz+Xw/QQg++FFvZPLsqgjItm3e
PCMY1lAbAEocfIDfl14lepQst5XgP9BnR6Ya5UpYeZ0YhFqrXfWEXskth2MMBV84/TfgNO8eNr+M
f7Gta2RxA6UYf9vW4csG3IEzH4hvbV7vrsGjf1JM/vS2F3t5WJS7QI4LbfYyhJPd/YaEBzRbnJZP
47m7DaDVlKzp9Pk6u/vdU+Rf73nJ9ACWCJW3Fe8pUWW36qME9+7Pp4h7bYiLTa1k0K3okWEqj/Qe
uRLC1J+HpPreYIX5KUC3zxI0B4azpUdac+yKOr9+uLx7J4O66APqBH2SS3h/A9KpdLbz0hpQsr7R
00PAXq686rZX33xH0OCg7AC4/RvNvBB8fQ+qKohsoJiX/uR2mH14sO+WsvoEob5yPFvldpBtQg+A
pi7P4f66Q9q7b/rLU1wcZRpNHNRd8RQGUOFOv7jtknvWjyvv+u6B+csoF+eW4TQC3hqjbP5V1oRz
K3iNj13OoIofncabtpzz+hmWw49TBsivc+N88b+Kl+nxukHiBWH173sDUggh0jOABt7oAqrETMLA
oD0DztSwVMkUoiR1sQn0ozPNMvLJtHA+oQXJr/F/L2SY3o59cVLwAHVAp8HYwJAX9R6cijx8ZofN
tMy+Fr1eiOa9HezioLBHGxCNAYPJHYGce0YzTHfBc9Sbn+J791Af+KOb26/h4/rMi+T+2gNc8Hbe
PEB4ERJUtgi8eMYDbNZ0JsdhdQdf25wdo+c1U3l3P2fsCPjtlCIr20XFVNTPiMjAGRv39rEv+rvw
Slz4biIMQR4HJnVQyIHP0e9XhbKo5QFOt30AO6tQdPrx9wXqHN0d0PVlA6JEdu0Sfe9Qi6E9Akta
G22US6EjWNj71IhtHuYYBIyb1h53f95g72aevw6xbcBfoi8yqpCv08+pZl/WYvju/HScYAdE9tsZ
QvJrL/VeRvHriJeXbgNhZCfqcOkujwBvoviIWufw2I0UdcNT0qK8OKkrQeZ7F/2vY15sn0QCdNl6
GHPpTFH5T6F15zgfIueGi5cw+PznOb321S62z1Qx7bnb6vWY+w1ABTRsnCu6qe8dvohYIGACDVjw
Py6OxVnGomEc79PFHyb3NjI31nzlmnnv5P11iO0tf1kYIxFjP1EMoSPA4nuUa718rASkOLprd/e2
nS8uNPiDb+DqCIJXbzQ4ehdUB3jeJpkNTjfogU/iaZNbrXbxkCZFeyb3EL5Cpo6LZvwafbqm6PXe
wR4A0g2PDpguQSD8InaItEJ7DMY22Nv1LWR7pzvRH6wsPKvjxkX1PnSfG5Whc3dN9fWdlQKZrdgD
QzEECfqSn9i40tN1h2ghDk+D/q7t739eiRd6Iz8P0k1WHqEIdNJc0I5//4itTpKa9xP2Gupa+mbT
5RRyQf5sIK4z74FkufYt3wlOoOAT+7Ahwly+cSGxe7RJfYKw3y5BCvkWHjdN0OCrDfVRpBwCcViD
1kzeIkuesuobjEkemvJqPW0LPi5WFLSEgFwMA8zsG6sOMgAKlYAyla2wsSn9YsSL998gLCELF6H1
1RX0zgr+dbzo4sLqoy4J1hphiujazKvbdFRfKRApcKcOcHV5vXd2dH/489d95xDAoJAxcqGGDgGS
i4M0tObBSFjHon/0oOmPBOQU0FGufNB3joHIt71NTRvkyjeeUp22q2VsaYU+o50T+QgeE7hkAGzW
V1RiLvcCGBL4UjHAusF2Ul8S5B2A3xKRzCYj806jBdvM1pVXuZyvyxEuLoFYiQCYwR6ya0Bk996S
Bw5uN/C1/vxZ3hwn2zgQJYQeKIR2YCJ4ESogp1Soj8UoIMPO18uRZPE8adMBFjUhTMNF5gow7GcY
3V4Tnnqz3/8eGnw1kNy3LX9xL4SB7kIdGYPqFchTXeEXCnVkWSQ6pS3kMa5pQb2pK1wOeHFLrIB2
L2ywDcro4iwPwQnCaCidb8J2rfNvNCTe+4Y4Lf/5ghdzG9XLAPhZUm+rRALcMZAHQa+cmtfGuAiJ
gs7RDEg3k3XNF1Q7U5ecFEi3V1bJtjt/PaIuZ+5i9/qdklbYYJStpYOyrUD54Qvpi7poSwl7aw8x
ptmhgbXcXXeKexP2hVCPh6YJrjyk5fh1sVBUt4AaIqdmqwcdFMtXlW1aIEFZgWh2qHMTF+v+2rH8
dmKhJu9v4gvAh8Ny4OKVje01CsgPlVW627cWz8RY5VFjij9P7duZDbHxoMmLTYCG3aUy01zjVmhl
C5laW6CxijRtANxKj8ViXkjrXPmQb7IlTCV8aFwXfnGQe0Pj7vc7tgbpF7SwRmbxZ/b4cTqzLyq3
0iZHXlj0x82CA+VqfUI0XefJ9Wrm5QH9c3ikpJ6DrBRxxMXwDClyHXIA5tcsuWsfl9K6DQ+GpOok
YOvy0xGDplWU9q9/nuULtn+ACkcI+dNN1ATMM98OL7ZJVbNu6CVE2UQel96zC41A9vDV/qs6LmV/
ExVQhuNhyr67Z/dk5fOV6+KdkydMwgiEeA8/Ua2/WEzTwjs/HBjuC8w3zUgPAakjKYMHBzMNjGQ2
lNckPPy3dxSI+PD/gJaEizjxUr7NEnOkpIR9Ulfrj5U1PNMl6FPiBkj9EIMHyV239mcLpDebq2IN
HoT7QXrQM5ZA/BBvZ4P+4sGFetBL5uDn6C44ZP6aBrI31tO83FnWube/VxTZ9sR2vn0eWFusNoof
k9wPBIxc3z0b0NbnBryyBQJyArHGbJ9i97GVdJegTtm6yzFhzpX5frvM8OrIfCFkj1D1jRcEwLvt
JvLEM+AlgZ93Cwh+nrX9RLv5yvZ9d5L/NdKbYiGZ7HDliQ3m/ARWyWHiYf7npfv2hg6QYibwBrFx
kbwNUgfOfI6OqMSt1X5RYBzdQquxRZ0DDZVizol3Vi8+JG+u+fO8OQAvxr2IQJSgG7XHQRxg2sJr
4QdtqQI+N+Wf3+/Nt8IwyGTsTQkPsJfLZQq8m/CHCq9HF6irWeCRQOKWhShZCf9KTPWmLhIG0Bjb
GhowpUQB/TITjYJuwV8xMmvO7W0yH4Izz1WaZObo6t0AEM5uKiEnNFwZ97KIcDnstoh+yU4tMi7K
s7VEiUocuv8m7TyWJGdyIP1ENKMW12TKkl3Vui+0ltRa8+n3ixqz/TOZtOR27xzmMG1TyAgiEAgA
7o7agZAbUI9rif2VL85WJz7omZnM8CfARZhpUvwxf6cw9nv7W12nbDMTszDqg2YttJgN7PbtLutc
wbRqboOn9AN3//pT5Wq6ZL5zs7iZtd3YyJP4YKe43qS79mNGQS3blgf9U/3b/EBb/iGiGVAdQN79
yreavhHw2RUXXft+s5OQNtIQBwa/Qj94d9m+O8YndZ/crfG9Xl/Os92d1WJCINiDpg1ob7neCyq8
23bnHxGP0raizeifxq25908SJfP+gQt6/WWoztO8yx8wL2X2StsXPe+0t1Im2V7/Wj5Ku3avhgxJ
Q5C8Sv4svt9FXjkzOMsH4oERKsT4hD+pf8Qw8k/vT01go5xHrbx8GL7rP5G6/3/oZs0fwTPPMsVW
nB2WMct7OQ7t3E1RO+yTalsUIE6DgBHZU2uE4JuHQ1nkW7OaVrxp5Zias2w2LT3QCMKnJ9Ug5Oim
D3hDXbk1FqIq2uPKGwkPkXX+rKsA8pRNrpPnpdDktfaeAcoNWcgmTKQVUwv3BHSDChmsBjpBno/m
IOHIHKDDeiCy6eRQaHQMU7qWuC55CsgdWEVNVdRsZt9LqkzTlsQZ7PbGl9He0kly7hl1cOsv3a56
arflNj8NR4s5M+kwPIlXSPLgUz7p79XjWkBY+oTnP2b2CT0z7pOmJNImduOCgAEbt6IAuhgLzk2I
n3Dmn4rZN7Y6YgLE7ibfaPYxfiJn3QVbfSu90Hh9EFxkoBW3oAP7zXGNjes6ZeVonv+A2W3SdIC7
bBHqo1P8mu6evdNPwTpWn5rDes91JuxKjjqzNrtYSojnp7QVd9e2eAC3GD1qCGtAOebmbvUjdqVv
wZO8zXYdX3Yt0Vn7msL1zraaIe3IQl2DA5l8q8c7Z/y+cmuuGZjdH21ngrMaWJzoEIXHiicOxUXp
EVw2vNfOdrxfDaxLh/L8682ukkat8qYaWdOb2qFbH7oTWkBCoqTdej/Vh+rR+Foeb69zYZkUknhj
CVIzKuQzj0mCqIgmp4dmrHttqRhV0poMwkJUo+wOY5qoElMAn10XOgDMsmCq3y3L/kXKwg9+62zN
Qj70obKmcLR0AHg4CWEChxeUOS9PJZ7Gw2ko6OHxTv6fEEK10w4DrIuw9ax2mpaS0wt7sxMvVWmi
aBFknoJsT0fkZdQ3tQ75IBjf7fgAJLh2adytZY1Le8o4iQaxCzR/PMovvd/SmaFPQQ+5Wfk4yA+5
QaI/IOTsryWPS4YQH9Khakamj4fwpSHYIqAzKlCKTeN4O1qQkngeaUXxACvU9rYnLni/c2ZqXuH2
E9ADEAegsu3A72fdVU7ktuYKP7I4tbPcxYGf1BGXkrhn52FD7rlk0zZzW+9BkJZVFC0N64X6FRKq
7zIp2v3tongmQahNkUiUEea6lA6Jgw9KenDLSMoPpVoUhxZ1iRdrKtZIp6/378LUW8v7LCJqkGDK
Qxt3bm0MrgU3ng53mA5K4vaKrj2C82XzHx2Er6rOT5jXisxaK7hO4BFphmnvQZMAetdljG/F1MLp
urQ1O125n4+pqjO5az4Cb3HHx/RbsGWS7XHYKW62q9ziMfh4e3nXdUuDbgdMiLiJQUFiHhB7K5c1
8umeia30SbCu5wf9nb4pH0rEEivoitcGmBe+24VBseFn3631+zEFUNi4fjKeFJ5kGvyWgVX/9fGi
oKSIfhUC2hD0i59xZiZXnAmoqU+kMt9LQJxgIAaJFv+9FY12EQ1jxIW0q6pvbBSlOsYUA1Sz2+Th
b63/7refb3+iBQ/EBuUVKr26Cuz/ciXAqYReSte43WBFh7KByIBOSf3cNEZ4SBJF+tvJDJNhHHAS
BCeFO1KZH+IuR5rFkXqyxk2/a5+yfeky3+VKj4zt3wXoEP91GfvNoKVT8YXk4IpbPTdCaB57bhW1
dtTd4IWUi2Jo8qYQicfbm3k1+Pu/xf1na5bn9Eree5kViJw1g9oLXMB22nOTHdJD+GJvIfPYVvXG
/xI/r+U74u64jMViW/+zPLtbAsMYy6oHzJVATTVZ3QnCzB16tlP+x6PeaZjJQ1+aKzHl+gLAKO8z
WePRAzxyfgGA3FMKh61VPOqaZrmZgs8dg20O8h9atPX1aeVRsBRQaG8qFLNZLWRts4MHZrIK8qRp
2GA6ZjtlE20B2xafFdkVOnfaTqI98m7lq4qX1WxvL4zOgorpeZPDddq40K3shVqnt1V/xUxzVdQD
phVrIgzfMjbbU9+jygzsqnF15xP8oJAfrqlFaGsmZl46jQk6gQVoMcumCyGPCNq30gHM59Mol+9t
Ha5LvYOawD9AILBVrOAp9zU31h+DkQKFkCXV4Jx3dFdrANy27WkMzXdKF/PMdrZekYTM7dzrPUeZ
0btsOsBL9+rEJ8929iEMNUpkuTUQeog3Vvxx6Y7DGal3GzSUiC6zlWmZ5CN+SG+h3nmHdKfcF82G
+WTeyFvFzX/JTCX7WzXY33aQhRh6YXV29pjRnXpF93kotlq/mRSmDaN6+tp2FlQegPlWKgELeblQ
CVO4GHg1Et1mj28oCixjAurhDj8hpW7Q1UqojtGFhE6QzDzcr034LS3w3KBwqLPrLkmCtkMQoYXx
q4QUNz20Zr1PJW8n6WsTKQsXuOCDpnNBl4ohhtkBhwk0HRKdZ1vrv9jZa5J8jtWPtz/XtQn6/Y6h
WiSRQldntn3NFDGmZzAwN2Q4RPJajN9aay3duj5jJo9A5OCtt+GaeaFdDYYcbt4AtHBevlojgOFM
fbm9DhEJLiOFaaNxhj4V5S2F4tPlV6Hvo8EmBAOb4UeQhmSwj24AngaPUeI5j3XlKfe64q3dcde7
Z2kkdAjW8SJ0kIi/tFrEKQ+cwsrpBkNplOevqQ+cEb3dv5yZg3L/3M4ciRZbXdyqEeVJD9wijANw
eXhuDrXB7U1cXA70bjKpgcIYyyzcBtAKyfHAcjQVlY0RTN30kbLTSmC69gYWQ2WQYTVEEq/lJBrI
mR25b5Fz2QvGlib++wfLpYVZ5ItRCvFCmXWEEYRZKCPU9SMwkpW24sL9e2lm9vWBXetVk2KGpqlZ
bTy4r7bcAa+gvGAlP0l38KMgS7DykRa2D+4oevbMhinwnouPeBZ/5BHaGyWIc3dqP2fmXbOKR1gy
QEyFAx99YHLSmRdoHlTkeUhZBarmn7GdfAq097f9bCFok5ydmZh9IB+OdmT7Iop5W4XEMN0FwUZy
IUg/ZDv5c3u/lvZezaBzgFA3hPwVuhuKUvNhQikeyj7JeZ3Ld+ERqmNQS2LAoH4XvbTH24tb2D4R
65Cpp0vLHN9s+zJYcThZdDDbfPxq+LAImrH+4baNt5Hty3D3FlD/r5HZBpplEFeSrYrqUKUiviMz
ewNN1Vc4UakTpY/mB1h79tOO4e7f1e/0a4pWhrUd3tnpKj5LmLr6KbwkEH1lyE6bV+E0faChK9UZ
+Pu2u3PgwYYWrgv3Sq1Mm7rSDNRJre9t79QrQfHtL19ZNsTsCh1cmV7z5UmoIJlPywyqDwHw7pNN
kVKdhixzUx/gSxmOpF5b6U+vbhATEXjd4rH/vHYaF/rxSGwipmuhVkoTef6qz6suLTufOkxlJU74
XJtJrH8zk8GAATWThhRNKTtrg61iJFZyr3vqxlbLwxQZ32PnVwKdpvmliZTfqQnJ+5PCv6srhamF
oI6oHNVfHflIk9Gpy13CtuTpNe+Sog7fBQGvhDzYyEH347ZLLpuxLJJNUeaYgwyMUjOVPlZ5yiIc
UFrllongolibg1x4VFoMBohqgzgAV/nK2FnhMIZDQ1Ibvk57ALaH5vnEe/Kkv3devjffRQ3df7Zf
b6/u+lCDnhEhlzfzArTW9CUTim0vhcUFFFgd3EGStxI3rjdQAHTYPHSDqZbPh6GKYqq9VsYENMNu
01JhC1M3Vdfuxrdc4fLUXNpRL/3B6cLMUytYL5SuCR9CGE/3aQTFvl0r7YtuDHR4paA+GsloHJmU
/iW1jne6vZtrS50la13ZtXFSsdQqevWJlBpd+lT5+A9G3jwf9AkYyZkRC1r1ulXU1B2bZkv71vT7
7RSszeMsLUVDOwXlYI7/VcnIiLpQaiLhGDABpQxRMy7SVvJKyrRmZfbNNC+HjyplLUPx2Grwfn2O
jLU7+TqDpq5mG0iy0lHV5Pl+Ga1XlcWIDQnlVcj//kA56WoROkPKa3fUDvYX87k9MVJh9e7aROni
+s5si+N3ltOUXYgoe8YulnD7UYP7prU0HKRypd62Zkb8+5kZOSjwlJ5yQlCdFGt8NZXfqEJ/vO13
Ip7OzxfpmZDaYdxMmd+Hjp7YgyEnKYBR0O2SvYmm3o163W3U4KmGvTqBfDNQupXbcClCnZuduciA
elHseDF1jCqJd/QMglOQT3896U4eZQEWI8ijqkygutzBuBxCJ0xoBQTBxzz3oVtPtre3byE+YQLi
aMZ78cMrFoNQUk0vUVB7NNF8kQxYnWTlvd+lu3GKj2Gkf4nb7keRJS+xFq74x1JGf2F7llbB4DmO
rU3qO/1sHpoPzueWJ9e2OkqPNtf2BsrOsdmsNZyvvfJywbMLuoskOwD1Qd8jbCDbk6Z3WlZ+Djzb
WIkib6nnpWteWJrTFeijlpRZgyXYYvfpU/0U3teIuYnpaeonu/55+l4+r7fzr0+EeBvLKB7wnGCy
b+Y0QZ45Olye9I+gc6uc970ig8FQNppcbMM42nvj89Cv1AOWNvXc5iyiSHkxOOPk9+6Y/5bkn6kE
td5ay2/pGUPpnkOOKBrYr/nzHy5iXZJSukjynZZvpI11H7wXKoCT6/xpvq03hRcXxcCiozC7TJtR
/PtZ/LL0PPHgkqO4q77K0mnsDt4qaGbRSc7zxdn7pTdK1YPrnOcfNLCvOrwHwXYCxvkU/WlbvEQk
WMFvezf8pMRy++xfl9ZI7s5S1dnx6yYENTsIHV0IQ/dOexeHKIFEuptJ6kqV8tolwa5RqWfqk5bc
1eB7IAX+0I41c7O0mrZprI5umsVHz/MYrvEGt0Z9Gao4O90h220fbi9zIYm9tD6L1TEqLpMPTflb
ZZZ2k/Yj7U/NfbmtH/J0Pz0i500xPYZL9APj/6tkCtdudGl+dh6loSiR2MC8jZTiS/29piczoVf8
OzZcIKyC5x6AW8ioeLQS3BcuqYttn51KA7mAOgwptqfZT3u4t/qvt3d2bWXzAxIZZRgr4u97hcuj
dGtp0iG2kr9P1VkGCvKocQL3mrft4NrUSjVnAyvtIVa+qOZraTzfXslCNoYJTgPlRSgZ5kWYoGRi
R1JZiSHF+p2kK/5doUjWvp8+98nXJh+177cNLn+a/wzOzh4iMMOgFhSCqZo+xfG08Z1oZdsW1yTk
Syn+yApC7pfhK8nLOjD0FhMjYgWnDlmRVP/d2o+QgN9ejPixlxcdHv7WWuWF6DCwc2mpGmB0kAWe
MbHah2T81KK4JQX9wQ4e3vftWthaPs8CHkRgFtPrs5BJLxU9u5CFjQf9RXqmDLyr0VvbDfeOW+2s
AxIYbgzQ/7k/rnUjFj3+zPTss7WaWaSGnKfuZP+AoAdaYpSQ/6GVxH7i7zQZuVSvZrl0T2lCSi2i
vtJ+kjbBl/FjuEN+FELzTfFafJPvfcpLt7/htbcwTQNdBQMFFsq/88JKYVjIKzEG5WaT8j7MoRZl
8mT0R9cpsqMNeeJtc6oIupc+c2lPXE5nlysDBl4Rlxzq/0n6KhtL3uTxVvG2qfFuaO6FMJUA/06Q
ZRd7f2v8gn86iA/5+jjy9Vm8/Ckzf+rqwR9UpNl4GLfv+1yBobJFp/P2gq8959LIzHNiMwXO01l0
TNqu20qqXTyMDfTAieNrK2F5cT0iUzJ1eISvCChgQbFh3qT/A+e5PGysKKhfEEqSTrdXtIBHYEln
dmafUJMUniYGTy/Pa5o7g8eZi4bTYD4kUtUJdndBbFB6zAQHcvfSIwD6wNi0+RiVrfVxTMpipUO/
sMVitA2YM258XYLQCzuT7YDDmSefw0a/k2vTLdVqJdgtW2GqiLE9lbGmWVhFr1BNUMbCSYJHlcf7
kBz17vfK1oqcYHY6AOXAKU38tgBeznKGWoKvL2rfToeyf0sKn2OUh+stnPAMVeurMfU6FySYnhkU
PnV2HFMltakicvz/N/+obJJnittoPYIaS9DZVkHhT9GmzE5rzYLry0OEccGXQlkHgsnZ5RG3vpmW
Cq1EeVKeE3l0I4pVWyULw02dOF98qG93Xd17K8nv0mfkXQ1dCoWQ6/E3G/x46PeoKsnBKc7gxUAZ
tEtXDv1CuRoZQIXxfCqNAB/nztJnuQY7NlbqXb+DjHjHiHNXu/Gh2UmH+n2FkNELbBEQ86zNAy9t
K+eADoF4hF4BA/rYqXOrFduKRmWr34Xao2qheIcIRaxv21ZZiQZLDsRxUMjxBVR4/liStT7yGzSX
3AFi5E3fd3vHDx8QYabx0+krJ33N2Czy0M9EGwUqbLeFidQbTj0aCq3cvteq4q/rPHzAs2XN7gZk
EOQwi9XEnRTFdSB9j+E5WTnsy6th0g4KAJpYV4fdTPNKtt6cxKFe9UHd1QfAIo4F4/PG2gmogY0Q
h44mqVuudFUX7grW95/t2bm3JS0I/QbbfvCY59+VYeUuWqgvsYFMhzGCKcMtMk/e1cmRDJuxHxcZ
GMJ/fmwMWAsla7pP4+weKh9/08AV3ejTq19Q4rq9t0unnM6g/QZzpBU5Cy41NPFJXDmja5XaOzOv
X6zQ/N3Yf80DQCrK14NjA8JpnrczL6kbO6YLAEY+kB6d0Nh4TLaigXx7LQv1j0sr8xTCszXfQULI
HfYwZEtf5EdGP0v/Dl2rg/adWNIXd6uvV7FD85tIJ9dGvICJD6qQlxdDnyFgnA6FiGAQMZJgf9Xu
08cRkNwRMMOGWbHjYGyLj/Ixu/P3a5XqhRIhaxbwJjrJtD/m5V1TMkoGQzFvvij7DNVBRrieJXc6
yPv4K5lwc+9s05UzsRQ6z22K1PXsLkxyn/EpB/aP9E+ivPMTH9WIZ73I9woI5jXa1KUs6mKFsw2O
YDymRQCbCVXCL8p+OE1H/4D2hGAYjffOr9tOtHAgIPcRDC2C+4+X7uXaYhK2LuhSxASBxW4YTEFy
3btLveGvC4LOuZ0raHYNqb0VsYcy9P2d3m2M/quHgPPt1SzdrxdmZskYwq7MhiUsR5C9ybtkO/3w
It4OzR26KS70pY/V78a/W4uaVxyS9HUv7M5cpC2GMnIqFMerrbXpv5eTq7uigYPo57vgWfnMzC3d
cKYR4Y7cqw+CITalNfG4ljwthG9+B8KPYiDv+imcJ7md5x7rNwPzsWvM11SRvqzs8ZqNWdhpENYY
1TiBEWk/ksPUB//FAm/sDmD90j2vX+vr2rKWvfS/Zc28VGhuGq0fY1LLEEF8RSVzM3rWysW7srA3
2oqzc25EDYItLQtrE6QkFaZUlHZ/e/MWF0LoFOeNNH4evsIQxbjUlGAocwhdZdhGm7wejhqZ7fa2
paU4osK7JLqvNM6vQKdlXaAmEXkwszDcjuYt2L0Ubo38lDGYvMpvcX0rkFkyIgm7pZCkngUtS2/M
2sgg1/HUO7pvDGNVK0d76eOcWxD/fvZxJjAdFsP6sZt2ziFMxjujNP/c3rJFE9xoMCbCy0KWfGmC
hjVshjXsSzUsVenw5Ayn2wbEH5jdnfTtuLhQ7ma6a54W+FOOKmjdxEDX/aN2bI7GQd/H+zXo+kL+
iBkyR94zAPPmV3RZGohn93x55BUR/4P03HgEoLRB+WR3e0GLO3ZmafZRYDUZmLnGUjt+lL1jEP+6
/fcXnfh8KeI8nX31oU06hJgEKxWFko19V4F81R4RHh52aCrs1ooyi+sxTdUWvGU0kWcekIVxoZWB
YKeXI/RaTtY668WyCWaWZFlmasqYpYaqYkqdnXBSKkgbfOhYKwi1n0X0HHZQJ8Sb5HFYGeNfSpqo
xv5ncxaxk4oKnyTh2M5768vwXiD6vaP+bG/Cd/D7bp3T2uNvKcydG5ztI4XzpEFXcAKuhjh5NiAK
q+51eyWYrmzlnCChsKVEoS5ChOuDk5zKf2rRt77tgYtH9r+tm48FZW00SHGFh482ZHxxsTec8iTn
FLQ1s/zcpqgeh6BovCQ+3Da8uIUWPX7mJlE7nQ90QbNlW5GBK+aDrBwNBKUeDMlQUInttZV9vOZj
InvRzmyJgHJ2ykx9THxEE2LX/AalGKB2botoq6ON+DF/9A9NIbBCT8xECaCc91pJq3X0hQlR8RNI
oxge59U0H4SH2a/0k2b8X2iUaoQp3jnw6YiMoqu/rVEGLIAzHCp1grvdBLtDVfRyxXlZyG1hAIcQ
eWL1IT6KAldzFBTq8TttZ/+gwLy9/UGXvJVKCPA2rgBeoLODnwd1I42yzgdNGZErkfAF5nvbxFLg
PzcxO+cBepJT3E7QB0LoaDpfdIRKpwz+8nL4h9tYp4hlUGDFOef3fRsjWmuGClQAITLAw5O1hs1b
9MlzC2I7z3xSC5u4aMyY0Yi9YO0uD+0rhGhPb0RLbrPRRgic831xUNONv60e1zxk6fgZAB1VPtUC
jwZHra+0BgfR6vg+Rz8WfWVv+nuECakguBmLsQzaLHP0TDQNY8P0FRmnlR2zYkICMX4YK2flAbu4
mRRUwbEwdnc9JVtScau7pBLu3u+MfbYd7oU0Sf34inYFY985jFXO12R3LFaFK5bc/tz0LLZMra91
k1rzHXMH/eEXpW53t71+qQ7CNDswTpUb1bHnt7ZkagHIP1YnGJ0kxTXgx/xY7GCWBN6YF9v+x1qe
sGxSAIk1EPRYFu5z5p0IvNWNbHItVFtKquFROUpuCX45/iBKIOuoJ1Uc3Xnq+LY4agOmwwvv0iBN
9TqpFPxx4NE1wmAPCdAH/xgQo79F2+a+OaW7jh9Rb0eIOYoDagw1SdL0KS82WQqFHD9qbXJKRKwb
v8kRrD5nm6AqZVOhbsYmAF6y62CjN/suVnh7fk9XqZ4Xt9wijVEZfKNCOQ/ZtRYY1diyA4K3Q6q2
2vat0oVi6E7wI4aoBq5E7KUYcG5x9qgfg9yOFB+L3eRA5fm7SXW6dcVK0F44ILybmAxXuPh0kKuX
uygHal/IlcrZzJz3iBC+6xJj5YQsLMSQqbhCKgH/6VXXQbMhWEJWlIcNs+eFToVCrRAT/XX7HF4t
hJECYCXEF5lJXELa5UIGU9IyJu+xIq4chEunIFzZq7cX0oXLYUPUbsV0Ab3++b0D3bxStH5JmgAt
ImfPOQXZPn/x7xo0eLpPKf8FrL8+CS0FZyutJEpX9yvWaZ/C+0fJjMmG2afKelOf5IGEs4zkB6O7
S3AIr8o3BSq9t/fy6mjxBgUhzpUAOwfUKrNkIWsdIw25DNxo5PSqqWzvlHDYTp31eerlhzpJ12Yv
xW+f7eyFxVnugCijQjVe4gU/qq5Xy1srTx4SU9sgT/qQtNW+73pyCh5fsEoZ+idJaIk7a5SoV57K
unmAk5VRsVCu6vPZqHtNmWXkFYl0VLpsP1q/GBFb2d2F7wjHOEP+0J5CdDjvAvhpOSSqRJ5Ul6Qv
kAAEm9i0vwCdlTetuYq/XDJH7UqRUXehHDNv+kWlbYdNgJ5brOV7a8xfuo72jTy+y9R+ZWVL+0fx
jxYjTUzbmXtoqI8WqQQnPSyhVZaQFqWU4RvF7rZ7Lhx1FdQqTQBdSADOx6Mcr/dyz8JMAF0satKb
ZpXL8zpFF8IVvH6oX3CzX1H7TyiEwhGCDcE6v9X2HQouYXywZLI/8+e0UwauNBldhpUtXPpagNUo
nJH90RCeHfIExVTF8bjakWj+qZnZl6i0YGvzm/ekAafb+7hoi3oDmZ8AMcwdMe+Zt5xSigHMXh6V
kUvbNE9dm9IPc/5lWfDdAt/hAXJF+W7LjeKVOU5YREg1Nb76EiCdYY7V96mU1nBCy+v6z9gsmNiV
0UqlSqAMvSywN8yT+y2e7xneXZnXoe0GqZHKh9ubueiUzEfJdIV4l8yPmeqEfc3wLlWOuDiOE9Iz
srqyiYvH68yEennFlbWf1amMicLR7nL0ohNL3g4IUd5eyaIZPpEhELq02mYuCApJ1ZIAF5Rq+Miq
fmu0r9qajul1bU1wZYgOLG1mMVY2s1I4nu9pIxFfvmse/vfkt54QuLwrn/3tGoPdgkdosDMJYCbk
cld6NBkk/VIPDZMby56yD6XgvZ2k00at9XyjI9W8/esdBJgIct+AnpB8cfa+Z7YkV2PfT9zSbHeK
FD0NifahyrSV87twTQsBVAHGYM6ROs2lP/jmOA61E6EZpg/PulXv0Nw6leQfUxyd1GmN3PF6SM4k
tYJzjQEgRbtGiBtWocPSyYSVfojg0kKJBl6+fle+OvtsX3V7y9WfUXb+YjOQuOvoeJmf1/EE182u
2a+YnW6tt6Oml8C61Dv7MG2zrcaDC67Xb35ONyj6VezDHu0A9Hd3+TaVtiblnJ99dpLexe9X+9EL
ecvFlsw+gRYwV2aHbEm17aG4EW0OiclP0QPPduH7v250XK59juEIoigMTPEFlLDdDJRrO//9bddd
CGPnC7piQZr6YZAcdteRA7fqx03rHG9bePP+Wa53YWIWxpiyz6PQxkTvlp+cY7vT9umx/uh/Ixti
KOMwfWqhtM234ETu0s/R3RpqdyEY8Io1BMkBfGNX2jKBgnjTqGiMRzjVL8WSko2hId9JUnOyu3Kt
hLtkjURBUHjwKrlKJFre6rVUMv4oFXW5KTLn0yQpL20JsiFPIJe9vblLIUFlbgfdE8BTV9rIupf4
vBG9xC3UT50c7Zpu2JbDZys290q0UtdZchUavVTaCarGFVar17XY8iJsmWn3vQ9piDZ61bj/siA+
E9+ATzYf5Bq6pu6rTBjJ3wEd3aRgsMb4J9nZfRWuaQYv3Hy0rv8zJr7lWUkhKmur6EZKKpF98lAG
7sbH8B/eqToPSOq/KsnQ1e3aduFgZAOTt6Py4jv3PHxWXGBxEWcGxGc7W4Tnx0bD/CTd6hQm5To2
dp0Dw6KZQ8Zz+9usWRL/fmapd7TRV0C+u2Y2ITqub4LkmP91m4WQd75fs29SOFJlaSnfRB0Ltwk+
1NU/RLxzA7PHbul1qjyOrCISHJQT1OLhuJIPLMaAs08yu7IG5iGbRkxbS+1BjdKd2uYbORld7vWV
47JmaXYfZaWdJxpcA4Tuz0P9khTgeNQXK10rhSzFGc2AN4i2N/xj89SjCqU0KnuD4S9er2UTb4Yg
32Yg7pLhFAKh+ntHoxTxv744cJj5J+pge7YrxgKNlMdDkm8n4QurtbAlfz43M/tMmlFpctViJhEo
Z/OdJzUbVV4Z4VwzMvtCyFLZIOAx4tkyGhoo9Crv4mgFQLQUms9WMs8Twrju+kzFiOQND3Lj3SOB
sb/9TcTvnN/i5yZmOS4Am0JRJTwACrJ442nSl9CKvjqZ/9NL6gc/zby9o0CAo6yJHy+5+LnhWfrg
mImSBcL1HOq+nffStPlRtZlmjtcgS8uWREFRpLxXiMsqT/x+KtjFWuoOfjjsqlR7gIdrStY4stYs
iX8/i6R+lpd5X7OmZtQfGqtDHPd9kmhoe6zVF5bd7781zY6SOpl2VYjPZuk7TQ9dKX/Xyvk/nVd0
qZkxF+8t7XI5KXKjSpYThXwnyF3ZTEPgsL2mBi5UmLX9D9GVKhwdLLqbjJ/NPFHXCguuBz5TkMjp
BsfbeclPGJTHTayWK7auycm5js6NzbxPlcK+zTth7EF/0X5CYOSmaIEjB6pGTEeLLtMffW8ek5f+
s4aAye72qVs82Gdrne2saUghUDN21tL+jM1jGPxLdDr7+8L+mSM6fuoMUsbfR3EOfEVX/Cnz1Hfb
UF15BawtRPjpmSG1jmiLiynzqY+2pZ9t7ex0e6sWrygYaSBxYFj4CsnhF5Xd+wkWMrQUmyj7zR1i
b1ov2StN9tOv6m+37S2erP/szWdM0xQCtVbHHtOYmxKJPHCicOGsWFnet/+7KmPm7E4RMI8k9k3L
AMSpmqt7xcrGXY+xvvn4fzZmPu4Myhhw6xONIOiaHqZT8d5Q3GDP/OhGcZWdd890IoNda13vtbXN
nBvUdUo1HLsEZIpO9WbM1pxi0YR498HxS9d73jktZS22y0AEWrl654WMJhb6/rYfLJvgucLfp9w0
n3+TJk81vFiYkEJXKX91/hqH3uJtAd04gDqK31fDOepg1JlR8yYahs99eBdHyaarnqL8++2FiHRn
fsNz85Hkwet8zeGv9UFQowCMQ/fGuI9SiYELJ5ik734hjc+1qpcfoyIMKqBSnhesXCGLgRaMHvcH
3J7w3M7yJCno4tTIgbr0rv/UPZSfzLvoq/1JOXpfHcbVQsHqZXYb+YN+v15kum73cgSo/IsuG+xi
VyCYXgsyx4tYu2DX9Q7hMb9j9I8xf81F7GyV8H8pdiB6S81VE+wO8ysM4CmXcDkyiWF20bQZyzJq
XCmtHRqlWalYKw+3hdAIapjqLrxgTLnIwoXPgq+VSfpktj5PRKU9lFX2vnd6f9NN8Lal+sOI6s+K
waVqL0ItQDZgFKRCPqcJ7yKuEVtrBW5j2MbHdFf+ppniOocSpUh3LZAsbueZtVk6ZQVeY5kF1lTu
6OZPFT0W8Y/bh2PZQ85szBIppkrkOjew0e29g5gQ8rbaa4jkjCBDLn/8NYBOOOSZudnbpEvBr+VD
x2GU4lMLMKuW+pNVPkVmuTW1j768BhZc28PZ+TObjPlzHYMVaZtt33cmyIlyJd1YvGqY4AVVI1qT
tAEuPTE3ot4wgje/SD7ok5s3+0TZxC8UUZGwpsEN1KxLduX7dY36ZZ+ECwlYO2IblLEubctpl0fW
UPPce2g/ISAEXn/c5x+0XeGuW1vaThjsRVedeUpnXsfqy6mX0FviAPT1U+FF+7TtP/hlsL3tlktX
w7mZmefXcVxZqcrVoDnVBzX2jlmkfjOq4qmFtu62qaUVwXxGQ5kWopggudw+fwJQnbWEyBCcXJ/o
22FCMDL98v9nZb6gVOnsvsJK1Rhbv//ROvqubdeIpBdbG7aDGqdg871GrpRTFI5KAJjNLCY4I5O8
K/tDlZiCWFIavS+yAXGxLVcMe8iC2lo3+qba5KaSaYxQt+Z3w9MK/m9p/EVOgyrdlrlf9Ad9Iv5u
aEd2+bFsFbhuq9zxT7VNiWY/pVKxA7ngrGkMLnwZmmvUqxVa19eIey1I8j6UQJJM2qdYpow+/pga
a3f7wyxkB4LqW2byTcyTzgeiEidXAmvAiJEVRzmgJ5GOrbRReYUDkkY+TTrJYXi4bXQht2Kaj4ee
kP5Vrvi+28bIJNmjaWiVL2360xrWIFzXs4oC+312Nc7y67iKp0RVxNW4r05pt9WYqPM2PmrGB8GD
V37ot/0+fGi3gLRN/vdtmm1QFbi9zKUPeP4jZgk4OP4cr2eZTqTvIuWjIacudAIrVq6nnmdrnQVf
UPZDatesVW5inDmvn3NIeUor/xxX+o5T37q5DSeg2YTvrFL/iQDjP7gqI4xgcikW0DWf1xHVzOi1
qgZQiSDuS+gPH+Oqf5aVbH97Q68xCFyfZ3bmHNp+H2udV2HHejbvdDfdRftgy3P9QYgphfDjrlGz
LHa5zi3OHEkZpqZU+jek6mi7Tb6pSkYERfqTv1rH9M5/Ke7Nh/6LE8BKgfKv0IBZ+xGL1+v5j5g5
ktW2lp0G/AihwhE9dFsVmc4MhefwYL63Dv1DCQBorb+2tNk8Hpk4YoRF8MbMUqOh4c1S5xFnyKFB
nNab2i1h0vtptpCjWX8EkPQfMj7GGBVmjnioMAQ4u4w6a0BkOGY0ArDJ3WjAxWZHd1rkrfiRuG1m
TyJD0DtDGwa6+gpoVoxhkaadeBJVmt/uxiGAdUdTGvmHadV0p8YYBe+VY7oU82AwkDWDh4F2NS4m
J1XahRpvr7iqIdgtkm9FXqzUi0WqM1sXWCBLgOegF+AdcnmXq4EWN303MglkKoE76fRzTC3OjsbY
HIa0Ptl9vDHG/EmPqjW2poUtpX8gDicFfgo1s3MCHs0wfJ7lLvA3NBR/TYDJ66xGQusfunsXlmaH
QYniNhrFqKvXhi6i1nWILt1gb26HGrFV862ExUNjcozR/StIs1NJepJlrGcK2i9VMR0kjxdCab6f
zPwYGumH2+YWrgqgM/BOUfuE1XaO6ygq6l+TxLBOXHtbEzr4PtA347TWVFxwwgszs+dHnk1VVgfc
SJljfe+S8V2uMHF9eynX5AwmxLNcBEQM5qiuKnZjLpdxLPBvYTr9CNT0OEzFrwiSBj+QDlpb7INO
v08l89c4KCsHe2kbGRv+P6Rd2XbdOJL8lT71zh7uy5zpfiB5V+2SJct+4VHZMndwAxfw6yfgqm7f
C3IuSj1vVUeWktgSiczICJSWTACSFtha9CbqbeRg1cpkgkrWm5v3EO15lgxwbRZR9+XsjUiML4gH
h7gzwQELK+BksHyu/9y4G+VtOupbGqAjG1Mab2XdcCsHDI0XcB7cNfKq8/nZLqFWN1EoUwTMaEc/
HpM80LXhi5omr1rVSW/alf0PrVAD6EnQCIMYWTjPtLYHgItxypT9DDrfKwpgTBJ4v4Pk3yr9em89
wE8aL9VTcSO77lan1wAXJwfWLkWYLHRMQPADwFpqjXvsE99u7IfLS7i6TwBuVbn2JDgLhMkk2QCQ
sgkcI/PaLco2fke/tKWy+7gVXGIQdwIwE2AOwR0jsaDEY2uhhRZvAxQimcv8DDHo/8+KcKbtSrGH
eIYVp6p8VNf9AuH0nHz7uBVk0HB9gXcFHlEIMu2sodHUAEirxkmgsk8xJOkSCGRdtrK2yVGnwwWG
Jzb+Q9h1SeUAUMN3nQHhpS7u/AKySlVfw8F/3OGie45jcwEOXuI3snyIp27CceryMuWMtlMWJp0Z
vRrObEoQNiuRlAYeF9BMcsoRE6HH+dllasZ0ZUp555QaaNdA13S7asfzn5A0+NLf6VSahF/ucA77
5DxUABWiaUuYydyjUV+7CehGEmTqPOUAAHJgsD68vGBLN4H3G3pBgAQzQJEmdhQNTdU00KBGxAFu
odj7jKIDVCXdoFGALOwl4c3SMSCDC2EgHkIhnS2eJ0aMMhoS9Ib0NA0pgfLChzcFDOiAo0ONzeXe
53ydGoJiQ25jnWZvDmn12nVdmIBV9fKcrTzYYAY4bS6RiZSV2JWbG1FsEpCcBo1328ZN7HtjCgTm
FO+yuN4YWr2FArcC1H3+oBZZMFay0H51Ik8+gB/Dk8RxDXlWjyhogJmLMcQlgHqALJJfabI5H6Tg
/DowmedJOgDl/MrYpj0YIYhMtuYhBWnZPfmMhs8w2av7yQz1R8n86vj889gNpjlqDrckspFiSqvF
9ax1BUzT1xoirmhqg5pU7OvT1tnpobpHCvSyxaXbgkHesoTQDWsqOkckb/pMc3jTUvk+eHhKdO+V
2fqDlNucOwpxZCijoEEKFIz8XjlfuFidutxucNzMnapsWjQzJKEdakfF2oKdNJRXUNZGhk5qdCii
jAKvL6wiIy4zQWaBUMdjfgq966nc1+yW2f/B0TZBLc57WAFDFNu+5nlAuRX6tIFa7lmsQ4tL1uC5
5hARFCJFjQCRu/7zqaP6SDQbj0tAJfBKj63Qzq+t3pSd7dUV4vh0rtq3fMEi+J2sglaIsFM/BfM2
euDvjMfsRQvADv0s547VV1cIAS+Ee9CKBET3+biUNvP0hGJcNBzC4ZO6m4Fi2ORH6FdkdwNYn6Zj
el9CR8/ca5t2h6Qn81XfOuph/iQ79Gt+hdeb+dsTPFCi/ywHY1DqBN/i2MgUaOBUn2RgxZWCIjKi
YEQDUBVx2wIa6xRzklCCw91svCd4lhlBT5DGPpfiBelAaN3MAckPKLn9tWTM2j46sS+moBylnFrP
xVmfCnTfm5CNM3HzObIM5roZTCGKiTgY4nZNyywZzTTDK5cSv/PulGlflG+X3daqj+aqoyCrRE5i
AfCJU9VlSgR3wgLjm936zSO5MxW//mw/sVfvhoW6j271/C55prJX/EpOC3Ig0CcHuSP2ywLu02cp
6s/ohuD7NvU5C5QW5sfy2dmQ/QxZr/zVRCO5rBt3pVrEzeLZhh4m5CtEqrJkGurGsiMUwV7bgw2c
v/M4Q+eN03qRQCoXvbaKXFQQuXXwBS64elBIjYyuwgQbDrLPivtUzdUmgcBrXz8ODviUKANXr7dP
2iFsygGBQAE5jixs5yzwWllOY/VrEDchTOPgJxE14SC2n13UNoJcP5QQuCPZjT18k+ypNQeI3vKf
BGK4FMWmGdRfTLWCIFGgsauIDEfGrMDKwLzQVtdG/B6b2FMxRGkSB7ikx7nfd1Etibd12TfwAOEk
vokMowQ0GwMdA3unMHA/IOkQ0n33ivP0Jd/F185muGrBlqrdQAjhuQfsCwT6+8tTsTrdJzMheOYa
WMCcKJgJHbnTxHlXTDTUSGvyMivcJ5+Mda7hC0uuyVqg86/pXPiiFLRm+eb/Nxj+GSdm+rhr7TTi
VdYyfxrRk933dkDt7OGymbWnEkAiv7aPEJoOecFQkMSkqQ/pG26P4ov22budH4Yf7Uv9OO3Yvvws
McmjejGoAjkP8AxI9y3JlEDgkiOwijKAGrxvJmJFCvJQvzpUEJ4dvlw2tro1kRZDsZprDixAP2pd
R3bSYLnotm/9sgnGH+BHdrb9jRLEu/Rg3kXX7Wbe2FdGkIF84pYG9V8oKSzLfhpirV+fIUyzOymj
Wyd4gkDpaOvUlR+TwjdAg9KodtCZzB89GWR19eY+tSlEYGjYrhKHYOjZtVsHUx+YP4YDJA+3IJ6o
g/ZqCvJ7rfWVXfotO/Z7WZvdCtQDYwYSiff8Qy5ElC7wyto1Wg/OuNmULxbazo7FFgHSgWg7ZWfv
yS7ZXV7stdAMOTu8RLiorSlmMyA1VyEbwAdsQq2PfRkbb1uB79rQZHmT1ScliK5xjYOwEaA44XiO
5RBlcc9ZNJA3a0kTdO59n+60GkSK9QTRI0zxc6G/QxxJEvGu+Z9Ty8JO0ueZTUxDwBt14Iq1hgAM
NAEoioLLc7liBtk6BApAeiApKcZDxagM1CHIDNWW8do19u3Uj19nt5Pt0pUQFhEJIAS87xgILmGT
Du5gowDOe9/ZeD1p4xNTZcx6K03pnL4bzSoWAiB0mAqLVbizMhs1so/GXW775sO4YZsuAO0utOEe
jdbPHiH2KQ3O/w+z6BPXUPQCJZhwHxWzXsQNgVmEPtfZdx20XEpgh8aOvEFhd29flXcfb3TkI/1l
UricslHt4sQGEbmZjMfKNI5Wtb28L1bOmA58hAPaSDBiLlQteoKGcMNFf0zjslApHohX7ObkaU71
8LKhZW0N7xrwPSBmQyiH9/75BTi2up2iCIvDfIhR96X7cZvs9b3sCbW2z5F4ArSVp+0WnB1W15lu
EcExa432CbDUpyQrOh+Zt0+XhyOzI2SNsyhNu7FswKDddAdv6l5jkOu59SSL89fOE1r+gCzByx5B
oZBSK4xGpdA6BvBnAuWOAsa7VpWszJrz002EmtBHdR2OQDhfmixt0ljhUXZ2GK77Xbn7xq+SzK+l
Id1aeHJmSvB2gz52TVVgF3D+IN4ozHincBrkn9DFmGx4P8F/EEZyAQMoXXC/BO3S89HNkL1QgPLE
o3ouX4hTXlWa9i2zCwmGjzs2IQridyNyn+ARQhu6MIkpeN9Km5dE+mScH8u6yI6kNdKvkBKpkKhU
bZ/OyPl/fBdCcQc5eLAIAMInHKokygqrMDC21H2tknfK3pish2rt3J6a4Bv0JHA1wGFCoOCYBQ4a
KX2noY3fFw4ox/P6c+JUNw2BgIFCpmccRskZW/NNSJ5xChI43YVkSgU6GG2mOMstNR/7qXwCnHwT
Vew10sYPo/g09PCiygRdbPBziIlBzawo9VzEsKyMfDX+0eIy1tnLx1fLQfszJMU5mFtEWlqj5uZ4
PGeBZRXb0dO3RZ3uUWHbXjaz5jIc76fWMYqPiJ3OVwxQdoC2a06QZAHO3CrlNurRz3nZyJr/OzEi
tnmY8eAapBiyACqZz6XBniqg3MqWSE7VihkDNX2A38GRwbusz8diVHaSDJxqqq1Aqtag2QLAEt21
JaNZy6YYKIwhVWQhaFnEti36fWLPwNLoO+9O/9F+cv5QhDxWRhDdWYG+L977KxmR/nKDc3oRBLco
BWNbiGVUN26tSCkwIkgrA6sw4E0xB10/gCTanryD49RJLHlUr5qEVDeq7wioFyWaQa29ceDKx6qi
Ah7bRMWe0fwWkYHyFQ2Z4yyZWZk9/XwBG8sczHnGEFkNXgpUpv1pSOctEn8Qry4sGcJ+1Rw8DVYQ
+gQL2Emlz2avgVM0yGtvehlpbPp6X0RbCIujh6dKZA+HdXsgSELvL/hbxHAXLzLPrRsDVL5GYv+Y
VIveNFagTSwEEYDXS9z9qjWQPcFJ8XKJeBrUKHX6QgcUERRk3ksKSiQAqR0Sg4e9iMqbqrVlFC6r
FrlWNt+oMCuEHwodGAJ64C4LUvtm6e0jxciBkXTVcNQHGUXm8rSj14TrkSDFiMe9WA1lo+0ks5WR
4KrPjBeQnL9IQp3ls/3MgEiWqCgtupIgcRLUEWBcPeQFwx6YsjenmGiYGQy8jgBU/IDoRtZI1m7l
+YwiL8TjQKSFswccyvlJiHKvB+U0pnIMEqD5Q/XFuspQ0CsgVuUXs6/uZcna5WgBsQE6D44TAe7i
UduwsZkgGFcGPdR4THDVKMl3JX82neo4ZN3BKmUgtpXsMIaGRgYHgGtU2cRCXqURl2rQrg60+V6L
Hjznrssm3yXpRlXfCeQ05mjvjI8FfEGry2rpy90D40hNoIYI/7YgWCyI5UVmg+E201e9enIjE929
Moa+5eV6bkTwZ1mOt1RawYjz1F5HP/L9eFPt0pvhqACJDWGJ9gYJistX7drOORuYcAmyxiVZrw+A
lv8wf5hB+1Q+z7dT0A8o0QzPSihrslmGsudj5HNwEvKVXk+Rgoa9FLizwQg8xQzmst4SQqC28iYZ
3TJ9eG6NL+uJNd2aiiofYc0G5qwrSeAZoHEFJ0hvPnUqmO3g5BxrQpNWtC3t98vW15fTQ/UP+xUI
IyFd0YxgIGwdSIyaVDl6pRYU6PG7bGL9UCBB+i8b4lMxtbPetGDDvRk3zrbZxTtjN4a8vEYC2ZmX
WhPcTGUmxpTNsAaZyjdOM68EFFgBBx0cRzm0eiUfy1fv34MTKRag0Fi7BYM5665/mbYgz9vF2wzG
k3s4uG3xE2QNgQ0zTA9ITo7X7FA89B8OavARIFWFf3UAERLfXmWNzkG9xUd0Vep77HWIVd/xNqAr
ltwfq9vlxBC/Lk/2ah65tVG7UABkU+m7xX1qy150K2cP+RhULIFQAL5axLZ0NtIxVMMtEc/ZlxlY
iDTVg1rrNoPtHUBTK1ElWLkiePEQmU9guXEnCfu/7ew4MacJ8VJqPXTlEZWQTTyxzWiVYYe09lCx
3eXjsOKl0SsDVAmY6BwUuYX9qZRKl5qkxoYpXF+PwKA8PRbD4bKRFXY0hEk/KQpAFouoXnCZpd2O
Nqsh1qrsp62708FDC2oyJ0SP4jbe6F+0nXUkna/7kCoPp+MElra/0nmwsl+AjXPw6EO+UFtIkLXa
mINeHAWKWGPbSenDWfv41tch0IjZRB14mQHwrIEYcYyrh7bFcYbIe0c2lhEF0yBVxFsdDNC6OO3A
MS5Q/6CcyCDaBlPQAHmo3vI9QHgBMDtACAdo0A1TeeMG3wznSRW8yU5M8k86OW+4z+farGHS2+vH
4bq4J9fRDvCuu+F361E95Ifhrbmvj9WdXExn5Ul4blu4l0y40WhoYTu7JgdUIKE6cVW9K5t+q7+O
1/Z2+MoFpDzJg3ftsgc6CVpgiBTRPSIWPXrSafXsQYPafABTFb8uvI0FEQbeURtdyfnD11YVgFQu
U8Oh7WJYCnpavFArnMdYQRIGpe1c17ZAX9mN5B5cPiWQXwSkjOtoAKgkZhnRQtXPaYpHZz3m42Oj
J+a+6VT9qmoy2+9H++OMWQjVQT/AexBMwDMEFwAEtBelExizcjY7+5Hq8xZamKMkrF9xoPz1h8In
MLfeghxnHKyaFXhTBFVtXQ0GVilW93XW+ca8m7vBn2XajUv/CZwonptIbgPii0rO+ZGw8zGGIgJe
nHGkgAu6ANn9NH9BxlvWk7bcGADawqdAXgI8EQtmUq+YOqe3obusdpo6BHOjxq9K5MaPl1312niQ
4sGbHXUODEl4YUZlNo5ziTet1tWAxOejA0KDyjXf6RRTCbBhfUi/bAnB+6AbcWFmGFJnRXYVQu+7
+o48mqdKnPKqHd4PjDcsHs4iGq+M4rFilOFWhRYzDcs8gzIxrtVmc3nulkcKS2Sg+xSi5CubrzbZ
MNJ55q2J84YwZYJgFvGuWDSOhzlOEom51WGdmBOiHxDHpq1LMCxUerT7nijKYxpZlax/YXVHnJgR
djiZEHC2KswMva2g3WtMjiRj+bYhjaxatDoixCJIvakc7C1sPo2hI9lx8JqrCK2dcBgUdfZBHNdI
wqx1Ow5I69G8hqSbMKQ4H2qvLLFQbOzmVxq7beKXmZpN4eUNwf/O+X2JDYHE0L/scG91cl8WkzqM
cYepq8qjHoMiPq935YwxdWREJdtwJY+31XHBu+omwm6UWAQf21hZa6U15m/Eit2g12Ta5oaUun11
VGDZQ18UYo8FJAr59LQYTdzE4wAqOohbqH6NGv5G64yd7cRQwrab7MMFAcwkeOlBm+RCsl10sy2d
2kHjj7a5ZcnGKBGsmoUS+zGqO5KLcWW/80YvRFQuGioWGOGqt8a54lyzts32XkZv8rG5GhM0yl7e
HCt2EIa66IjHVl/m0iGMWWYVHcGuEo/OTlOc3k8oGLqnqP9x2dJK7MQj3l+m+L452YdtpkFCQOGs
GaF3Fxcgt033zQ5Bqg+YDJjqwTdd3ut+vZMh81ctI7ZwwcUARO8CQouz3GamA6E6WpGd00yJXxjl
Z2NyN3NW1H7l9U9NMt0N8UPLml0HQifFJc+5OXwnU3XL2VnCJpJcOyv710VCDFsSQfoSi+oA+eWV
BbBfA7kr6iJM0294cvmGOQR9LgGCr1RYLZf37qFvBWwUC6AH5K2KClo8IFa8cVu/vi+PUGyC7KnW
/NRo+SukHtoyCIJNDA3UEah+LoKgpGCpZbcpaCPmbOdaceipHZ78Kr2jbrt3yxZEBV3oKWo4RMTP
9Lsk1badCVX7adzEFna74xwau4bqtNJJ4osVgLeLLzM5yAHk/os4hoHB1kZbF5q/TdOfGQgNCtX3
9OkmnqyrhhpbxUVwP043bdNuPJo+xGl3xCvok+d9U4m3d+PvdZcBFNGlCFOTrdM0nyITrPMeSkP5
GPZlFeKNrfhDUkuc0Mpu5l0KCFgQh/H4Urg3CICglj0AklSkvvHdijfIHKNjN4g3SqCYV8ozsNq3
QKLfWZILS2pZuEmUVG9dL4Xl6Gv1EoPar0SVdwPRB7+9Vbd0w8LimD7JsleCi8JAgUDhIAQAHUBz
/PNxdOI3DC1VWqMFHSwz5tscuXxItGbToc2wlS+7KOHm4pZAO4wIGjsDzflijwsoEcsRunR6UJhe
mIzNZjJbSa5YOBUwgVecx08izjzezMLlODF7bttyYkGnV1fQOPncx+XGLKe3Sicv0YwES2vJyOmF
iPCnTUCG0GeFLDwiDSG7ohfg6oxJzYJcG2+Lbpr9WsUzEkVmSFuadiWZxeV6cTu8FMUx0QulEzqY
qeE25hRkQ+O7FWYxSYIBJDgfWyzgvHCCLAglAKcErL0QpkVjUhJ0trVBYgyxD1r/a80YJKslDkW0
oZ9fWeCRc4epgQ0QAFzp6LLO+vSTNniyW1jceD/tYIk4e4uB1JBwpNPKUHqTaW3Qls5VDP1yiLlL
VkXceNwEfDGQjDr+/qKYPYCGBvLQcxs0aXHTOtrBcpSdUrFuUxK601qEGRDAkRhdG9epUWH+Zjdh
6EuFUdAtPaZWtjeK6fHyNhCBStCROB+YcKI0iDeWzQwbbq4dGkZfHCN+UAc1zAmoDNA5XnRbw7uq
2Pygp/nTZeuyAfKfn/imIeqqSvf4rOZ702VBm8r4YlcteFCI5XpIwMrxLXpiIc3aBCgs1gL+mZIs
SKqo2mlR28k6noWs2s9p5ElREJMA7QIZmnM7IDdtimKq26CvCr9KbqKGHmtqHqiN3gKThX3bhdoo
a/JbO2Dws7wwj6YVRCbnVk3wqeaQbG2DIQVFOnnFfbopXVkJcm0OT60I91ZkaT2jI6xQVT0WILPy
B/AZ/Ad7/dSI4GWZaTGiJTCSdf2+LoZvTl5K4riVM8w5ED0bvboIZ8U6QJNmeluqVgNCi+redOPD
1NN2l4yVuq1040Gf0LpooCZ/eY+LGHO+NUzkLVDwR96cxx7ni+SAms3orQK8I+iGs4ujzfw68nXb
9xB1TPtvYNn7Vmr3yeznX/qn5PhBsB63j0ZJILDxokQSQfSOSWkUNNPcNjBnF03rQ1glt3HZ7i8P
U7wluRWUqUGehUsS0pHCVmRjUSpthTaierBuU0KPvRPfjq4BFnKnvrlsa+WwAVLEpdTAp4FIQ7i7
6kqtDB2sIQFUS8ygiVqflvEWEn0bY3Bucru8VWzluaWDLMJZOW+4Kw2kP5HYAEO9YDinBJC3JgXE
Uo97H7izl2FqU78qiy+XR7g2m7yfFgh93NELgGU7s5gNqQfHaJbHNK5easo+oSC3a4n5+nFTHtYN
AAOgsRZNqMDNIbsR6W2ARF44YVK7VNm76pOjHC4b4jvgJJGCfchTQhrfJpxfVsyKm+akOUXd9UHM
+qDokj3R36htHGIl3mi5rAdgOYMuWnaBsUG+Gu8oEQeWWEjAd07RB3Nl402Yac2xGSsKFUAjCS3F
KHaXR7fcGmf2xB5MkCfNzKR5H5DymmW3s75L0u+XTYgPCD6Dp2P6eZefXGYQOFO0NoGN0LpLH9t7
IyxQeXMgYp14QYZyURx+sPfgD5OAfqCuiN2x2PHa7JHWhvZyAG6qqyIb97EbbyTD4g5Q2BiAEeN9
jZw1XKUYYMfpGDtxlfagpUUCqtB2aN/Ykn7amxO56vUpTGPo5OE5AFeS3ahO/dDmyktWdZL5Xd5z
mF7OjQJnidBXJDxSMkNRVCXrgwysJd6c+GhvDi+PdXWXnJgQrtI2juYItB59oNnDF710f1dos3d0
IiM8WnrI86Hwn5/slMmcR2S+MKVo8cmYCWQiZLOGu84ewzz/AjDPkMuYf9dmD/kKTnAA2Q7kzs9N
ZiOuP6IpNNDyr9Bq2DteJzliEguGIMtr95WTajTGXmydJCwt526Y3SG4vELLIAGdDr+GYQguvp2K
vnE6GDEmunGjJEzAte/oxU2vfh3ZoUwzyfZfWyrwohi4NaGJt6C069u0j1jp0WDqNLz3Zr8hn2n6
mY5ugEo3WC+hBEltSfpMTGn9PNenVoWN2BmK1RVFRBGUaFuINXgQe0Xn2RA4O7T6fK96X671vLb5
kftFyxQ0l9wFTKGJppYoNkZqdWXlswztCUMxHwl0IyQx15rzP7HkCDslSvIpHxSXBvlsfJ5ya1/E
3hF37VXVj4fL+0UyKJGUqooSC6UIDColut+0z7lt+9Ykw+Cur9evuXP089Ol1fnsQmCDAkyN3EN8
BWoB4ASsm+ba9Y0NoNQ3Ms//f5jknDNIteBhLUR0CakMNigYWaztTJAahBDi/gwas1e3h3TbTgdl
gxz8tHrHQQSQkyBaK6wbzLYni0HUKDC/endTOH1qHrJw2rvX0LN9y+/jYHpO7z4o+P3HaTgxyvfT
ibtkFrOowxeRet6LpqdB4vS3UaNHUP+Oj4Xebj++aeApOdcsAAkLtrYschOHdj0N+rF6Bup/Q9wB
NJ5O+f2ynbVz4GnQUQOhGHoUxSDIyqcyGRVKwSlmKT618rAcO+LTbHwdOlfyvFpzz1yBFRwjoPxY
tIlNatObaMaAI+ufaHKjZJL8qezvCy6rB/F6z4AvDsro1u3v8vjl8mStnWSw8gPpyvvCFoi33oa0
EfYADWbtmz0Cb4f0bFbIFGTXR/HLirDVRg90B6SDlaRmm9KCz8A2uDyQlUAbhFS/TAgHV1dGamYz
/uzQUVJu+z7JVLgmBcIGNTGSh0SjyRfXYoaM2F02NmGFEnUyPZ1hbF7XPqe6+5C1dJS4dhHM8/Os
4n0JZIPFm8XFKM11k4ySscbZYb62nQ75V1Cs1L7DAtB7wRN6mT9/vzyhIuPuwqYwME2DFoWmwyYN
zaOKxlgGIOSueqgCL0iD6Cm+j/zxO32nu+iOsznJ0MNiNeiPD4ALBsUYeHwWIgelPdMmqbH3h215
W3yjZpBvogP9CUUle87ZZr01Q4CcuxfKYtZVJ4L2Kk6hgzYr8R6oUFhK0ZUJ2yOUM9OH1jM2VVv7
iiGLvVavHNSU/m1KmGddHahNkK4I4rcpBB6H3YCgK4xvTF95oLMff1PCj5ZH+Jvq1KQQtkLzq6mR
vIAmhkUDVNda9StB2HV5A62v36+BmUJAMttDpEQQ9wrsmyHsXiI3KOtd1m/Uxi9vKLiLPTeYoeli
7BQ3mHb63n68/AWSRRTT/fEwok8jxwdoZvl73+ZNoLUZ9UvbI8BnE2t72ZxIuMo3LLo2eXOGa6HX
Rcy1pWMxj3WHG7XTKssHFB09QyOBR6q/l0ObBt3cxKHB5npbR4md+GZWyyp9K/5cR74P+RoOYEYW
4PxSh4axU5IYaOKseZjp5BNkZfXfL49zxePBBkhdIXJuIKIVXC36MrSxRYcSeDHwIiHPkSnLi66N
AmUHZO6Qt1zWaZipgOUXrTSBQ3nVwbbvKPHAej30WvjxsXiQxkLdGQNasFhNLBvinAwUuRk33ulF
TY5NXsvAfWszBlwLAItwZTbyoeer0tbTrCRAcIGTQfMnTfGVSOKtV7a6fmpBP7egksKlhFvw0uxT
HKHapGv6PQod1E8MmTb76vKcDEdI7iY6i1vTwF1LWidUmQkwRuzjpG8ur43YgvDzPCEHAx4IFNzh
sPh3nESoUPjIaVniah22yB872xk61E0IAjxQnv+FtM9KWcjlOZ9/2+OTfGIvn1lnmwPsjQU4/Apg
5isoI4GSfKoHf1JBGjt/jYAEqYvWh2CjJIJZ3SQn1oVj1WgpcIUWrPf2l9n45OafLk/n6qqBbwXz
yPNNomtwa22umxicpxP6vLZ6+oLji7K/U7SSdVsxBJF2RMQW8GNg1xS2R0UqZaYaQcw6lgzUbMbz
qDU3pda+XR7QyoQB0AANJGQ6jWWfVllNxWSX8AuAGh/Lpr5zZlkxdyVPAbAxumpRB+cVY2EH5rXK
lGqGCY9+JsOL3b4oFIVj8q2NhxCZfz+PSsnsrYwKJrkcB0I9AFkFXzG6LE+VDCaRPbkxmbOzY1nI
sbJApgFUBFTIUENboAjdnOZpacbIC1cQJWy8QE16yM3IKrnrZtBiCt4RjiUU9oFluIU6dArqPWpf
Xg+oh+/SpnbvQEqWhh/eCggRNV7rAfBjgewj6LiyMlRWQeL2e61/mmrJ1b46lJO/L7jXguWFbfN9
AEJYRE1tnkAxrVJB8Vy8Xh7JiiNHlwk6z3G1os4ttrV07eiQsUJVrnb16IAuoUNdFHRL7PxH0Xgf
D5BM9OJyJQTsNyQxzx2eybx4tgkvAQ67klwTlAkdRw0jTXJS16bvxI6YxIzdqLYIeJ6DGFy6+340
n+xoAguDlu8vz97yoYSWEmQYINcD0Aof2/mIVNCPuHM0NgD+RCErHLyLKpUFJO5mXy/1t6og/Qa4
dwevafXai7MHM6n3I8iOQjfqJVCQxVHGh6BghsgeCQLUgQSPHjUtQ5K/gxyJ0/Q3Rt3/TpPW3F0e
8mLDwFUgnOfMjeBqX0BntGHMCFC5dWCn0HJPJnfPwBGS9KAYVaV13YU//GkMOHE06YBQS9wwpWW0
FFJ3ddAX3q7VpyvdGcCpl7EfU2PdezUyCFNq4skYF7p/eZyLPQSOcBMcHuByRVMuanbnK5sZg9rb
RkGCVKn9CYQUivHJkbJo8b9yVpZxeM+/A7IQ9FmhbYZ/xUkIMNuz5Y0dOsfTEnoy/XwLjOjvkC/c
JHldA3GYsY/e+tygCeeoI4OEjj3BSVZ2ZKplE6E7YgDPJIBewLVqleRYrMwdjAAEgPcJ4CAiCXmm
Vugq6WBkHt3c18h0Q6j12g3t58trtNzwyICh0QGJCtAYLGQfSATYhjs5aHXS9B3Nst+NzHj6uAmU
eVB1V1E8A3/w+QKVrlV3SQwEfN2VKLPX3hOplUJynSzPFNf5cgDcBnQPLDyCka4sZqNN8BZXylnb
9GV/1If2ufCKx6LXJNjMlbUBSy9id1RBAM8Qj5RrJ2VM6xQboOyuGgX9g3mW+DolH7bDFwZ97Zx7
T0ci6XziXAXur1IgZdcX5lNC1M3sfDFd9Ll+dH0MIC65f0BGEbMnXClj6bg0tgzwSWjEVydvA+ER
yWW83GXIBoG//2e3Isddno+k6ruC6QRMd0mtPjsTWA+cQfbEWQJYAB7lj3iwKKMasHjL52gY7BQX
RC7tpH4Zx/JgJd27acHzaeULG7KrHHyq2ax9NtncbgoS3ztatmVOvPWsybeM5noum7uMFOmDnpE3
ALEke3QxCxAxQKcyX0/w5yywJ7rG8qFkNAtKZAEJvWaxTPxw4QthAdVeDqJB6hEzcT7P/exYVE3A
sUWMtNwZChqdehqqmXacNCMFkeL04cAUtySfa1ReeHuGeBaULLPtsW4ylCTifdpFYKcdA6k4jUjA
BygU4Go4Dbw52lr2gZS10+dznGaB+1xft9cMgipFOFzVVyANSA/Jvrwrnp3vl8/F4pjz86CB1wsQ
HlQCRUDSkNfdrHtZGkxe5KeD6dt9E6o4Jz/N/Ne36b/j9+r+j6uq++f/4P+/VTVr0zihwv/+8yb9
Bhaj6gf9H/5r//5n57/0z7v6nTzR9v2d3rzV4r88+0X8/T/th2/07ex/NoSmlD307y17fO/6gv40
gi/l//Kv/vBv7z//yidWv//jt29VTyj/a9BfJb/9+aPD93/8horOyYzzv//nD2/fSvzezRsDtdb7
4jfe3zr6j99M6+9IzGGt0V3Jyaa5YOX4/udPgFBDIdrmcpXc2//2N1K1NPnHb4qm/533s4KgmgOT
wQmAL+iq/o+fGX/nvTY6YJao3KFXyvntX2M/W6Vfq/Y30pf3FVBg3T9+M863B65lHWTYuDHxMEfy
DhHd+VnTHKVqqsR2fa/St1bz2SI5gNaNc3CrfE+HfPBrjz0OY/GSmVMDuaOA5s3sF+WI6uiXsUxL
39d1f1TsY98AvApy05jtmEG3Op5dqJQdcc1ovtYA4UGeQX0CBH5e/khY9oCH6LXZZVepWz9UzkNq
999OFuLPwZ4NjmewfwVVfHDoC8Ycovj3k4CV//wkqKJRAS7taIRavMb2g3oPNu4QUc91kmYPETG2
8awHcwh+xZDEkNlov7J4fkqU5lOZ10ezzZ6V0dlPfRSWSbFDp/M1OihodK9Neui6I7AX2a61njz9
ylG0gBbbNCFbI9FDQy3ujLq77/rqyKgXAuPgO9WPtLL/OHVnh+50hOdh8Z8DRH8mSIegPKFa2F2n
A0SZKY4hVeL62tRuMj29T5hzsJ3+hhnekaTmri6q+2mSIl4Eec0/DAPnCO8McnO8fAQXHQ2mVndT
7fkaJKDidqdRctV20dU4QU9keJl5uGx2QVWBe3vuUK5Xr9QyRoNdsktcy9fH9qgXWuD2t6M5hHnz
dHnlbZ7iF1ceqAcQk0GfC7wQ/BI7WfnJcxCr5dTzK6ffWN302hC2K9XjiFqpxdj15BhXkz3dqlMJ
lphki2rCjdPlO7X9rg/ajg3xpproMetfwU64T1mx6yv7MBr9a06bVytOHzCqOVJaP1GjfY3cTGYc
1Mz0ndr41DDvFv3AYOzqfa2mX/Se5CHrp2OTKJ81XOHd/zJ3XU2RI2v2F+muXGZKr7Lli4LCviiA
Bnkp5VLm1+8Rc3cuCILa2aeNGBMz3U1KSveZY5LEVxvJiXIQzBp9I1S2HVRoq+wmNnjyoeTaNRJN
YJvDyENm8qzG+X2d58eEGABUM6/NM0uX+gMaKkc5fvz94+ns6xX/1+xCRlPBqTU3/ZYXsGzk0lSk
vQlcVnVAs/7EIuz7iG2ktNurCszA9JdO1k+SiG9Vs3hNouDJHPWHsBdHJbS1kp9zObolskfItJ5k
5kyRsmtT9aUNoZnaxnYdEFxCoVdT/SltFD9uPCPTVwHk47KosxKZu6FBvBaS5mgtbPUhdrNWuC2N
zrLi5BDY6RpEIHXocHM6R1Q8J2l0K5R8qxOnGRikdPtmpUqmEyYmWiLZdKZlsi4gU5XJ0qPRGV5Y
vph97tQK25eR2PdV6cqwUWkSfhjybNPQ+CbFUgUN0Cc7OWQrKvOdqRew5InWefgohTGwNeohDfhV
gDGulZL+ITWFU8rkDBwq2gnxEAs4baAc5L5bV6VYmxBNB6O/k8nRkEsfxiobmog1bY1NQpUXkBvx
3/BPHIcVK2QbrCyfN/u+745xQ+ESEHvVA6vFtolKr0yivVAav2+bfTPJtpZQGxxUpyUIMIJyV8bj
tpBMvw11V59Kz0vM2AkVDs59tYmUBpXlyhkYtPpicwVf960Rj8dEhdwVcEJhh3Zrq6zf0Fnaa0l9
iPXE7yPVAuxytFqUFaTYeFar4Nm0tKLYtyw+SZG6G9T8vtOMbYLObAPsSlSWiNqoLfXKrqyMbTZI
rhakvih6Nw/rDZjebpY1Kykoj4Am3lZ16pjZbhDdBlq7Tp5Uqz4M3VDXvLe8K68SmcDehK1BOb1L
aPhedGwVZNc6J56l9MZZFeVVQOqbZND9YOI3jEJgXNN9JqbMEkQ+BdCVBCTdkqTkDxN0HeH8YWbq
og9wbql+Xyu3IddPOZH9cDL8dIj+0I7446h4oHyjbJ3vJuhZWYD4nquKHJJ6QBow7PiU/pFY9TAN
gTtBrXecT13WQLSVrUVz3+n0oAfdnijFU6Pyq3LMd5BsPKiynZbhOnngrqJgjUjo3WmWZEJazewT
K2n1weqw41mFCVVg+VOVN7S3onryx5weEtAR9SnfKdItzL5spTXOeh2/tEFxU00Qdq+JnxbjXdao
jYXP6+mdtgrK3JWkwWmm3IK51V076quyyl8kJlvoi2EjVjeplrlhF72oenXKI2kFYNx5MOOXJJAt
uHCBZpi8yAk9VGoBf5DgOQyMM6eoNRHJJaNyqiteWSZpDmEETAStV8LAOZyiUMqzyM+N8qY2tEMf
BpuJprfiue+wHudiUlExdzBTp8siSxqrg4wOz2S+06p6Qxp5UxX9XSHBkauH4C8ykMYyhgT79syl
9Lrf0lR6GWJMbq2fkJ/tuqzfNxE7kLq6aXL9rn4DeAf+JrWqWP02NA466utGbJ7SpHXiqEUNJLcE
dLKtrKgeyjj6E5WIboogvU1I3XksF6uA8W1PjHOoxSg+aalTQuQoDNhK1surrOndOla2Is6eyijb
0ZIc8thqUrKui/JG65Bih6p8l47BOTdVX864XzK+lvTOcJg+osczhxI64qxkUmGLosrvBsysvagp
XgJYCToIW+KpKpyAjqodZcYWSPNZ1taQ3KooQug4OhCWLCzBYBGVdJUlTxMsLhRXNrKbuqlXiTnm
VqPqJ1Vmh1JN3gEg92ROz0OjWi0nL1Ij1j0cQqSW2epUaFaSShs5kzbqgBPGMMzSjh2lSe5Qy/I7
o1+VhWyFZY/C2PWEflnCII8JHeEyELZW85tMv29Yshumej9waduXmQOe/CaAJr6I2ztdyVckFGtV
ie/RwDmKzgwtXY2sVEeFbzDuxyJ41+PKaVkFOISyb4LQTfaDUl7zsHJVuR6t/JnGGcJV6aiM5Rk8
Blei9RaYicQaFeL0RnyotdSdJtPNherJYHfFfYVjDJ2BKD7JMXytskcUeFZDiz2myhuzhyWOnIAI
JlaTBtYIyU6zXqQCsx+hdHbVKDuSR3seGysRpOtY9QOUJqkJ1bIPs9jhrGb0KuigFI574Pcb+kNu
YRneIHGYFToMNFOMRWCb8wTF1wy2zFkiQ3f/zugNJxDHQhtRyZscdeBAfMpWR0NLhv6d0bp9e9Ll
l146601k8xD5zH/9nXB9ySv+TuuW2d+5zPHXMqH7kgj+7xJE/62cU6tm+aP+H+aGKH5/mrlvueHN
2/gavWXZW/M5Pfz4Q3+lh4T+C26D8OKBJRmaLigv/50e4ldA9UYKCO4Uugpz2ex/0kPtX3OjAUE/
TJ7xD5BKP6WH8r/QRUWVErEbiieoVP6j9PBrJAjyCEoi5lyQRhEBxJhlnN/GSaxrec5tRb7HRj0W
QT6BSR2dldx8ojIIQFCfuZWnnFpDUlEn6swnGbG3NRbVjg0w8OxLdd1J/dbItBMCS/1QNMG+xkWg
8Gs2MsMqpRxcdC1/io1xHVSlNwzyzaRLT8rQ3aMkueIMvgQqfmaipnf1yC/kUMvuO3rSs984iqDA
UUKpe1l6H5Ma3SEJ6vFGl7qtnFx1Q7sC58ivEJaHYbZGoGw1RH9ElulU6iXMiTan2P/ZzHNPXIcT
JARwQKqA4MNS5ymZasrzPg5t9OBrawjKm4Kk61IqD6kZrtHQ2LR94gmCbDk27VKDIbrOXaOnPi/J
Y5WpW7PDBw8VO8qbcxjyrZqto6Lz4dTznBTR0yzfYPGu2QdsfG+azB1HIHvN6gG6iB6A4oewinIL
0B6XRiNElE2rjt4/rft/nw+fE9WPl/j6kihpo8CGhhaqh9/Ks3FbQutngGubWiOi68nzUCmh1VAe
OFXPwocogjduA0+qcJicKY/8aSjdTpxLKjtTT5wMBlK6ZENdZaWCmA5VcI5VYwgrn7jbRDrssghw
lwW30wTyuKw8xNr40LParzjzAuPEq4cs/qO2/5D8gdlD5QRbY/ZsAHJoiRVJayWJldmOLuuTPR/N
W2rGPhIHp9RQIclkB0qgOy0TF6rqX0sb86IBcAj7EqWbWaZ2WbGkkOeHOmSb2jTZCHKnhhE24AQf
6tvOrJ3cvMRg/9BDX0zg5wGXrdSyCEOZ1hiw7oij0va1UDtfM14AlXwbc1zfKdIWSGNbSkhWercX
OfxmqyI8KYNUuW3AHZErDiG9E5DYymXTAXQWqgLRKmPlnzTKudWgmNR2rVf1rcMACwRu2Aqr1lEM
7uZjeiubIeTgte5qGh+Skm8Ms/d41V9VErNJHrrTIHvw2Y0tKdN9IshzlnQvkTCPXCl9OYYADkQ8
SEadQBouHCLf9/CX6VgSWRgMNFD8xddB0KmCbNRlazrqftv9Y22pr/OuLSo+RRgEqQ7Bc3RtXlDa
c8wJ3sj0UgV+eezPqwv+29irYFh/t1FnmVG2iQ43oQAljDmRKc3T7wfCsmH+sYDRlZtlfFDm/4bK
H8Oy7OGnAvlFV/G42JgcxIPpeoDzH8KV0vhfaL0uEa//HhOVMhAB5j27aK/VgZxN0Cn6y4Y5KPwP
/47UFSsJzkUObd0YGAt0Wy8sjkU/42NYnH0owKPwDxTUYtgJ9d9mjPA1YzFZca49hgaqAnKNMg6a
2emF5v8SvYbhcJmhR4m/wcT/xnGCcLwZ92Dgg200OMSD8omvQqTb9EtPWleXuE1fS5AfiK4voy1C
0akWPBQlRlOGewNxZ82424sTpYe4DvaU3UpITyr9T53pyGY6LyFsn+tky8xxVeUdTFIh2jjV0raI
itXva+xrbfv7oy1agqYRSaPW4dEkvkdogw4ad83y+vdBvu/8z18bzeGvlcZQtFLVD/PXbnB5A1yr
IGMl6lOhXlLFuDCxYPcuhkrDBqEEhiIjopC2CZByFexWo5M79H/YgPL1lgWVA9dvi/T1TRtn3u8v
e/ERFsePHsjAYajz22bpFsWDW30uiU9Y1tJaSreaCfJ0dJIpyt5QUuYXvvUPodrc9mBoGwCNoX8z
E0qbjkTahOGzdbya1ecDp7VGT3PF2yUi/6LE/e/V82msxauGRpk1jI0xVK+V1/SQX6tuUMFlNnK0
vcYsHPWgAquoalrsTYeRNVn//q2/nxpf31X7OttVDAXglGD8xAgTzDZMASHiWhjqLYO/Rpwp1u/j
LbuTf50bULGEOuGM11h20EXQ6hWbMGDj6vDpgvTWzAcoVpovw+mqW9NV7F0iBHw/krFjIJgEuQYA
EZAHzXv4U6GeF7B/UPUYnMg+9Yt8eKGtfgWvBmgMKpHda8ntWErWEJs3nTEh9R5xjYPqBX8nqd9n
/CIP79uZgWAOuRWEK2RA4dCm/fo8faSoQ8AgKheU2XUCtwpUQ8GO6DNvgowjRBdW1Kg8WeFgnPNt
UeR+U8qrnBdunBIU9C8BQT/gEV/iLnB8YZ4FWz9cyBB9WiyDJu9pjKZrZDO5dfUOZTXgER06GHAU
5bYItFUz6W6gccgy5FBmK7xavpZUHLYZWQlJskfDtFkOx2cZvTlRb0RW+6D2roOhP2ZdfBMrqZXK
pv/7avq2emdqMlzMMLXQ8AHG7+t3HCFwM4YEYkpToVu6eIREbiA5anirFf/4UIDxF5JhyN8DlgA1
0cVQlURo1bAQVgJDd5jizG9Hya5FdUXMR7OOrgbWuFFS+qTRr+T8Iuj4+4oBHgT2Vah26ZAdWeJb
4irKVKXqJUuuybaNc49pyE+yPD7FM8dR0tHOIV7cyA4zSgH8dukhjoa9mwrKse4ih7fbQLqtNAO1
vecse2wGDf6tjd2bupVmEDlMZJSqCmYp9aoh4ZUxwbu8k/ZN0Tk6amR59pDITwG7VVgOUbd7NXmN
lcEuYbJrVLgnal8Qw4L6pSc0l7W3EgpvYeonaGlUw7Ev9XM07CUmrGYcnGzE7wW48IKIyA/7HIIo
wAGBGYlW5TdMB7j4clzKnWQFwejoxeQY5AEiVUCzqA7w1I4xXHUqDFeTessGYO4pddOC7LriEsHq
e+CJ5fL5SRbnehrWKoBVeBIgPNCrtCK78xMHpoiQF2QwOfP/+U2yGHGxhc1BqGHTYMQ5ICtip4Hn
4wAFUJveQQrcC9bFSj9Kp+Eu2Xb1Jizs1LukE7uEFWGFzoI0+BdFjgpZ5MW5NoVqVoCBLlkGg6d4
rKKCCzHQFAg2k+BGk6+C5KgEt6g5H5JcP5ty72dN7mqVfpPLbxELPOhPW42R+1QynN/Pim8hJITs
AN5CugHKHRQOFzMCD6dCyMIEZzaU1tPUHRIGldQEDUTKXJn3R8I7W20H9/dhv0VuGBa8TRTXZABZ
vyFjIiMBUQsdA7TmNWgRJVYOM26oHlhmeCFZ/+GIQPtoVjgGgPW7TVYjsqIQOUaKxpu474FB6K1U
u2QB99PKhnHfbE8ImU64OS3meCzLELrnZghPQrmBxFjwHEwnJtDHQG9hRFsxaNpn+L+4Sg3IUT8d
tTZ7gEjTBerwd+8CE/cmngL9sPnKWuY7ETHGnEtzlDaYZ+BS3EbbFGbklxQOnWjbjh2sCnTu1Slz
dKh/iOm64m9jc9vFMVAiXbTJ4xSZPFrJEYXk5aShJ5afsw4gjGHCAgxvf18JP3y5r0+8SGLSURma
AScUrI1gDL/T7ZjZiVevUoCyegnGABfjnm/1m8U3WuQmgtRTXLXKXyNizfV3isWPYgu7r1cJdP/Y
a320ZfDvS55tl172AzvxKeTKSaeH9YihdT9eoQ7bWp1f+mjR2dU6c2ngaBcWxJKQOZ86iKVmBYzZ
dhap6ddgoGIsQjMaQR4QmnaGOElArn+EtmMVoY22TtSXOC08dFG3pOmuINx+aGPxHMSVz4j5UJj1
AZ6ooDPqF0Je7fvJMz8YACKI9ACoWFL2R86jNmYBJB+DAUsTZd5R2w0UaI2hcwpZOCP6zyQar1JJ
eAGQPRkIz2EP6SYAFuhonIh2pAz6YuYdfGtsTW0tvTlPQAy0pU2Z3yeQGWXM7cLgPmEw2YY1QUD6
VR3J6ywKHKqNx1oL7Ty5hvCkRYvSaerruH//fX1/P39mRYl5S4JKggt4kaOySZY4z0F5HY1uLZHM
oRHkfYJLZJifVtZ8ucygtLlxsQzmNYBXYbugRXYSWwCqOPw4reY8iVMw52r7smCS8nGWfA2PP9QW
gBeFc+msvfZ1aUlFQbVgwpAwMbAGtV5BQhw2jiPYjsOOqNqWN1DhkUY3AEyVis7SKtkamOQNWoAQ
uQR/kIeAokD3CDoiUZE7aGPAhwSMBukRHmFuWR4EOQ7sbjAQVdIT05M9VPN8gnZly409T7JN1mbH
pmfrghA3AF0vxrSX02gJKNzW8JHPJz8Oktwa0XGvWwVnf4wOseRkAg4cau7DucIq4+ZRl5vXvjQ8
Gr833SNt6Uo1KmdSR6eaBOAC8Z/SCKxCGgGniL1mMq241bZJVBdWFcunWlfe2gRYQNRQ6yCwkDj4
YOVaeSSfSkng2nkFTs6uFd2pcb+rZrlK5rNVj4EhUM7or1+3KbH1RHdYPa0CgpukOfJcvZoM6SFH
gTfqDDcK70DyvgaI3YP31FogKQ4Utpr4FW0mJ1WTfUx7myJnTTMoOxUFYvHXDL8LUiMOZMJ2GTqU
OefHnPwxBXGnGk1K4ItSVsD4THXhSIhXDp1CeRkUP4G1T0AeBtG7QV0/96Z6HCfpRQ/TAzcQAGd0
tHOz72wGfk2lSoeWSle0RD0PkCnYHZ3laS+N6coEVU+dm9Rh2u5FA41ICvh23rhaXW1HHSVzrgGg
UD4H3eAIPdxHFM2IWiJ+CCTJBFiArGQXjp8fTh8cPCjS4coGnJrOVdhPB7HK0ioVOk6fDI7Syir1
Z0fp+mL8+dO2/DLOIi5gaCXpdW1GSOx7QI47PwUK2EEKfYaCud2/XHL4+Om8RzwF01Ng5GV0exYZ
GTVYVkYSi6Dg0LuAVNm8sOLUTYEhs/GpVXhs9SsNTT9bZpC1uWT088PdiuHB/5ORa6BctIgnuap3
fScRjAV7zkHVd2VAuT3iltVS6qAIG1tJU1/IcL4biQFD+3nUxUnEiOBVB9yhPTwopZUexrvOF1sJ
l2t7D/cRCGbAXA+Gado6AB7WHnfdTeFfenX1e9799SkWayrGbTYlE54CeAQ/rC11060qTDtuetSu
2m28Efcw/e6dcQc35NFp/cJPfHhTvMz2UdKFeuG3PsLimyxWXgnnqBLQmMimBhpzteTwi3f497LV
Yow5zP+0i2SusAaUHRSLbH2jYnXH0BafVnyFigMs40Cf8S9ViT6qQItbBySNuVCGcgNYJ4voraL1
OPQSdm5Oid2jt5V1jU8z1S4b0ybiJgsTZwQitr2JgtwZ03aV5C8R5Aqk0libobGXTbeFdKzK7qvC
9JvxxZggjQ4uzmwsEPbWYGK6CDx8YcbaqbIv5bXpCClwIgZZqKqRXLV50LQI+LQbLUfUETXXo/aq
j7Ab7EEPlXsvQYxv3hEUivj0pKM/qCR/CJoOPNF9TTmr+bqXd31tVLbcKTdR2dmzmpbKzU2pZys1
Kq0sLvdQQ7C6/l3rhrMxsevf45Kf5+4/33FpZ6p3iVDMWJoPCu21XQOb9gj81ytohDgHUTjKX7h/
MfSeT59fJs9cnE5GCOmhWv9YMLKd/OHesIp31VqcLof56nzULMdCQisbYMsAiawuEoveDMYefFEE
mB50+u87CHvJt8OKcgjAJd5cdCA1DoMapi1vsZPZ+t48XzqOf7pmUF5FlXV2bQUL7+sGadpeVITg
GcZ8VdbRgxGHVs87l03JJjLOlaE4rNdWF6b2p0N4lrdAZXdOSj9C70/bUtILQ5E4vvIAwC5c+hyt
nG4Rzli1oa4ikv4h6hqwBws0fUuDTulAA08JVOgDjI4hddgF+alnJRQU8/sLj/bTqfTp0Zb6MG0+
8qZoAZds3MGZhI2rd2/O5fwSJ0aIprUFm+VLTcCl1tqcBIGN8PcHWbLHICk3yE2GtR7tqD/tmtOw
IgcjcYSFFNcm9vQGp1ls04vr/cc1iM4jhPzB9UMB4uv8V5FiDJBcnl838OXQDp/0tY52YHeGUDcU
Bv6xAdz8ogbMQrCoKBBqi+sXyzBQh26u3iOZRosVlWdr7tN0jmaHr8A7XmpB/pDeYMCZiEBA1TX1
xc3bMNqLocWAIFzLtnyH/MNhAbSi6vf52k1fi03oXaK2/nh2fR51cdPm7SDzZCjRn1mDlCYFVgko
qA3Zc90Kz5PLnjvQRLHqveFCOv1TfWXufxkwKgF2iX50rj5trbzQ64xl6FHQU3FVucKZHOSeW6av
VReXnzuvp8CJEXNMbly7zRn6Z6kF2G1rXdhJPy0tUARgDKkBMAD28telpZChBDkLSwsOnahqi1UG
CEdWHCeyyfPAG1H4gVKBpaByQ+PBN6R8/fsT/HS2fX6AxSRIsSaLikI8P29eUHtwUtK4ALP5mVpa
cY2DvTStrjSd30f9acF9HnUR1kQiMNt6UnH965sgOjTMj+sLi5r8dEhBI2NW3Z65kEvpnpal4PaE
Q2SXaNUgnzFCOKYEr6LZm+KNQ1g/qdVVq7ZOPS+9ka1SDayL7r0diAMNfDuNAhfcDgd6t2uhvTbq
WmvCtdTBM7Q6Cy22Y7Jj+LkQGrnKpMpqpnujNRAZvE4KAOhUOk/A7w7A7ETlyUwfSAMBK7VCGnQI
wXxAs8MyI7GeuGqNceQWCXE7WlgKA0OeFfU24MJtygoRUbuBDvr/aeWhj4B+D1Snv7lMVjor8oR2
fx1qjdXtS1tYykn1Sg9XzePv8/3jXKCUifotm7sXi4gBDa5GgfkjmlnTu1rtY3Tffx/gxxQNxQtI
18ho8RkfjJxPW7oSUZkAZoG249PsdoKuQOTAdBiiuBaxBTave+la+OF+RtMKBRV0OnUAiRdrGIBT
PsQc64sGV7CaBPieWHWzVXi+Rmd1CPmFPfO9dw8kKRIyaBt82OMsG5nS0IIdSQVCIf1tLEJH1a6m
YFxXMHGvSOUEfXnkZgFXK9kTcXfhnPhhBr8MPv/6p+9LxUBjrmG50PQm6nHLo1V2YQp/OAtBofzw
PkbGC9TU1yFkPU7A20aGOwOawPfbVreS/apt6k39dqmd88MBBHwvRT8HxN6ZV/p1LAhNBnFPqsg2
ysai/SOsXuyS1PaFV/pxmBkbO8sewG5ose4bI5PqMC/w1QQCt6QIULydIzaUZGAxpY2FRfN6XRNQ
NkS7YVPlKnLq9hS8EkN1R6U6//5A358H9in4yJoOtCU6rYtIpuGxHAQEhQy5vgvbYzfdmN2lNH6u
hX6N2L+OsYjYBw6sJTUjnHA+vAAPM5HRhZetkx2uxJbZwu29wRW+vJLO+UXXqu+bch4c+nbwzUbw
tOwll4Naql2FyoVCB0vw1NeS1p3M0DXI4Jhpf4rk4vb3b/pDXDqPCQQ6IjWIcy2FQIowCvRxzBEt
oTsJBeADtYsb43H2Xc/RdoNnbwPIhWQpF7bkT5OJnhjeFAHEd+vFosnNUqR41xFIXiN8FwHIduEl
LbfvGx9iMWh+Ii4EtEX/YFJ82vjp2IpuJHg7jvJPqLwBlXtp48/503LFfB5isWK42fVqZGBV9nbv
KtJet6FrBNAq0rvBhqUP34a2vGrgfHxpf85HyreRUXAHfxynGyA7X4+BqBdJW6vzyBsw1Vbkvm0t
9YYioQQY4k3SrEuFj6XSJJKYGTo5a1OgzEQRA30dkQddwJUQWV0Le5Vhraz4dvSoF50uiUT/8FEh
1oybELhJ9GfZ4oSLgNrWUo6kVYVUWJkfmhjFEw66F7mw4b8XzPBG4Ekg1EIhB6ZCX9+ITsAyTz0G
irPWMdHsY0HsKkgfEoU6CaSjLmy3+cEXc/ZlvMVqoSWu4qbGspfaxCv4sJKYYg8S98K4sItmuiVx
ZZuAf+TjVcRrEJl6Dyx5O0n1+6kvLPJhmUCuU03cQ/XR/f3xfv7s//kai89OG5GWXMXT9aOERsO5
AtxKlY4jO/0+DkC+378DNA9nR1QspZl68fW7D10YR2M5b8xRXUlK63Qh2Np9+pwDHJJTaH0EFQLe
vZIVf9q2Xbddb2UtWI2tl+oSvBnfEb2sQVC2NDY5JhiZdZq5XTFZkPe3VGFYbGZ8Zt1VOIV2E5aQ
/N8Fo+FXab5Les1mzOdkb/LAVsxqaxSqPSYAYkQQ4TCSI27FnVBKu+nEhpPcjxWyKcgRi8XPc7SR
4jx/igbqJgX442xGEN+2gGPXFXi/UepRIqC1Kh0bgVZMWmZ2YlY7Ak60yYtTFpwrlNVYBX6lWqSW
WvB1pZknQ7zGXXaj5+cR185kMj+NJr9Bf3BAFyc1M78EaHbCCcZ1kMlZD7IgyoVoCSUxRVc9X2Xp
KU1bC8ZZTlGuEbf6kh53llzB95U01oh0Y63S4jqJuS9pIzDq3BJl70nJ4AbT5KI+40Gd4kk2sw0f
Bqfu/Ta6mkK+mcrhbgqpY+hn0aLflAXHlKGB2QtHkATAEGHBZ9biQGkUwBeZobzWpA0xwrsCIYqC
P0GCQymRdaFcZcCGkpT5o3LF8OdrvQWbUdnJbec2Sb/h6OQ1cekWRWJxgyHe0FdhIoGhG666uLJC
AOsLqV6bcr4d1cAW5o1og1NoPHeGaUWqT4PmJRZgG7bXRL1q+9fIMO5qbdcXwIRl0LiETaYZdBbI
n3aWI5wHMEOiqwI9L25Ge/wvCrwYHpFCnRxkZ1M+pBQKwvxGAcUJGqQ2yW5V6gJ4ZhmRbmedsDpk
VIN5HGXDUbLKkhpmJciE5PQAIo7xrEL+V4PRtIiJFQU3cU72bRj7bY+jmvY7rj0HQrMizm1d2Zqt
YUd9+/EhW+3KoCcBp6A8B7PwWQLCWAbtXc4CLy13oDiDnfoCrD6aioVVZnQtQ9QiTx/CuoFs6K1Z
3mrcUgIwi8Z4hCbrG8HWMFJ+pcPVFIbYkZMl6gPEP2irbFRgfFiMdcVjK2CmU7fSrgtR0MDBU0pP
PX2OM9UrQnBnpcDPoAGijAHwvwBTdVtpaNYV9i98jkmKtZRGjlxhWRiG3VAQabGZ6tLq6ntZLzZl
b3pTGp5MIBG76mTWki8EaLfaUx4Ynhqks9PtKocGQU9iOx2jd5CGj2GSXoeNfB3S/NYYBPQ5IsuY
rkJyDycwV9OC6yDoFEhACZgKUAeetZA3gxJD1Xlca/3SiDZT89yiA85GcixbCXzjuyY7G0qNJXeb
R7nbz1yAfq6xIzPSHEgR4foht/PMfzzgAEIEOpYlZRbatg4xAOMPir0s1+Cbh2Aghfs+LA/qSF3B
Ip+jkwz3dIsP+VawcG20e4Yzf5DfhwCofNpf86peJ+jFqK1Y1yagJ4i1YOBt90WI7um+E7k3Fq1V
T/UBFFlAJwY7JJMVhakrKUAtzD7jk/AiBa6m1WQ3GjBsCXUN/aWHDZ4qCzvp67VQdYv3j5lPyj0w
gQOa4B3bkLB6SmAxx9Bm7vld1FKrQKUgGgE0Tm/z0VxrZuHmarEpQmlrtP0K1vBuDjPirOqtMT2H
004tHrOc7yYlsUM5uw1JsC+M4kTEtdYeA0gDNgVqDkAllVUNdz7YkGjobxjIkHrdrbW4Aeend2Kt
8FT2XgCwGJWy05hoEpohYmDZytMbiKFaAAbvuK5v0kqD4zPM1VBgyjqYMhvxvgArd2TqJqKPEpZO
npqbED8wkjcN1PMiEb9NiopPFq+r8Axve9wZR5zi4IphfU3HdNAhWhE/itS4ggvNLh4jZ9JMf5wU
cIdflRbbMm23jRyBix7YlQHz86C6VgrUjVm2Q9XVkfHrARJnjeRupQ1WI9ErwQLUhlQ3Kv5oRvvS
9xTst2f4BVh5dVJq4c4cthbggBFzpjbYyZD2MqXemaRm1WogeiePulDWE8k90Sq+0cogwDXYtTM6
IdgIE9W2QWJeEry3BmhzETqtfQ9lENU1RAAl4cYf5c5FbgZJhitDavZ4YchjjGuToOdMMteEN2NW
Km4uvZQqLJdr5TkXpYpcT3f6CcIZ+l0+1lgBoGuNg5tXM6jrzALTDsMR7nPpATbjG3PEwqZoK0TR
uZfmhTGtei7vtRqeHsC0GLzfpXxymOaBhghVSjS5Z6cddboQvvxQZEDsAgE9NNMBQEDJ+2tUMckk
K4Gkjew6/G/Szms5cu1Y06+i2PfQwJuJI13AVBVN0du+QXCTbHjv8fTzgaNzNglWsKQZXSi6d3cz
gYVlcmX+5kURb/X8QYag0GTsxNY5Ii+uYMaOXjDxjhlmfOcLLKkxlSgTqDY4ZHOdSOpqOWXdgkSp
NlkY3xo5dtBxwqbWV6mbC9qtqgi7CulbZ1CxrWETl8f8RO3Fe6ESrwo5QujvQtUTx8pmWywhuUtP
P2dd3+kbH8+I8hhQIExKPhr3n25DEUhHBcgIdYN4529LikxwocDEbCnSKs5x6Ovh+wJuYf8dcJVP
hhKwg8gnnzT30U23FW66Tf+g7oSj1mkHAK4MP05iGGTT8kcYa/Xli1yooEqHTlBDRMxulOYOcJYg
n6JdAydxJEfRHsvmDg15Oyte5QnGaGedoQFUy9EmAFefJwHw2FQ/kup+cKS/Zfyfnmx1Z8K2NonV
5SrT5I+A+B1kZFrw/FqJ6K12g9EtGAXJzmvEglTFLbvMLo39aN33rE1t1DeR9hrKTz2iFGAqcbwX
Oc51Gg5XU3ETYw1hdRdGEdqTddPw3yUAFmDtnB71iFaYIQJNWwst5AaBCSUE5CqAjRpmJ6xvDF9H
NXV0/faliVmOIaw0IDuF9isSfzXhWxmc6YHBE211Kp6WfF0Zks0Q2zKZUipcxd3llP2SIbYdmaYH
ajB8Sy61Olbs2rcOUmYlbdGUNHTCuD/vxn4bVtbDnCXn7fSnFVc3pj/cjYtNXm09Hwl9oF7wJfRq
A5lU6iFg0kMnn26zovAGFJeFbnxCBClSfwvqYEM/dvoYK2cjd80qc4MeR0zh6BgcfBCatsiMc8/m
kvR1PiOiocTmQM25LcQzKRauzKE80a2rUNlpkbWB2WFP9YCkDVLDZi+4Grj6tIW6Ex8zgTnQxGZp
fXqU1c5WmXMhaSmfQ4LQl1MNahK0kobiJjI0u6dND4d816kNEmkJOLzqulWaPVx/6N34oIbWVpM3
8aR5QyfbftieWzHQq6k9V+ebn7/ewbs8WqaUewD+fJOm7CbWeeCzvbX5s2g9qXiVLlLEDckGWDT3
52AfpaNv63rRRQBpJFEfXd3kZ0R61LRnWFq3rV0VX+DN5DW2YtqV0+6aZMO2JznlTeGCyDhWHznQ
BETwlqIP7nmgW74Rp8wJ3AQmdoh5hDdTyvIMlKsGoHdVwitRQdtNj1E52wJKAuF9BbTPNDmfOYR7
uPKYqzu5KHq1KrpTeCENyV0243EwtxdRsw+DY/6gBy77PKy+SJUYKkDg1apK5ii0WnFpbwgiCDB8
KDQ8rxXr2Max/Jz1J+GnL4ZSsgyuYnXc0GfyB7Gc+CTd4zjlmzmHMpNPp4UxoKVa25HYniRBgfBL
e6mIbYnODHpG4Hp/nhqH1u7Sm8LLDewD7amva1fBukHD8B1gX3dSSLqdYPj6c4QDDaNF73gxIEAp
EtWD1Yh2DXt4rdJNGZEGOgFjt20GZMNs6ffkYs3OHWFzDMx1NObqtTo5jLQ8pmW0FP8kF+lSiSZ7
64Ffsft77qTHeiqHqlGQtcnLYIUswvRfx7Hk/bu4WgL2qpeCtbVK+o+CU4lHG3AHZqhsfSqlrg5p
fGc0gJ6UUusPyGL4Nmzj27K1K/IGd/RklyG1EGU69h0PxAX7iRslGiRAFtcztpXmOJUGGtiDE2FM
tDO3S/m4olqFEJUT5x4uRo+Ba70dmT/L5rReKcCRcMpAQUI01q2dwIiyyRe65Vsa9gLSkCkQeIkX
XSeVLV1wDT8BH31RO7rkmUcY6vqBfZqFJeNerS2PsK4i14JZS1wAAidNMVSMz+Ssu4tj9jA0twzh
LMtAJItlda4H4bVgUBFq8wur0B8t/72ZpNNg5O6NCFqc3veKfiLosz0VqtM14Eum08gqHSHkQrWg
oBU0MXKs4t0+fVdwy8sU9NszLK9EY6PL1mkcBmeZOu6bdHTERLGTwATN0Sw6ZOlvIxJuQimD2Q1u
Sxy8Klvko66oRpfts5mH92kxPQq93tl9VwDhmfhrnWH3guha8AVirmlZsR/Qo25K/yQb7zOAoXLj
X+ZT4bZc5sb04efP+lE1XX3W5fbBBsj/f7e+MJM59yddhlEwisBQjc2UnBpCBRJWtI00dTW9tU2P
b44Ex3StlabbAAECtUFhSbEXGr8WxnSc0LcrK0QAB1dEX61TpE1ivqhSt8FP7xqJ9G0qmq8+APSi
kpzBMN2f3+NQU4qmBgoG4geqZ63UYAxzl4lVHThAbM40K0oR/5nO9fiqD+YTIZNspU43Alm02GgX
ujg8TrHi+tzJY5kq6SDcDlHuHXmmpdu5GlvkMMjH6CJZPNcqDdITlEzlki0Xxc6xQK6n1M7HLnEo
yLphInHNH35xNtmpmp6USXBsSJbN7mv4xS2DsAu46jvPtIgqPYhaLBL1Nr0rLDTwtOxeMciGEYGD
zHY5y3d1N4AItS6E2DyrFFgYrPNjO9a6z81HAWO18KO5Q4JNWW3KaVpb81xSdO7De4DGdmGq5DzX
5qJ6KXpFvZgYsTxvhOA3fZUjzbb1tkVwEBKkEh89L86+rydCEuRybc4EF6Q3VR6dKjNQ+rzV5hd/
Ui/R0/oPM8p1vGUwPl2YR7lE/7VZKuxWc4IvHwFf0ojbO+VXFv2Rt1sO0M+feB1tNbToO0LB7Ylm
xDd+CNH3mDXet/1hHWF5gk/v45e52bYSEYIEl4Fai2+GyXoSoTBRp7kKdetWy3rPVMqn0hI3wXiF
8bdX0+iOZ3vWul+TpF744aPUQZMT6g1Srts8QBWhf9HG10G8nmhn+HrmNlXnWkq6mWrJSefOzo27
MvsPjYfV9cuszmy91nXKK7yMIp3H5s00XM/FOzWzn9f9Ogn5iLIQ2BDokrmPrpa9BS2mj5cmi0Lf
gMuqrZv3sE7cUj5i6Xpwbn8KtLpPBBCQRovOI4WIFMz4XVUGJxjB22aEVGoFHNs/clos2fC36fYp
4CpbNlt1mHhp3+7otDR+6Sha6fVh4FjUJWMZP3OUHCVMsn8e0EPvSeIKQxX8CvoAq88m+Fk/pq0O
OL++NATxXISxVUkPFqJNeW7RNjN3Pwf8VhVcPiF7BuUEfE7oW693DcRls6JUwckhH1bpxbYq3lQp
BbUY7grrIdKpiBe/EcZ0gq5+PRL80Ch/Dr7aQppiyBErhW2mbmPVkU+H1G5eaBq58SVmIt62oqB+
oji42umP5fZYrvUtaf94d1SWFoQAcNW1qgd2IpNca5gr1yVqlg11rqmqn9T2ocRcvR17LNe101qs
FTuL5+upDJ+jqD2L9eIIB/rQMJiMP/7IXIgQt/+68+hz4ftyFfu0eNCxqIINVn5QzabdkPROgSB7
PUielSSbn4f/wOolKvXgZQgWpbSvYdO+jVGdVS0KDrIX96Ori1c6doWinBw5oM3lQ35ZThSOENJH
OIXMlom22ijyvmwbDbyd3evZvs/iPZDJJylW3oO4h33RUQWoA/MNGTtE5MHIdv5tMXYD5M9MdSx6
4U47l3s5fZlVKktBfKFIjbL143DpHmsAcIrs14ioQ4FEcyFQ5WNP6kvtV4sXejZlrmDIF5KydMyk
DNW7eYvSqj1M90XSn2ZzfB9N8TneqHT/BvB+Bl4m9PhEL8XThv4Jimt4VYeKk8jzflCjxB20fGdl
aLimolP5Annt4DWWsWs7Kl51/cuXO68rKY/F7B6z7+WWjLy05RrlA9Ju+6yu3/TQuknkBy2K7DKg
1GzNu6ku6KYgcFj31Wlr0GQxIaQn1hkwnV0G9dYSxm2EpJE/hRsLuPrP8+GbEMVybcasTdbUj/+t
AUG1DoUXKjA3CFBOLT3xObg3dYqlhVheDv47tmRMzTu1kgEPgG2ROPsxfrEnmJM/P8r66rd+ktV+
r+eW3wIZhIlbvqcJKoaWQiPuyB7/fe9bve9q3QHnQB0RJIAdI5kk/Bl4lqNf6pt2H54eE7o4HEtR
OAQRQ+Fut9png7lvQimnM7oUCIYLyL9b9UOeqb4/hoD8vq8t7/Up1mpbVbuklkwgF4hqzBvZUdzE
y+DbRY6xRQn4PjwCEzr4sT6FW+0jZgrMPM4Ip6b5Ls1oJb+JxTF5rW9iP8uU4NoDoB7E9+Kq9nW3
SkSznBIKBXYcoqPdDYGr+sWf2RTEu0nXPCR9bDFuPA1P335Zsrp2NQrUU38z4c+QClp0EiSaTspD
GuIETKztrOi7LluMJJt9QAkszE2ns47pH65v9B8Pbi7yLiqlGs7Yrw+uKWYTQ37kwTtaGebrmFID
DeRtNLR79dhRIh+KRtUAail4RYSj1h9DVAez7fkYc9TWnjq228GiqzPd95myGefgFClZGpQIPgKG
9/P8bApZWvLd0KTbsV76BncSQPgygWiGNGolhF4mPcTjQH3yV2RlttQqu1zvTmep/0/ZMctIAfQG
jojG1PcatRlHwAmAr9uNl8xO+bYIiuluctJt4GRySm9N7+dt5tsJSEAYBODWOZ9gqK6OJbJIYZqa
2bDF7sVCIBrhertTgZeS7vwcST0WarWjWeEwYmYzGbDRjXMjFTc1JRk1ekvjXyIMMHR8VYVLQ5zt
BwGeVcyHwgw01YUNmgq4Ul8ZoXBVZYpNcZVe8i9fVU4GtXQCkAMi7m5zN+H9g1eAdiZhBWA2Z6lk
eAHysEGan82V6iy/rvKbsPizGgU3VlW7AzhYUH2BilB28StkkUdkwF/Epgak83xkAL5lACoAd3C7
2PqwhD/2rE+3q24adLXtStUu+nOgHdyCjhk6H9qGPn/M1QbR40s9Gnht22P4ko3XJkCc4unnl/hG
bFpm6KcY5kotIm8svco0YiBlDq4UiaqzpU+M2/LL6HHywxM+VgY9/FpLI2NRJ/omwTxnY5oja2rY
pXTVFTRCU+Qx3o6817fb9cd7/RVkmb2fvo4C7KzpFIKgKLspLCfzwo3YnyCha4Pymr3Y8oYddjFH
wi6T/mtauAznX2FX628SslFJE9bf+Nq+Ui8JHlEi8KJT6m2A2dBb6D11E1wBarmfdscW/zdUwsfH
VDXYcZAruACsjmSKWYoyZR8vbW4bj0Ja9kKXymFVJPfzBRWUk+hOcYqN4oBF2RsnP7/9oTHnBoKy
OcVI9ZvsFFitYawCWP5DdW5NsJgm9cimc2jqfI6w+qq50TapqDK82mCh0ydvgQVu8eX9Ty/nTB6D
nZv62yIYtWZv+lIfmIq8LApV3iW1chfhwTCEPjqB2LTMw11i3P08dB/3ha8Th/yGesPiXQV0fV14
iLtC9tNwQgM54D7eAy2xI1NMXaW1KNHUL7mQPTSxch8Z9B5VjXpyPeZ0Vi3xPJHf5HzcNdkMzA91
wJ4SzejjwN2kO4CBg2P01aVpPEQhKF/zFj+dAoxEtpV0a58Y8ZNeP0VDfDUJ1ZnkN+7SuC0z4d6U
w20vqJ7pG0daAt/UE5CwpqjJTQ22ycdZ9XVxqpVlpXqC2pN2q28N2VZ28QbgXu00KChsEA5BsGBR
qxBO1BuQB07lnQHVdn8e8m9N1Y+nMMgrJFik8jdeDW4X5RwYnBploNqRel2MiIuG0PrVehPGqRcC
t4znKxmMbTOBH01uUrqJQVS6Q5Jv1Rp17BzTDPFd7+tLBm6El2OpoyOPhruUY39+3AM7NYP21+Ou
dX1mhOrrBdPOjrZMQqd+Fu/nneB1m/ylOy9vuls8uI4t6Q+l79W8JO+iH4daGw7b63mpqMncNC2D
pALs88N4Kw3NY6sWbpC7ia6xpQXbsbsqtX6rCpdyntkmFMBOw4T5XkT0HZCYDgjHEJFMHB/knFZE
/zRMrzKyJCbGhHP6mJHW5VZi94uKzPT+87AdyLLZ9dBhU8iPuQaumwuxbk5AM3kBoxv3Ch5eXPnE
8h2KAZDb/YQkTizeRONtbbzpGQZmJmrbOhTfKPUSkFsow2wMPO2iAm5kTMt1GlG4vMhAemIi5U5A
fH9+4IPf+fMDr/IqUOuIfkeKSs440niNvODeZ7eGUS054CSd6ax5lI+syANBvyYzy9b+6bgkSapj
0yxUdBKlzRK03ZlXzQbNyU186jvFLjiaBnw/Lb6GXPb6TyFrpR38BkFKO9FFp9UAQR1LNL4B0qg9
fUnRVseFVczhjPO2aocnCwBu3Pk7gPJ24jZHCLzH3mV17EdCFChCRCCZpvU0pW6td8e2qw8gwXop
cin9qGboXB1Xp3s1zb0pxSIIHNrF0vhUVL8lnHM04T436Oeav6qGejwSonOHsoAW+b+6SXlWuO+Y
wQg2xrL97D0HtlyYpj0AlEsiFWsb+BRNeM4P3iKuhY+dtpOUq2IB1oIDG8LqFFHtE7kVd4lUbLqp
uh56X9wo/uTNeX4Oiljc+WF936atp5XcOfVqOAG2u2uraNcBOy7r7j4OCtcwBteI79SmPsevlpuQ
2m78Iff0AOoSR3li4RI3SufDGJ0IzeIv8IbYldf7j/UiF18PsMuZm+hgJ8lVkBQwVrBCC/XaHvqe
+1x44WexIzU6pZzhAgFSG16DFZ2LWM1XotclkzOOoICpZw1NvtECH8z3YHf9uy/uRAVr8wYORHKu
D6wB/9Lw38X0LrCuWnB0gX7WFqVb1a9S14Gtxx4LKgqd14kyGZ06T/CtTSHuk+BXq1HhApIuF+9F
+efQAcoLC0eYH+P4rC53UYlSmHZrlvs8fxhSf1/pmqt0J7IUuH3Fotc0R6tGEHyyE/TgdZunUKZu
p13N4dZXM27BXgtQDGF5pck2Ne0XQOEbCau5jKKbVYquVgAaDP2NChBQRO83MKFw0gbP8lu5/93G
L9Uw22UfOwpQ/DkGqp3YjTo7hngmRL+wXVEE3fF1XjBmUEAlfPAjtAtBk22p/tXDuMmMPYTizTD7
nAmPixRtBh5EhayyTMUxLk7rtj5ToRX5w1sxX4pgOHTpqppfA7/YgxzjOg7U3rhLVQjk/LJX2X1/
Zark5RIV48l3AxFr0iZ1mwVKXDyL040EbNFE9UdfhMbAsWaVJ/qxg5GYnfTvUfLcdk9K+HtUhROl
5zhils/JpTacFYphGyjudcyhNo0BDMAlAutsSjsThP/A/TNrHmlQ20J/2TM40nAsM/6gsH1dvCpQ
NUMj7cEb5Vsvszf7CrT2iFqDNHR7KY8vhKjf5OgnkkVozZU2p/pdJHchuLoasZ7yVDLNi9osM08f
+1sxaq982bzqY2nfWtWbEGoPwhietaLuWVpn2pESjTaqI4ndlUPl6G0C/6TUwTaI6K0EJNU3qji/
SCdJGpH9K9CwsuZleSjbVGt5g0M4nLugOIEksjE09DCFbDtTDE6DX0aPq9+9maBYEimeXE+noCpG
CKN9eQUJsc2jqzIvIXSOEouo8yKs86Lc3NI69vy4y7mwR+/Ig+b2oAjkn4vHGuZ6COZp/MzcvM/J
ZFGZG5v7ObkPkz9nCt9REoDcyuiP8dWDiw5rPwEjTKV96hbwSMiUM5Cz41al+irz28KF6FcRbaP8
VKkVJAqKrS9eD9ELJHd7NrrzUaDPlUzboSu8XmuoXmsoopAmg+cDOmKPGvo88mlN+UEbk0UM1zZa
a6cX9a62RK/EALuLsd+J3ypIg2Hxu0NuIjPxSwTzVeCDYN6QSesNVB7t1FACtwnOFXNECfuyQb/d
UDq3Vcpd61tnrYQY2ggWu1f2dS88SV1wikjkiPh52DL9Sta5UpBsFAKrMj5Ru9y2sLsMgtNY2hnV
7ObGs5hq3ijeGQkI2ZG9nK5DXV/KprFPF44Vo9wV8S6eYMOE+0QtnCRDk9FijyvBxpmKU6IbHcim
41M4zFo4ZwMjlJXBtknl205BZUFBE76ctgqufTMNm7SK3/JB31a9ctYaohvHoWtCQQjq2a6BvnO7
cUU4WnpjebGaXENwGjX9bm5m9tfYDYzkyUpJXI1oMyPvnuitHUlPItJ7KuW7xVA1Y0grwBycFdhI
KHZfYwzDZzbyB8XneiBfhAW/w2Qvm5O7HMW3QjQdeTA9Q4/c2LyFsMq2VdvmcpEJME9CEXBq5Gtf
xpauuJEz3H9D+HJ+58lt7ESsBdAnLu7mKLpcyOh3tQhSF/oeSxRXz3VPj84n7XeK/wq9lib6XYt3
RYJ1XjtvTOS71Gpy/WYrpZjhbrVsX8u/A13cypl84vcnUnhTmjxv6NtjGW7xVta6yFPzyukWhcaw
dtLmN8XlrDXtJIfUiEqqxDml1k9SItHEe5DSK3V8nP23XPSm9hIcJGtQYOo/+8HNIteVGeeh2ABz
ulARPZ99mKW0cjV0vurLhsonhLS4elOKx0x/yOcb3sWikjaBC29bFUe5a2G4VxAnm0lclLxmjyxt
2YdBcyXVjzUb+NAhPI+fY9nOTk/rWI5kR+RO6guGm4YIDIqxO/KP25TOVXnRq53Ta6gPg71SFyJg
CjIdvmAaIJyaNJsxNTdjlW5SvCWzFvYIH0sfRITKMgwdaVeptx2uLM3wHFWUo/LnnAzdoOBb1+8K
jxMml+ifQD2MNprslVyTWyW7GUTIgTdTkAGBnR2ul2QT29p69A0TQDdGQ3gAidl1nbdupm4DzLVi
jlvRtAXzuWTmRsPloErA7HtOyz9rKu+WeVHVl7r/IFcn+fxeqedmeKZ0mZvhBZ0pgB6ym8l4LMm+
VAldXZKdfMxcLYK7p95OCh9D/1Mc7/T6LZAK1zJOTXPblZ1rGqhiBYlb9k91IpMPQIurXiVsrALx
At6V3j/NDLPI2VvjUNMb0U5KFFfWgzO1Q8G9vIcL6jQt5DrdRMEazZD8OhPwF9albR8Fz7WGqWQC
UazAOEnVt634bICqNKRwq6i/c+tZCzqvwFwJRh568Qg1Zf5umpNdFM236kRHs4dDgSiXRt04qPJd
1rSbVulZV9jOTg9FTKEQ8WzNtGh4tm+9MFoQDPwN5w6I8Er/cxqVGzHLXuSuI7XrEC5qwUcPtN3q
hM14TJOrqPXZn7CXw0n1JhAwjCygEv18k1rKo6sjF6I3p60IPwh36NUFQ8pyJcoq8uUYxc1m2+Nt
sSjNHWtOHcr9OYspABML5Mgq96c7ocxV15O6VTqZbXAyG8faCN/LXipdyr9CrK6EYxvSPy4Joe47
ZL0Sr9gqN8n9q2pLjuiiO4vXwpHBO3h3+hxzVXyOK0mclJqY4Ul70mxDN3MWgezj4/dNQHS5pX2K
pK9K0KEgV7JSEal1p9+yl18m2/A3tsavi4ZY4fb70ompZlokP/8vLwl9QKd/T6/+W3Egm8wSoeiG
QlQbbtpGPC398VoKKjeQ821rxJQC4KVH/qYorCNXxoNX7s+xVx9V0KV6riRip/Nt2cOxqUO3xUK9
gBENKM8xVHjMc3CuhwD785qdc3wQ6LyrIymzIno/L5bv3RxqYEshjDIJwI01csRQq2EIs5qR4K6k
Rid12AO7a8mi0yM13IMzawHskwVTz0LR6evFP9breTImQuXn7G07n3aDtpU8epq7n9/pQNuYl/oU
aTXEkpwawSwTqbGedNEbZ1jS7Xlt7I1wsEMUikvhd9W+aFgRy/oZyf+R+PKBHehz/NUaEoMsTgv6
f5RylCeSNiTjsn38W9zkHk7KxwqaBz/hX2+7VjrUOpnb4PIJMdeyLfU+HlSn7/8Mg2Nf8EPIcr2z
fnqvdSXCjObZqCoiydfxXX4nbOrzaocWmxPtMo/LLi7Xtum+ThtIZtG2p0ufPcUXILI2A1RRpzGO
rOND++Pn51m+w6dSUljmVqsajLOeQMlp7mpZc4CRH4nyjVC5bFSfw6w60XKFXHdk8trqtnvptkC5
YETMTvQs7/LjZIHlp30bZBXDJLxuEIxet3JjM8I1IiKacYmRCCU54Nt7wWkRc1S89Jd58/NkPdA8
WqrgNDMtsJbiNz13MAR07MBp8XZqebGfwRl5gae72lbJ7MoVNx3dOqCxjrkJPetZOHLIqYfO0c/x
V8W6xjCqSA34iFlq4S/3PsPN16V7Mhm49ZchsL05LR1TqV0Nxl41PVjGS5q8NulvK9lCQ8LJ+bfY
+W4n9nabUTiofCfvbiYujTkZSk/ROY/Cx6ZidfgjV5au2Jc9fZRkdCac1RXkL9prvVHssTA8Ixa2
k2DsOuppKdS7mSqQSoriG8aR/fDYe6+2w6BAgyfTqB3iPhAHz6N6rKJ8cHV8+rCrXZALgTihzsrq
UE6Trtk1+p9aOx2BzBzea5EMWrBW6EOu2+G9BL3DzInCzdeg1Pg7dau94FFDHs9QjXCOi9odQCAt
M/avkMvIflr2uin6QWVRQV56vA0ibP3ZjChg6kWXx1wtDn+kv0ItY/wpVBwlEzrnvB3ayk6plSQG
RyCTy2deL3f08gCjUfNBvHcdIUli5hvLL7cuI1D2bYYcLjcLOnhOKffbn1f7odz4M3hhNSeGOdX0
uFom3Udu3O7QHdocz+0Ov9RfGInVASgrQSy2y6SoigeRYs4s7Gvu11XZ2xrFjp/f6eAU/PRSHzvc
p48kDFWcB3gPc9nelyeKG5xKNwGRlsaVLT9RFNpS7vo56KHF9Tnmqig/TN1sVioxSwkfsOCsQLrb
kjY/Bzl48nyOIn+dfnU4QjwG1Gz3m94NdsYmu/bvlGsfvciCO/bVz+EOJRKfo63OuV6XwynyeSdF
uA6m0pVRcolNFCv0/8+200eL9tMXE0d5yvIlknUb383nw3bcGY1d7DWvOsEofFHQN060t59f72AC
+vn9VkstnITelOdlMW8TdArMk/EUQZr9v+FYcjTU6lDT5fZfIKHU/6WJj02pnWo5dUZEoWVMY2Tz
RdK3jXzX+uQRWHH4lC+Qx3H6+lmQg81U9KcFEjuW9RJFt1J+b5ivkaDSasZuuqbuKNLKrwZApS1y
pRdqLqEmZu5GaPuYHLlWOLkJEEYxVjYp/dsxujTmHMWcmbpZcVsqjwVVnVa9VeTCs4Jbzb8Xo7to
omYkvCRjbNMR9Rb2Tyq0XiZeg1EEGqB4Ev0lobiSinNDfVamwh6TTVHjv/dLEKLHMhlQRFFgpUEL
mRGtaasrSatuAAOf9GVKDWHY6+UbBeuTIZ+dKWq9pecSW9CL6CQgB7Sh+7GPO90u9cBTy/QNAWTK
RWiI2b5FZSORhML1x2Y7SNVVlwTvqApuugL8I0yswAQDWSjPifI4o+GiMZrRfF9UtxOtl5r+yKTI
p0jb7fKyOMum6v3I7FrW4veN/H/2PHl1npdiY/jj0nSELu+2dxhwbGtPOcUI7yzdHmtxHgAxfGlx
rjXne6OrJGtmBSHhD5YCNQg6gRfWpew09ryjCNeGTrK1XtB7GbhOZyftTpfwPy5c2oLez69+6JDU
JEmFCo/7GajHr7tUabZKJPU8izC1TpfQZOqOJIkHj62/IqwxEIaJ+YOqEUHd1hgIIJn5b5V0DubC
n95EW+3qSjDJyAgSZ8E2x1eKu5ijVteR57uap20nN/fKvbpZWsn5UYnzI8OorTZ7mZYbAp4ET3AH
SvzC1WAM//ylDp7Ln8ZxtcOXtdCq8nJSds15WIu2Hsh4Fd4G3W/AlD+HOnwqLzxK6yAfB/WcrEkw
pbHb1941T5VdGW1oPkpbYVufqi2WMHnsHol5cA1+irkaQh0ctDQWxFzkeXXc3eLZJS1wdHIcDQ/A
I9PyAMiEVfgp3mo8M9/SAvyElnQqvUMs9zn4U99qqOs5H7rAUH48SHfnrVe56knnYj++yS7z/VGN
0GPvvUytT+dpl0VBXS57j37tb3N3EZbWXQlLX8WLbv9V+Pxfr+P/Dt6Lq/+7pzX//C9+/1qUUx0F
Ybv67T/30WuNIe3v9r+Wf/Y/f+3rP/rnZfme37b1+3u7fynXf/PLP+Tn/yu++9K+fPkNYN+ona67
93q6eUdovv0IwpMuf/Pf/cO/vX/8lLupfP/HH69Fl7fLTwuiIv/jX3908vaPPyAQfZpwy8//1x9e
vGT8u/1LR+n9JY9evv2j95em/ccfgvp3U1EW7WDg/aaEpgEbyPD+8UeS8XcRfCQQTaCvi3HjH3/L
i7oN//GHbPwd3CGCwEAAMXWEOvXH3xrsu/gjSf27AYvKBNeJwi1wcvmP/377L9/pr+/2t7zD+wu/
xeYffyCR8eWMwvoOjCF3DEwi+OXyNF/nSa4LwiBW4YUOwFGzhVq1aq9VphRngQZ1x9+CHOZsc2qC
M7TYzmZqFzO1b8CJsoJuUA1dx+0qbQhlxHzDKr7rk85oNonR5OZDEw3mc9t2aW/naqyHtIewBtqK
5mRYG7+SuvatqAdzER4simpAkajojBtrEKXsVJFQIEMwRLKoaaMXG11IlVI05AwSbf46L6L2WuT4
r7yqb4bqdarLTL8KJKF3UqXr3FHQCvJIpBHL674PR0/Rc3M8zSAst4Or4QDuv0i1KQZ/drru3+Qz
7audXFAz2M7R5EshqvmW6VenVYuJhnirmnGoiG7e1F1wI2BOiPylqWRgwgELoOoVyJf8V1kblMVr
NU/lX2Unx3V/rgmzkGsbNTIL7SkYMkuZr2ZcPNXyadJN/MeupTGk8X6eh/COaUuJlZb0F2LQcnhC
N0+E2jITuw612KB9ptCaV3tYD8bcmndKXgVV2DoDjggzwPuO5TucCRLao4rqagmGN/RaABpQh9P6
2qJirBVBH/4Wm9gKkA2qxLx97ZClbu/UDsAZbb55RA3rVSxCSSoeLNRL+1j0wjZTgb0YRofyPzUj
WUC2oRkTxODyvNoX+VyWaEaiPinTTbsewryL3XbQSrpTylju5Ckv3qpEfa4KC1RN3jzrdRU/CZVB
cgkpLT2T5pYsUcpUWo94PiIC2XQuZnX1mWb2wXkYI5JYVLGFQGep70SLfqvSSDgilUn1WsVJctYH
oY48KNQtDMLk1m64jyHUINAAVztTf9SDTj/BB0lRcP/Lew29oDnx5iD1H0EPZc8tYy3aU1sF1yWY
DOBRftpd0JcbPIEdaaN1efFc+GXxbjZJd+9LMbCp/8PemXS3jWTb+r+8OfKhb6bsSUlUZ0mUJliW
ZKMJRKAJ9L/+fczMe68te1mv5rcGVasqywYJAhEnztn727Lhr6W6jSuIhp6iJjWzEQkE/+eeFDll
q3SX0HYZt3FojJfcp9he5gFoSunM/ikLhFOw+dYWYV3tVPO1vXhYTmoCKJSaQ6RuclJfd4HqocnU
odAlnt0gaxaOm5sbiyhf4IFZZt+Z8Rhs0q6Nxa4Me8EHjQXBwjbjPBG3PXQgnTHYVCEPMUONo27a
bh+bfXbjtDKoFoMYvWPltTlJB7BYrypZuQeDUBdkPFWKuV9jUSIXXXg2otaiXAZEfMVLt3VUslSG
2V4IszGRa7TlQNKxW7c7MbguQDyoCeugCTtQkmaEMjaq3MdOjs1m7s46SiWQRdH2mi6dUVHghCJw
n0ZGnwWzTqI2lOzm/jD5brzqxyr4JpopvoiF0d1qx6i/NIITATnbetVCY3tNy8lF0jH35j5SmYj2
mjG8v24JI2Um6RbojyIsjivD7odkKwy/Gle2XaOAMGIzJZaZGdQ3s7LtzdwqcdlEKt+Prl8EmKxK
yQwIYolzWSReWH+F+49VRcSWyVjf1d6MAcqa4QS0gHCdgw09xLqaA3dUX4nHHKKM8gp4CLPhuFiP
TQ3muiqjTVrWs1wT940SGjuM50U9uXl9meiLphvpEi31MBr+9zirBoPk7kaJjeXEfX5pZ6bzZRpw
M62xMUH09SFToVSRpmM8V91QJk8G8FRUaULHcj+OGIYus5ju1tPApZuMTEzRgfcQeoQlacpyVxti
/B40QiA5NWxh7+cGa8tFHeU2yS4IA/WjD2julCa2LJdz4wCxNJq5ajcZtPoeuRqBD0udz32+K33t
s+CwkD8RP23WSNZkE+77XjBe5+iI7GECUPc+aAOAbmt2ZC1SINrJOsvM8ZWvBF1Cjr4MdoFVRi+s
5oO94v+twQEb3fAeZLzty7G0Jncd8Qqd5tIJ70JhhNjX09Dr0Ze4rDirwDGse39O7fc+n9V9byL8
jeoyDZcW8tNi2dlO/HhO8yIet1N0mG2vqMh9zdyuYGiOoQEuqSN4xkLCsPnHGgrKqipy/3GkztC8
0V5MnJgcZ4IppdUyVkJDMjM6S/wReEIzwfv2htaFGeobbKA43HKLfcjoHAxOZALDt45QBYisHJ0t
m4DiIF+b1tdQlFLR3BFps+oq3fpXkdLBiGCmJ3DeSlMv3RFXZy2S3jFg9iaORaZ7UHrdbWnN9KLm
KGySjn9s2NUlUDSougu79I38UNn5UOwyLVLvkx7mh1qf95jBITk2pnvOQPvVxdAVpRoH3/7Sb8Lt
oO/OTbhyG/EgPwXbcGPu0u0Pdde/lc2PlczPR6UQVrwTkSWOqg5o1K9cNHvmrY8nfUoks+OxXvaf
JQp8/EZ/XwFfBgZEyyLo9qOIoEnSvjbUdDIPhCpeud4q3fgrmhbE2rM0LqP9Zyf6T6/4oWVUppIl
qZpO5zhNnyvNa2c17wIGTZ5cVcnG3n2mYPj5VP3PXXQ8KjeUEh7B8R9OuwWAevaj+eS41TYLmqB4
lqWtwR3PgrB0SErx16kHN3iRG5OOriM9Jt7+zz/kBxHAP5+BOdc5Y4sYMW71zxWpO5Ve3GrnRAG0
TusvEQniljWvjcFqMWG8hna3VTndjFYsckvsjC66PGM+k2g1EVEvqq3dfxvs7vnPH+tDe+XXj/Wh
T143gnU/pHcsgo0o4tcgco92jTJyaK6HVhz98smtu0UwZMciAz7NTH+NpGXXy3HpzMcADAAsvBX0
QkBbiYMq2z6WIJFLxkqGW+71+Nm053evhGfirPGQoxDd8OHHnN2wTBvLPY1Gt8zYxWuAWX++KZ9d
4cPh2rOHoB1m9zQ409pq3ztqrj9f4Of+8z83/cev8OE0Xc4NzFzHhWpOMHpqUnzc++6887P+kzbI
b78J/i7kJz6ah48Nq3huzUIr7zRboITX8Vg0d3Oj4nn1n36fwIdrilEaJMUZKPXzs53EWgRBbJ1a
Afm7PrtJwHOEC0i5cLo8BNN/vtz5mfyfBuT59hGzYPKRvcgChOF9uH0AtMyWeu00Bd2FK5K1HWeL
jrygOekvxuwBq8cnF/z1NnJBFn4MzgyPfxn9seONdJOM02Q7RFu6FP/hLD7ZWj5wSf/9Vj9c5Pwh
fmhthMxxrcSPT2CqybelCoMS9jaTNfjmL7IbZayNK5ioa3EfLotLNN6fLsyffcsPUwPT7/2hC+JT
zisbWo9TWX9yGz/MM//5iqQvnZGWOGN/cbpP5lD38WyeWgjciCejKVv0khU4DOADzXUA+kid/RLx
s90k9d5xdH+EIvD458fnAzTj349hW+deBJs556Kf77SENepNmXMa/HybEQWx0EWNGYC3va9Qb0TA
3zc+fu6lEw3vjKsbwjeSfFMpkHpQ08MDR8zPcJS/u/nRme1is9fzaH94hcyhCCD2BafJKlqOSd6X
ZLTv//y9f1112P8QIESuTegbvZGfv3aG+qMOlX9Ke4v+WTTccmzeDS1mSR69zxCU54flwzv608U+
PM1gC7FZFv4pMuhhhMXl1HtfMkjlf/5Kv7lrP13lwyPLdu/UPldJc8Qwc9Kc+GE/ucRnX+RDtYIk
PyzqzD8F6VnRPaiVJdrnwQp3f/4mH9Ryfz+UZPHRLAZ+67i/jMedMK8KlYenv2OXrJtqE9+YD/G+
WY/r8SUgmsNbf14YfZi7/nrVD98ubBg5oUrmqudRjtr0O4iKi+pYHf5/hoW/eSZ+/IofnnGrTpTi
dnIxa8OhcdjG+x6/ONiaz1nt57/r4/P347U+1DXKlkOsuBadvIWRv40TmsL5OSIJxDPu/vzT/e4h
/PFS5+rzh4U7BaHUCy6VWJAvQhS/8fc/X+B3jyAQJvSbDhlIv0gXVUqfItX5s0zaG4lTI5zUfrbb
zZ+v8ruvwaNHZzZiB/9leXDyPqA/YJxsE5J+2q9LVuc/X+G3zzgFMMUg6xzVyIcHwOw0DSxVPffM
6tbJjqiAeGmscbYwH96JvbmSK0V0y7T683V/vX/EBIMQJXyLeDYu//MPhPpxjrM+ep4yJP91MRfX
bd6FCZ3dSH2KMv71rMHFaI4zJCRElvPGzxcjJloE9pC8xJ5JZ3m6q2R9LHS5aTGwmaOkOZreJEWw
bK0nH5FrogFiSedGVpp2BbwqgxIqs8y3OgD4bHzyJP1m6+PTRfCMoPLwr48q2NnPfIxD2UuNp6fE
+kgxdxdHAdYrsyAXJ91k/kCsNmuOzw/R4QEmP4c/sCz94rMV72cu/nntAQAaeD5+T1p9wUeOHbvw
VJV2/nJGOSnocfSxCF9rrj47/f3msTtfCI83yFFQJvaHF3QimatpSvHibuGyROWCPLArYC0sPeRr
NV+9JUPO5Wejqt88dPRVKBbJ1qLe+UgFLomXorXUvihoBU13gfZh4dmfSax/eWdduEo+6C+HsA4K
hw8v1KCkVnUvvwb31qYrGBiPF0grDuYGMviZLxDtP/tav95MLnlehOgV0E9D3fzz883swGtqs/rq
bqNTf4/eF4lowJi6XzN8X1VX8frf0uh/x3D/h87ODyvZb8Zwxdch+2kEd/4D/4zgHO8vni2aQrzL
Z3aoyQ/xzwTOsf/yQZSc11maOmfd/39P4IzoL6gpDm0swPWUvpZp//cIzmBwx7sBE4TuBIcqqH//
yQzuozIIo8h5GyFDhlERcYTnT/HjtlhF/RwLdWYvE2RA0seUlPZaTE79YtDrfa7HIfBxUU7BJVKd
8DWsEeduhsKR/2GLyzt/Eqp98hBNUl/hVH34JFk2aV+2gKu9wXMu/borClK+4gHBjizeC6kQSSUe
AcVWXla3RVfq+9hugTU5aiaLu+z7e5nW9f6H3/I3rT0cOtyB/6lRzv08bnMEYyw840NBf/18h2Sc
5/lsz+MiGpmtLdkv5Xzpkvmzm4ZZPnnZoBtgtO24S7GwbsQcq0MdDs3tkEfslKGNYRL+1jXwpg51
kBgPOmn99dRBqKjcAiyuqatV4blwcqYSU+TkReW6tOds3yUWjLm4z1aWVQzdMk2MmYU+LFtC31Lv
BjSLdTX4CiW/7Xrb1JyTe6cw4k1aZyOnbTdRD23sjfeDMLJD5Ezichoyej6yzItNhTN7VVhGukpt
Rkn8NItM8TWn0jjmjnaXXpmyvVSW2ptap89m4uOhbeV4Mfs1kuS6cOCW035a5qYkQNJ30uBSZuf/
tWnh8KZxhibMjERQr8Zy6l6GbBrP3e7YvGNoEQZLMVjAJCpjkIshn+ZTl/TFQZUuDYNIjBe9bamt
cJgUsS+ExGFl/mUBhhzquje+mHU8QJoLrFuinIPLauqoFVJYNTEx9Zf9TLYUvMfU3wwaCopnq+BJ
6R4JdcN0ALeLGR28oVH3ZeWDvi+GqHg3ZxKvXHaEG4KNrerGGXXdkn2XlFpdMfU1LPomQ39Gc4wi
JjmOPjd+5bhKtXPdNwjDz+fTzHuboe+b9RpkQYS3XxkoafdRPJrpi5krf5BLhtBC3Zq+dtV1gDW4
fubNazpCDJvakjjLKYbCrSfUUKy61mGYhrms9iDt2HXrXLn+FMDqnOV5jghzgGlh2Uq5buESELWD
jt97SswEtHqj8tkh4rDvhwuAyvzhhc+pPVoO/qCT61Yaulm2PNIWtY9R5MyDdJBgDM18UuKqJI5g
q3jG0U0Hx1l6iTUgPB4R9YW1dgDaquy2DYe2ek5NL1thZDJPvsrKB7MMsEkGaDg3chTNdy+Nz5YL
nwnVwquKKd8NXUKsaN0b1TEBEHjoMiIJSPwZCdCDljlLZjeB891uAvdQDD5OQZkW0UrVtrhytd++
x1EivEXbqzjAVuhVJ4f2qIb1ahSk0DMY4Kyp3GNtjkDyTe1ACQRQlASMyJNwF0LsxEUpohXI+mJr
ObJ/T3jpTsKuNU7EMeC1I3FvPOQMUBu8/Xk1HUbPFN9wukYP5Ri1dMZHuKftPJqyW9Rt20BnsYeh
wFwM/o5kJ9mr7FqruN9ooFEBnHZ8U7t+CDxGycU0v2exg0THF/laZ2PygP0+3vjSEN+h9/aYFKvG
XAeljg6mnxuPpODWZyZDfcQzVq/mSnuYtGrwh2Wg1wXT0V1xjlkb/bTTC1dGdO1FFNLkTVx7D2Y/
utSlW926ug+Onulg1A4SFzlkkN3i6Tf2rcsvMesqOgsig/qqnsW0IzO5fSq8DCVFim98m5LStvZd
gYJPWvl8tLo430Rp3u3zkpn5KmzROUV2VeEmJ+7Q7sfJXDk+XKNYujkOMky6i8CYR/S8fhkeFAss
8HxHvWWg1t9H8gxf88T0L6pRJf06T2bCFGgz25hMi5l0WKc+8ysqPU1k4JQOSx2A9ngdZn51MyVe
us9VLdOVS7v2VeRGcZVPUr/g7UVBLEMjQp4YA7DtSQZ8Fg2is0IUhAUqoFf7MZw50Wt7XnW2IkLZ
tZstHTHnJeGvJKIwctqQCWFU1NeylDpfpFZcsRLL6g2laXgK8kLPC2QbJMAaCPjuGOZTnQdIRmaG
Q8rZo+gzT4gUfZK9cywQrD1kqI6BlK+NrQMmC4GXEqDKinij3To4NnVRg4qYCFPYpJOTwEIRRRUs
lB0pzOmFsDfO7FSHyJvDjZzN/sYOuvhbkHhMgxEQTEvOC3OHadmos5VCfLpNYoFKxY6K9hgL2e6q
RPfPDUEX79JR9DPcBmSF61U3qID7/TwVzg5hSjXgAZhAJqI3t5dxr53HEf/2NrS8Zlty+9IFL3+/
69tKfMmypr3wqjr+VvSV4k1n9w/X7AG42xHQeB4bmRwezcbTlPpWhYY4G2uOXpE/tzvCGrtN5qbW
o4i4TJYKeQDyZLxNyRQuPRVnrNEq+55CZOGdG+ODWzfjdUSS8jFLDGvdzfF8PYUeAYgic+an1s8x
Umt08V7rBYx6CT+7GArZviZM/6EGZFZrIBj2ocnz38W4HfXg35iDT7yGW4XASND3SEBEkzeNW1iO
hGDNdQ7qoq2awlkoJvYEukUy3k5qBpvQTLmZ3JaZRTu6DKDdoDxp5j0vMtiQlmF8wuNfVNlKjLLL
FsLF+EnIZHeVtKK9DesxHHeTDV0lnzKWFGEJ+b2Iou4x1lRysKzGed3WpXZXZiJmyEyVg8Egc9mf
jNYjd1EL63H2pmidUjF8d9jt7qaz5khQroIciXi3Aqmq+tQUurvvpyl8Rbns3rVT6u6TqRzYzuyJ
Bw0+u3frdYXcR9Jv5bII52Zr4+iJGQGHI6G3IKtyoxRPUyH9yy7j/mPxhAWBEMpfg9rgpmZ9Wx+E
P9bXPlIgsXSAdby7qUNE7zDU26ZxLM4lpTlt7bODcK0SIZ6dIQ65zV0xb+c5BjDikLW6EY2MXpNs
ctZmqao1B3GXcbVqHpjNszAEXOAQJ02+zgyiMtFA9LvOCsU7soNw3UX9eETp3QK5K7J6haSs3yt4
fg+WkZfPWhvZZUvVPBF/XemrMXYxD9EJvPSAUePZ6rW1dQbFrfaYcF+bEUHRZaMjYBaWszdGm4H8
lAhgWTZbsrkAhUzJgoZCPwPaJUWVWIfyxc8a+zTGjqlh1sRg2fMmOLv+R7GzbYa9gEPL5ECRZIGP
aZr+1styeURNIb/2TZgXy6ltiBjrZvJw7cLUz3UVwQSra9nsi2lKwEL0uBbyUL14Qylf66mYXxyK
vZ1lG/JeZ53trpwKv3GfyeGymKr5EGiPOWYSFA9lbkVbGk0x+23JNya9r+0O3mRVLwkgum9GNRX7
bhIsLTYall1RC+NL3/m9DbvEz/e23RmPlpU2+XLOAv95tskWRP0WHJ02zw/dGOcrgTtumYgKJdU0
utvCgw3uFIWfQzST1KhGFiSo4ULzwkvy9NYLqviha83wPSKZ9V5YhbsJU5HcR0EJx8RHE3HNC9qu
DLNzGdrWuOT8upGboiQZbih8QpaItTOvs1wZD4ZhpMmhRWV0TKaWLlMkpuLRbdCMLEuDB9ewwn7V
Zaa/Q1zn7aOgDUl89ZmShTKdx1dVT9HRK3p7PQbWsMM1MMZLOVjBadC9c4irof4m57C7rzh7sewp
AI/LNDT7u1EF9dHQbUC6xVTOX5PANy5QbVktLJqJnMo4GS+yvko3pVcMm6ifTHpPNdvtgpcn2EWw
4VaqB1llBTWZumnaeVezOQVrPdpGtphYmS5EnZ2Zw6XByMBOZfg0NEN6bMY033NQnbblONorVpD6
mtNNchWZTBtjz4CQ6zVkBccyAF/rVuRl5625NhWrHGEn9pvXmy4rdB4ek6DJVk7vmA+T69McbChm
CfVtY/+mNcxmJZNGXZOOI7Z2XcCSLDNX3lKfGleOiUyyKkIEX0pmCJJZLu9c72wZBvWUfkNAqW+I
7Zab2Gyq66rFopVw9Loo3C54zsvZ33hzWu6lFzp7j4L0S5HMRLxFXXVlVFoffXeqvpQOURY5Udk3
nZ8azgLTbEFgpdWU7Kd1dx+WQ7lJ7KndwTIbvbXbGTXNGKPJ4GyX6d4SYUPke12KlWNnEWyNOGyv
zm25L7KgyFuY/eijBZ398ZHdrNox7cwxb9usEYYoui9zNbsX9BPFk4tR+caKoWqi89THBv0dWLO5
QlYROrV99pqkwEZYQI1FFgtzXEyJEV7ZMZyfiriT80kKsgLr3/jN6HX31hW6RQvbK+cEhac5hQlD
o2WcK7EPA+2vM8+VV3NnY0ZlEV3zKNiPXQtFqCnc+bJBB/oUT323z3LLfw9GlV25FF3gmSYfsCJS
WdRQ3jFVQXktEK2BObIJbEbdRKZiOmFzbRmszl6d3hrUttBQTHJ6A3MCyaILsWsh3n0VYN3I3Ctn
tYqnrHvr56Yg7jz0L3x4UKcqjeenZIoYLYxeCwkpg2aDH/iIvpJwrmCSN0GdgAb5+zj/v10qulQ0
Lv7vf8mxf+1SlU359lb+3KbiT/yrFLf+Mk264BFTR3r+BGb8pBRn/0SYQHM25JU6N2b+lYqfu1s2
yFJE4bRH6JHQ+fxXKm6bf5H7ce6q+tTlvkUH8r8+279dl380/L+Xiv9mAhYxWjnrxQM4Gb9QrgcS
wczEMV//MVJYuxyC8o21pQDaJvb6M4TBbxrwXA62LoHOSGkQsPzc86nzgdadN7/a23njbQTQZjxx
z+0CT9FWbqBEfeZZopf0U5uJPjsdW/ILuOy5829/HC3PLL4wn5Kvopii6UI0sZ1eFbFTYkcTpZEk
jxGHhWrl5WYax86+8uFXTyc36Dl2hUJi5StYPY23TiVh+yUHccaflFUkjGjfejJhtEZpH3QMlWsd
1U/s43/LtOt/VNt5aZijDlfsK+C+7oTTuNDL67zL3GrRV5xsJZMGNdf9phEqba67RmUgDmRVP1bh
OGbPpaXz9r6MCl2ssVP28Usd1Z51cJF1TQzLrd7ejsIXTDBKAAaLVvhOuS+jyvCWtVUzAay8aBg3
pWPpy8zX7HJTj2z4nCdmyE2AlHofwZPj3MD9uKrdtBivTLsa+DX8sEsRL59vVmMqNlHRaErO2ozk
k+mnCCgHdLsvnBJBGId+8jWXQ8dJmmbDlWsaEq5AUwzP9UBa43KoagdHkFHrlUfjflMUboOQ1FUK
QGDuDRba7hlEVtvT6Svael6LIs3OXEoVH0Rf5cEmcidh7FJlVgo+UlEfxdSH2Vb2LcLqtovSg5r9
DrJgn0zz1vYnlaybqY3hFfrZw2RZ6s6Rg7nDgIBPCAISwuuYai2CsphYfbo1m6hMrimtbNRolTGd
qaWqLaVN85b2l38fTEUB1EX0Y+PmjKpaM33Ks6JpFrQy07VKBVlcBIujAhKB8nHoqVTSJ0kbA6m9
o8NILZs0d9Qip3N8BxFhzh7jPFb9ukpSygG711LvSz+Vt3VqBwWURFGLVeh2+n1Wjrx3Ye998zn3
iBVVXYVro+sYVo5sk6+dNVMvGlP6JunTvKlWJjGFFK6CFfJhKwPhxWO8QClrxKthsAxKRm4KAYFD
Zx2yOK+ummAIz+QoZRSRe0//VcoKVmimDfh2EkdDXJZp1i6m0bA8WHhFGrLp1nX8biMwljedFUDV
lBgOiOImbstA+D4aoe53yGFje2ukUsgdPc3JheFgNfFlG5RC7aOEHsYaTZil3qEhWc8uOXz1vRwo
/uKVH2kDzFoVSqNZVnWG6ZuTtbRXlpPG/ppwK7u81qOTeNej1UbOhvCyVn2PE4bKK6TyoEwbzbEA
KgSicSB0RKfTvdNttHCyJgGjVYokhz2K6qa+dDiPah6legpucliM6anRc+ot3VmZ4U0raSTRRFO5
xxi/zqzsPivr0HsiHZyj7jx1YCo4qA7+HY+5Z+8bK4bTKbFP5PtU10Z87Vpj67FrpwLJvgui/3qk
gPe+mIieAXmGDe9MZs4Ie91suok8cny2Y+kzxA1a8dWWRXEy8iTpdyYrAjpub05AtCXm+NZ1tJ/A
AlZEkHednJ8H1wkVciM7k8/pnEOYK3vqnF1kVJ55GVRBQm6OOcbWnr+j3diBmN+bdowgH3O87D0o
cWIosSJ3braSjuhxRYY6pjcv67aiTgz89VwNBW9DVLVty480E/r9VMJcBehBYQpGuutGHx6cUZUt
XhdjSIE9UtmvhkbGemMGTq3hnOV+flAtuwaq83DA8QCLrNsYMouGi9ronRQqXaS9zaCUgbkgayJv
wWGmuaLAIgZKGNhVlqoyQsmhHV4FfbV4njtDL3SJt7hQ5wy7WMkJ1X9fdejKlcizVRsX/UCHeHTP
iG+STox3LDYKw+00lmSO9O05e92gCrzmBBgfcbO4cuUj4dZcJwoU/6EJvigunNEfFjSoMv4t7HYq
UwlEkRRk7TlLD8/CweiqI5XtQxyrY5cE94Du8KHE1m3lSLVOONQc9ehnAMCtu8gC/meXZEPaxhfV
j/GWSjC8HJJQr6rByrejzalmbi9DkpvuPQBwsZavzJq/z6QJk4JWlo8YrdjnIvi8vprovVS+WW40
PVPos9FlxMt6ZzT1A0ctOrneTlSM3Se5FYV3GEfvOvC6h8pQsFVdn3GE5V8OvAKLuseOHJ030rA6
Zo7Tr2bJsWiO2k3J8ZonI16m0i0IwSq3TC7484HzdZzaZ410tSf5I03xhWZsCq0wo+sJ+9Od61Or
E/nMaxYn38JY3XRVsTLG8pW36KrKeCBHm5bWHMlqX2TxtHddfdcM5HGlUSUObArlsqJtrAtrOnRO
WrxaaJuPuZvO92IQ1ir0h8fOy2+Mmj0qaqNmYwh+HGC/nI2d1ltL15QXw8x5JcpFvU5K/xGb+rbo
onVpdccKp5GZSVC6ERtXNxU+9pKgwXOAX78RBk7MoB7W50mCsQqZCp30YBaHPlDPcayTeovbqzoY
ITOXsmzCVdPVBxk1PQjd3Lhsiam6yCzhs7QJ7e6Zd2f7MOqkWpghO5vfVaakexwVX/ohj+UCzSl9
SLs1jRuGAmwBdPCTaBEy4tmfdzneEJJ0Ld1WS4IhpU0Q0RQBkS0AW2LnmV7UODKjcEHncjit1rEX
l8s2TrGaqWS+nIhJWpGQ9IDoL1+omsN7hQUOzxq46Y5yZpHKnB5WItyV0ThAEEOkoXmjwpPnjN0h
VdVd5KWEhNcGnM+mj5OHvEx4jmrP8Fw0hqo19qCdlF7nDmMffgStaC5IQszMOrpzxPjaWkVTXPTZ
5A/eAjFBc1RDkK6cTuQHOw2DA+6e9KlzIs6kuMdC/vQQ034zOVgGPsxPr0qKte3L/o5ux4M9xGR3
eAaEhZBDs16r0ed7B1dNnO1S80vtD5taOIe+0NBMsGQRxT7fdUHEtkY67FCJmD4AvGJSIpKXBuHm
3ITNAnvw3h8CtZvdglZuZeEALku+im/J4+DLbWHw/qcDbQc/9OaVzxJFNz8N12aY73qRPxcjq5IC
OboUvhFf2WEfr3vEPM3C8ohf6hURBVU2RcR8gnQGa3fZ6VbBDK3MpXJAKQRB3xyN1rz1Z6u+cElo
i1Yjq0y4lPQ89o3dmNMikxmHU9R7krPy98FUiE+nIhrpLgORLsJk4rhf+pS0sxscLMLIu7y8K6KM
9LdyrpdzCWs27IGd0RidGEG6wSnnKV62tQk12ggfy6nPoVlnmH1yQ+/1YLyZVMqLkdLgW+Er8Jzd
UDDP6wdwNEZ5par40tcK02lxRb8RVLzQd50cOGH3l0owqsla7ykL/XEBdNfBfZjRKq5cb5/nWXIT
WIZ6G10RLLy+aLaWMcDV1p27mzVTEySly6mM5FpmgnRsy0wuvDggMpJydO/H1Xs/dcULH2rHVvc6
NcF5E2xlzDiG3zGsm2nJrPUiSx3I15p3vunt7x6t7IXirL9woZEfZslPI/r6/F2XXtBuCulsHZrv
i+FMw4DQTT/UnK1FBJRi6Y424OQw13ytaRnp9omFExBWXYEAm/BKBm5FlGNEqNeg9UgegakxTJTL
gUHkwhUcM+Kweqs40vOjqexSnquWarLVnqokWZXM4Q8268Cqnc0dXkafrospbzKI0Y+OVQeQDnhD
FqQwf1W+FKsSV9Wq01YJOyeO8kUt2mTnxMBJ0qyqnvq06m8Y+UJrGfPCsKF76uBB1mF/zWpR3dQC
1HWJZ/DI8zhcupSOelXGln+0PBVt85wpqJkNHdl7JYI3THNbYr6MLT5Ee6ZmLfqNYfjNxm3KdhnM
/nlQa9UMzYt+mcE52WBitKg1db/q1fQY6oG3bYD7kTTGKbXC23zSPcLUMFq6RiDWTWDTZanG+6gs
LlQzfElDygaX/X+XxlZUnHRoFUBVOgM4cZIVS7fSiUYvkFv2UhS90x1HO26+4uUj8ilNaVsm3lgv
TBODZ+liXuPQB8rxm81QtL0JslrcRr2duCtMlhDI5kq+e6UHQcruysZd5f6sBBrPBqT0mKLt87Oy
JZu9ijLw923eHjC+1cllVdkcCbD1WVCz44iLqRA9PHPmyrCZkhptUqQPRtqA+yDoBVh2MuSak0fS
ZnTFLRU+mZ7tyUsvTr3hQeswzNjzK8zHZJrwS9v7wvx/7J3XbuxYlm1/5aLemaA3F+iXIMMq5HWc
XggdGXrv+fU9qMzbqWCoxcq+r41CVSZw6mhpk5vbrDXXmEIgj5soUcmyOy0E+OTQSaPmH3nRWbTr
4iEKj43biNoF4vRBPnhoshvNEQoa1Kh69j5FKUzCKzpehUIJwBMPNGb6qMe4O6lYofoW6TS9VEkC
r8SitqKdrwimthsJpu5yumeTi9w0Few6QlXMkZ6ZRUjyISCHRod1Galwv8mMGe1LK7VFD7k39cJq
R/08S+9kQRMeC1d3I6fx6tB49gyM8+KtHOea6tplKbbeK+dqUXjjlqCV5P/EZOwvOSsk1UWiVQNt
okKudL/pb+mvJogEnTqBCtY2iWUAxuRx8NVxe5izmR12gqvel4XHFYHsTuLvORln/WXJKdu4p5Yg
uL854wQBt2TMyFZxn0aCUwiDIF0WYtVpa8FoI1W0Q/oo5YdqqNtil6WqL9zmSZKEx24IvWTNKbiq
vvvk9SlpGB3QG3bVRoVpNSbUuhDOZCB2dE74e6mNjPitb5uIvDoLqtX9FmnkL34Whua9tKKULgnM
z9NDJE+mri2kQ/yPKM7yNU3jCQa6mycWwy1H9MljYxIO9t/bu2W+zKkgaMrUIBUUJYyDUGjiCjcL
FpPJDDVffZqYZRLwl3+PWXbegDeFQU2k0P/AXJvrYVX6m+UwMJ6U6+CqPVY2Z56d8ThsxnUMQWwp
AfVZOHWSelLZQn55pogNpEbklh78nnBBo1PZUeQgUoTWQxL5Nr00Xj5kHz/RVX3yynhhBo2mqIxV
SZ8/RXeIgz7VSzJ6tG854SZm23DatbQWaSxcZG1N4rG/RVzv7+wkGoK6jzK3vo7koTDL380BKcg6
3WQ27aDFSrhyH8q1ZFP7X6eP8Te2g/3COOcKUxxDDXoaTXgZCvK/uXxMGcoujwPpVd5KG9yAN6m6
z7pbeT9sqFFzJdAcip805pYLQvGzBzwPjCbx45BFX0zVJpdeQ8DJOBSSD9hBnD2ou6HCp2C12DA6
PcKPj/g9Hh2qoqWICIzm5EAK16QhZOm1Ovj7cp9u4JndgbR0ajvYLCVoP32oH2LNxgbKCyiwIr2q
dHw0+UqMKrtYboSa63bnI5rpdrWazbsypFfpejCcZFzFoPwwhLySm5V1a7x19+lWWmRBfzo0LMpR
QCPzP0s9K5FZG74lvRpA0DF+XSEz021/430zvgmP0U1ByQmzChBbX8/TT8ISC3sqxKAsAvMGY82q
5b6ogA+Ml2P1kJa/jeH26wjv/bunEwSXVgNFMrcamDRzzb3u+6PWJ94btd56DdcVOAgGLTcRNCvD
Dh6sQ3uXr3LqWvviQT2qO3GZxDwtzbNfgVWb/QGtiU6T1UwWLbterI+68qZ2xUSPu/ZFbxeRyggp
0FPmD/sXK+u2UTRNqZ9fD/+T75HShWmh6FdI9LNpn36PRQ55hi/yeSphSE6xlUkf2bhprcut/xpJ
9tfhzueuYRoqBl6GTA8r9YTTaGE3dqHXD886LQRR+OgPS+vaUoDZJ9gjURLFdngWt20JTwsUru0d
JsfOpnSyG3m1/NGfRWTTZTvULTwlJbIKs5enCaCVh9x7yyVrpecPLobiXz+z81c0izB7aDgMcIgo
h1dhx4V8I+10R74fNjS8bFy72C0EO/vi0CBO+m5aLWkmO+/ksRqz98ziJXesezTC6d7YhBvBToM9
5gT+lWKTwLxebHD/LCpyLIBLzET6lGYPMYqKIbRS7027dmRYAsVWsJ/d+8bxaAv4N/DRS+Gmd/qh
68psyDLj5fLWho9Z/b2xDrGZLby1eQ+ZxHP8OKLZS/NIiWB2JLxSwoa90+U/3EJ2QEAcTD0iuSP9
0w7gebzZxOc6Pvh+5r1xcHmjTSXg5s86Jl0kWzwjS8fWf3b7/GmijHsbzVFptTAXvu3zlXQ25NnG
5DcDAA2eqniIAlvZpBv6ZG5/451VbYV1a2d7663Y8KDzQ/mtPAjOYnvJ/Dg1fwbTn394rSV3pqKL
vLfpvA0HpLwZHqldXVffoi2q1DdoRIWCY4J/iG3r4evvZul1T6fzD6Hrzs9y2fPeRhx/uGzEFkZz
wV4c37h6LMysszPxbJjqzBJiyLg1Tq+aTu6HP78VDsQbhNc20jLn//e1znn2fVgUAynNN3IHHt1o
TnWXX+vf22sk7eyQ4kZ7YoZX+Uq47b9jIrVebv6cX23mA57OeB8erijCPh8Z8HRmRG9Jw5B1KLfG
0t7x+TukSV+DScYNavbJqqMZaAMngWqdPYWtDX4nOygXEYLZdbmWNzi+UntVL6z9sjP5f/NO/449
+3yNGCMnKZ5i10dUm+iTJ6NpSrFIQJ/00UE5t/S5zkv7fz7Vv0POPldc1upU4WtpN+HNlI5WQNrD
o1kbdnIs9uam/qZ8F3fNrthgO+40S7P47NDzvlr8HX72sbZJzaXeEp87G8NWeKzVN2MtHcJdvtUX
QMqfr/Z/R5p9mwMyeHSP3ls93OfBr4ADXh4uhJg1LCEAOR3N+59/mKIteRArY+0bDuUeJP9u3HZH
RCDOUmv8f7PI/tdgpNl5bYKT1SjR38KjSijNpRN66rxWb7y9d2MdcKD7cSUdRGfyJq8usqWmwYVv
5P2s8mGc6O4GhJveW/RdcyA9bPHItENHvglurTUgtFXzoP/Aa2xhrp4pX+aPd3Y+kMhg59Mh/X1l
X+OrddlfTKc6+nSO6e2y/er0uZ2cyKfXScvvRKeUUb7Mvo3epZ/Z4HNUMVPDQ66lAI0g3VbS319v
G59MTTyeOfmbuiGpzKLTlS3pq1IUQvVNBvVcafdUeO1Ae/o6xidjsTTuOEiDuOBgY3MaA9kqCMJE
fcuNXd9/b3BQaELDuf06yPlAaAfkmWlkE0Qa92YvKDKagiyp/Capdi92wLMpsvb+0uF0WuhPX8tp
lNm5rZTjRh5U43W6rIAd3pY/ouOUnIk2sb2YnDlfoKZgFjcVncyTMT/YW3RsWL4mv02UY2uy4Uau
vcGx1VtFi5mDs85YdHLTefFd6yaapJ5OX1KayF3btvIjy/FzfgzuVLvieo1hI8VwRPVbdRNtlnqb
P1lLrCn1YyBfw8GajuPToDAHq15Ulcfyp3elbNR1eF+6jnU1XiSk2Pp1fWWg4rA1G5YghzX10szW
X8+aT642p7/BbBNQk6IfW36DiVtDsXUVOvi4bN4tgLbZwuw5/w4s0aStVKaFBTXh/O6JjCsxkih8
Sv27zn915Rchph9odBdO4u8r8OkkJQ6NtQZpUuU8ERu5QpFSyXmK97gSfvM3FpZ7ZA9kRwCLuLAw
nn124GnhOpjQHQhGPu/0DYpuLgZRWjxlWDYCVl3RQHlIUmP79Ws6nyhTGAP/DZYR/sWafd1qGVLF
rBsS2R1Z0djJxTsaCYzf08Goh9I45dO2u25lvUDrU7BdWNp2Ph3nh19g9uGHkUxhv2yepOwy3mub
eFP/UO6sp+ynhHqZGTrtdoubztmxk1GrqsZKz4nQMM3Zwmlk4ZgHY0O3Og55/aq9UF+su5ZaJgZS
dvxGdy/UCbQ4QGUFLANWg+V8/dzPV4XpN+ALmYALU1569oF2XhXpaOqf1MvYd1AajUfdjq9dJ6WD
ydavFZvmQfoWFj4U6exLmYWdzaokzJMKFOgTEEhTd1SSKFfZobANfFfv6NUtLuGjctcQHO1/MmD8
5lh1sUMVYYKdzmdScaHftyoTzaKXhLPvZro70vFTxLZwOa6zjfhDR1tw8z940NQYZEXSTEM/q2p4
UZ2nfmwQdzqM+nZ67ZH/w11qsl6DhRBfLlY2pil7skywCrFPcsiY9MucNE6HGgcjGr7ReGo3JPvw
9cu+tRfaXbeR7HKV3YeZnf34epDnAU0V4JE87Wlkqubq4TIyrDaT0uemg9V8qIQlB7Dzb3SCQ0EA
MLEPwVVydksL4jBOCrl6rsJyhazWqQvoOVGy/noU51sGZPCPYWZrkSzIGSXw6lm7HtgyOH1u1L1+
TQ+mLe6WjI3eX8LpSzoNNj3TD8ddaF4pOobyOfruH9Vte7Q2k9dB/kO6U7bFntr9TeR4Tv/rn46R
ksz0AcgTzwvWwvSBfgjLBV/NOzUlKetu6+tw4zr5un3TOQMYe3Hp6jI9sJMxGhLGbXBJaZQAKjGf
F42UDXnNA61/0nzaH5ut6wR2dDS0VbHPHJxk9/94dJKiEpO8Pkcres5PR+chDlD1bHhN3ia7Hmn3
ftMF3mzXrOJLO+TZrJ9wQSonOdXkH9K8XmlR4veHNH6Lqz3tkysRd/WF4SxFmM0REzYv+j75Fe2s
I9vDa+i0q9YujvnddG5adjWZr86yKPKidHb7if0Axvb08TWimcSFHL5lqXDQk5e+eSka6ZgJS3vu
tMp/nBfvcWSF5QIy40RDO41TKIli5VL1+o5atXHYE1aRXTE4eld9R7saNgPMJSQdiAc0e+Ghzg/f
78EpiUwcfgpO4mx1FOM4Q+pbvkbV0dxOKWgTicjFVJ3E/+af7ndTMNB27Hp0OWBUMRtpL1UlDvT1
a/2z+N59T3bBuv0hYrO86TbeTX2VHtCKb2E0LIxxfpuZh51NnKLIWpolqtf02O5Zx8xVYmMR/nOy
Gqt+Wy8L0ebT9D0an7dGJ52p82BPX+dA8z2i7vo1KzeVdZWTpUC5KNj0GJjflMdsn679wz8lEL/H
1BWu0JRH2HFmb7FR8jKIg+a1j6imJxgXLqV2Ph3UhwCzk0pdMHUEuX6l4/23lSK1b2Vjccc5D8Ky
AUyZxZH/SvNkQIdl+ojP0hvitL1wLadraxNeu0fhMo13ng3b4HLp6Hn+iVOdl+HyoJUh3hw6Be+k
0RueW+w9GeJRRYltibtAWthK5xs293WiTKsIAgt6qaY//7DL+EkhBEHVvpokOQLxISrkdbvECD47
ws6DzLYyiV7XaOyb93q/ltyaOjtoZk8+L7RYaut+G+s//jlAax51NvEEpZah1LevqMY2hof9t5vu
PGlcWqU+fYIU/kQR9hFiitkTBFLi52HQs0S69Z2XX7nki909/piXcXyIom/uezp8aXacJYvfR/ch
7OyZDpZg9oHfkwZB1E6/rmpPPlrKNnsYKmdIKXIuhlwa6eyBStloQd3vXqfTqqehOXCdmkTIFtO9
dbVXeryemh3uj18vWktRZ593SEtgorTta93fq/JFa97X3dJRa1rbT3c5PoIPz3J2GIlTSYhLvXvV
L417d9tskRDbyqO+Ejeyk/9jPcPszSmz0g3OFxFS7O41KetVaR48D7Mud2FInz00dm2QbhL1aHQT
p591KnKw9A1ipCAK3AcL0TW4mH/+YjiBcEClLHF+NTZNulRSjnChRTPOddNd5N7D1xE+WwJhmmLw
Oykjzm5k/mBkBvCLV9e417TdUDwi56TZ++7rKJ89q49RpqX/wxKIqNGTBkV8xQ3H0ay9Kl+p9VKh
5ezGImuaRuKJ25eOR5E0l1j4vpgl4WC80MnlZHfKLuFTxXTKnhLXS2WVs8c2izWdOT4MSERxytXd
eOnlI82Wdlfjc5gIdpcnztdPbnFUs0OTLrlqoPbTqLp1cZduom290shTFvfLozpf8WbDmr0nUaqb
IFSMl3AfXUmOchG8Wup1flGvUbOvA/dXsXT4PTubzQJOE+fDc5S5obQVo5t0hy1s22mla5xqX1wv
FxvOqhvzCTJbz6umVPOGCaKtRDvjUd5NRtbp6tefvpuLa/nZ2fp9bBoyC52tS5ufLgrJHQ1IXS/i
QbYB7/OfafMQtjLFvq8nyfRaThZXWoclJFU0W3NuYu6fPsW6NzMvNUkJJIHtyVdKu7DULf382WyX
BmsU6VJ6jtrqIuqLzUgv7NcjmHaYr0Ywm+UjECSodfUzlJ4MUyLTvOnTDWxwWxBzx1d+fh1taTyz
aZ6i669BRD+XdDuJvbXRo4evA0zb9Hw4Ctkf8t+apiJaOn0hnl9WXVWMzzH6vV4VD6LV7uJeO3oN
JEHSy0uf0WcDgvgpKiq5LukMZGolPS5amQgeqVyVannM2sz2FYxKwwFzGnfFlZ2+aaBE5FTxTdi4
IxqNtHQszNa+HvnMtXLSLcIP+PCrzD6y2gqKriipN4P5yLDhFruDF8q0bNSP4fA40uESohnJZH81
avdZFDsBzaRp8lDFm1jw9nn/UDXKapx6vqzvX/9unyxvp7/b/HSl9oEuNOJzg/vRgF3NSvtBJYTG
4Z+u5NCQ+C39Zi7JSD55NboK3mWS4Skgh+crnJ5bIb39z5Z7aRmj3bnl+utRffLpQJedSPlk0YEw
zOaa2dKvUgvdM7wi3aH/n06I+lepydd+MB5wogMXNtx/HfIsc81L/hhTm52vpFKJirroSZwNa1Ll
Gz8t11UdwJfkfSKJr/bijnbJddG5O9fqNsKC1+XZeYL4bPbc2fgHx8rZghdCmwHeKD0brbQKuBn+
mDScC2OcntvsGz6JMVv0VHnMU5rBn70nczsVY2jzuzdfrR/4Dji9XX/HkGy4h0mV3HcXSzW0Myca
BI7AqcmUwIjln/MbPa16guc3BvpK47rcy+sU9x3/vR5CHcaz4yvhkGyCTbxdSiWcnzdmkafp9mFH
1gJfy2jheJ7SUaodIVWpd1hjbzMH42dn4RlPy/rJM56C0exFep6cEDWg02BmaOCjI+rMI2CK5L5y
bWugxpn2SIHm9V9/Fbj+FwDzL24gH579GQDmMUh+P/3uXj8SYN7/yl+gYgU/UDqaKDmKVFW51fw/
ULGs/UH/Ah6h+LjwssxJrfUX/wVywh+6CGHakjEDZa5OZdG/ADCCLP9Bhk8CRcfJh9qa/I8IMEyH
k5kycXhR/0LgNSZgOymu2bTEFMMEF9SR6gUGO+xaN+zDEOAeCXcJzz0sI82bxu3qeu1x86ufMvbf
BGjR1CEtYQgOOp2rtURDk2ImdCmNSlbdqhg9YdCm+0O9HQYKvFsxorKNCF1OE/HNy7Qq37R5EqUr
ufejBvtxPS6dYjCHyDFiqRf3pPS1mzaMJPcZFX2XsOXWnn4jTCANoH1+UNAEJWO56FpmP6wVPIhh
aNS+HKBwaOOCfspklNkWBlAIgYe/zbFmNa2dUXBH4XJa74ctasukvJD9otvrUPEtR2ZpSle5qZXY
UbZJIG4DM6S1XpWpPjlRQlfYqnUjC6PhlrazixI30XIv+FAicPuAZ+C0CSSydT60DSXHXkipoUOB
FbxVHA50bYLFDL41Ue0bOz8aUxBkZc1j5xJ50IKIrkT6VVder0UXYHEPDfRQcCty1duFZ+YvVu1r
d4Wq0CoflL0s7s2C5swb0pgdkEYh09qtHA19uPFAGkzYrKFIkpUwVml+m+iR6F7kRQ2AVektrbuH
xZq3wLxCDdv0NgJdVsPQajeqWIj8EkD/8BUBVpd6m8Ik3TeR0hohv+lDqFJuLzkSDJjGgUdDL31e
qrX7m4ZhayV0ASJZNb8Ie9wIFRXUMH2rYhxhVZTEBpSbvjVgqGpKq2oPGm8rvygiV4Z2VWlNmz8k
kRH0v4R6TKJto7i9tleKIq7WhYxKdUs+zDd/88Kt9F4sZBG8bdbSpL5R1XwsL3pFFUBLeGkcUWOu
8UgRV1FB8HVYgOLchrEYyGuhCBNv3UKma/ed71qNXRaGmW9NDxzQTs+MMNwPYa/kR2ijivSYKF0f
dMAi6Jh8EAq1aR0sNiP/SspFkT78SIFLYK4w7cRYMRXlzNtYsdHV2zGLm5hKc8W99nvSmVX2U9cF
8aXHMGykkS8ocVlZ6Y1cSiuxGl2EOiKY6J1ajE2zL3S3QAsn+RIUhqHJq+J+pPAa2i3IoO6hVT2x
WZmx2xSbpNGLeiW6EU1YIEnDi1RVa+hCZtRVP9ucy2dCsgI6ZoxSp7zq1CSqLlLTbRLitpF5OQxt
AJY31PiM5XwM8n3BpC8OdZHAigHBrGqV5wyAh3qnipOq+RF0bYJcOBfa/JeidnThexWjvgA4JOo3
baQn2BZKY1rKv+KcGsVvJkz9RjturTowi+oRWqWp9PuhCXL5Z6gOfnSolK41APvJQQMvTZHqYqVH
ZceP7ssegpJfjp2d9IVZ3WFgJ+XHAWJFue3duix2YmwJ9VYNqJTjYgtKkwffG2OyTXF0HC4CAbzL
TkprybrJ264J1liYetk2NjyvfPE6KZMDu0/9VKGTWPN+qqlbP9WYENKbm9XmtzFQCrRUKmjHnVu6
d/U4JqODIYZ27KIuCA76oFqQg8qILtF9RYtrbq3yumhHY9UksCpWUVJE2tHMhsTaamB/AJlK8Zge
QykJgAWFIE96lr6g6hygNsF3aIDdRNwN1Nbp6XnLMhz7FLGk41/XIHhXuQF/Tg9q333zR6HKbzsL
3ibn/t4ovgtBXlYQLsYY4necJj7q8VKpMHJSxxDntSSF5PO++/3vQeBfwNi+OgjcdU/py9PJMWD6
C38dA8Q/oHBODaeTOTeanL+PAeYfk+UAzbWYhtM38gEDJ0CPo4eFGw55UIww6cL9cAzAgxyRiWXK
GCqKVHb+kWe4/F4M/fvASILD0GHN4alAExf9QO9WiR9Op1nru6iZjfswzcaXuvENBwJkdAgzEBcS
5Ay5VteVpcdXPsDqO6lQ88tO0vrfWE1r8JZdxTEgOzleo1RXEWu9LZSJeBQDj5w+SeUH1Ri7G6NL
FJj0Kuua9VClL4Lkjd+kjrR771feLc7M44Vai9raH4QeW2wwXhu47+UlTrFQWJVgsh+TFbZ+SJo+
mhq12hsVlJp94ufgasZSxCjAS37QWD7QZO77ueEEqaE9amPV2V4xdOKa/vIa7VfoZz/kMjMvwoLN
fqVWpv/dTNX6VoUcxQckU8LCjDLs8Vc2Umi5nlCMW1cQNUDGdO1DdBWCXZ7GFjbLehbLQLtxqQwS
I1Q2gB6b74NnaheNFSb70RJgapWhIrx0Xu1elmGmbJvSpXY5+uNe7/FkA1GpDLoDx8JQgVT7P11N
5pLflhuraNlPtdboK9sTB/HSNcZoD/4suC1DTy3trAnGtWsiXSnKzNg3WDhuzXgUfsPngWUnWxFu
P7LxWoIsok3faAayZkWJjQI/VNyOLiVVNQJgDnOh1O2ErFSyA5ucjLuu0MT6KpKN1j10STjGmLDG
evMSa2mUr6tkgF85mJW81pPCP+aZDzDN9UsgrEpTZbSwmGyqq84LjIt+1M1rWejdnRmUeXFsuxZr
AbXypWPVekC8YAcdRj/Wfyl+ZkiAmAf/l+6XSCvH0r0slDi7M4Us2Amdwt076yQ7jZvmVjZTCVvt
yKi/hzFvGFRHQ/9OmBnUJ1LuymIWyHdtNvrBtsJgaG3g6Q79DEfixA/MfTr08oMk9s1NH2f+r0bX
4rsEZP1tjHbhcsjT7C6vq+ACehnCoBxA2joy+/IyqPW6WWUR5yc7z7pR2BmWVEkrTcJqfdWL5ZMX
E48Tz0T8gkCCBUXRG5SrFfnWgyx4AbAVAovUKN+VKC8u0tSFDip1wqNXKunjkEDsFGoXRFUUi5m7
jlyw6Ebb9Ddi4qv3VSLBxwhkGLGGngQPuRwo7rqbjLZ9et9vxBpwrZPoHj9AxZweg+BaE/b40o/3
AAzz8K7QmxhATEhfm80pqSeFBfAaW4M6zRtSDJ6X2rHcS+O27vto3Lca3sJQy9WwtntXlH9gWFhP
YIkUUgEImMSGQM8ml8WWUdodH+JW0gIQfnoaf3P92tqoSixCBGlLIVpJAiX3VQ5Jb1c2WmabdVGu
y6DCGz4X4j3WbPnGrLtwk4mRizdKGV3mTQpGFum7vHY9193EjT98k0wBMuBgtngU5lgiZ0G3mYgh
lwBox5u6K6QnTfCMh7j10nUL1vhQaqH0KLCx7vXCtfawtPxdF2b+IZIt4SoeOmEDxEezjdxUnSLt
hW+aK4MKF/uee0VTGcU2pdN/BXMyv0XLlR5N2RsejaA1fzSFMd5pY4P1NRBupwpcfwNCS7pPAnAy
AG2TfSUN4/P/7rr1sH/5j3/J2pe77tVTEvwOTrfd6W/8ue1Od2w2V7QPFhdtQKekQf60CZKkP6ad
lWu5Ir47SJFN/a/bt/4H9VSNSxONDVBK5Y+3b5M/s7gbTl7YkyLrn2271mkPE9Jc9B0kGDG44yIP
AmOWb8th1IOPYUMr8WTok1XqSqVwmXiJXK2jrsysY+922EBkkWZEl/VQ1uKFX/dK5HDghHSJu40p
7l03j5JN35RhdKEkoEsumiwhIqtFhXlefZ9WPgarayPxhFi8t3z4i2CgsiTIXJpxfcDnymGUB4FI
ua55RndQW18Yn6QuzvpNLWDCt+sG9s21pAyNsZOMMf/tG16BvE+2wB5IvmriE59kHtc6F6rQZISS
x5eWb3DSNRSaSTepIKbjs89R/KV1a61flQlIxNsAS/p7VhOy6W7niek9h4uyILuOAwUQTQ17Dyng
tz8oSaKzQoh6coSdC+CnYbtRnJiPMtgboWDCBdLDGpbPqikKZatrids6GCAJrWNaNQugxo1W2Wdm
p71EHmLPnaoEUr3JgTW2Fzl8KHElC4g3V6mm5Dx0c5B/6p1s/CosMwXyIqdDUW2CwihffPjz9Tou
lFr9DuOUnqzBS0P+3RcjeS2XKkTXANpkH2MCETQiDEVm1JCjlhJU9nk9gzcLHjCasGurOrE865AF
qb/VgaH9dAF0AtjqxFJ5aAYgmLbYGUXCpUMSdawl3KYF8jNa8S4xBrNbh6FUSJveizv/DSKSWaw5
cri+w94UqptMCOrkICp9b+CYYUne8FykRs3tMxhJID71XCWF+6JuRPVZCS3lpa2NfdrWvwUxzHo7
dz10zSsppsRn1CuuGqmZRWs9UAbtevrsqp2Z11HrALv0sawXS0pLmYtJz+gUreRZt4LVpdyNc5xv
v7XFKKZbSoZNeEhc6DqjJXNza6Hz+XgrDalu4T4yCLq3K0oj8zm/+V78MIJJUpy86b2IvAU7+CEn
d8POFhRptg2V3HBf6478xHeY2oViF4IWdlf+6EviY56OIhD1sbUq0aPTkw/xgSEJ476ZuOID1LoQ
d4K4wrziiWyNGQl2HvhAPozKG6qt1vSVem8WsVXf+mLSyXci6720FpS4AsXvd1mnG0CB67CEiCvA
wN1YFu5EJJIsJU2oHBmBFtsgjaLqdZRiSPMrkQ+wDey8VML+xyDqiClGLNFjLu/tGA4PxjBaKh+2
W3Y/U7z9yrXqURvQHL0KUgkLybZ1h6thVCqSIIYSiEcT6GRwUTaemTHHjKjYg8nszHVd6GW0NTDw
xdvQ6z28i8QQvf/g1d4hDhG93am+VgFnMMTC9G97rp/QXEq/VHYiZzbI4iMHjtUQZQ1OHorBz1uF
ni5Hj1CTNHHXe4PqOjBbqdGLnipwuk4A2OJJ7ftdEB2mzVNzMlkvK1B2+tD1hz7qfeOgxbqXXsBb
14VjAfdOPeiCasJqqt3eIP2j1REWkYMr3ZFQwkNJkook3CgCC+M67xXT2I1Gb3YXplAHoxMUUpRv
BLWWxoPWU9F7ZWHrgn416kljbmuMYkpHEXxu0qNYS+bDGHYVdH+sP4xVKNaGuSMtVowgRBOhe3Wj
qs2v2wFs7DGB1esD2sLugGMYWtPeKVNkOb7dYhxDa10YkoDpUqNHvJQKYxjdyS3lZAgOrqknldPA
APE2htl6P3tcGSBIR0lV3JAxypJL0S9NBprE4riZ7ojlKog5mDtNKIk5tS0fCj+HSpxSXI58lO9h
8yqrXKE6it9J4yJfrVof7XFCTmPd16mXrIaxDuS9XFW1/JikcQpQL8bTYjP61VhdxHo06tFqyLl5
XDMRvP7o8v+FWBhF2U9NyrT6IElh6n+zKqRvsoelkh14eU4PBTRb7ygMcRbWK/oOo+a6ioTG/9YZ
rZnsch5b8WB5upVINv42pvvW4Nxab8yu8MjYekpgLem/pwz1h6srIkMV8ffkx6izXaPUPK11ZIkZ
K4AJWIEP6U237g462IxesN095uFgC4dnyh4omb3IXpSCT/vzWWwJeQ/9Uu9Sx9PYaR+mdDahP5xU
JPGvqdnD21d76du/0c7DMWYeiySASpOHzIM9I1sIgzKyQ2GQMsVSbfjpMXkpwARTu1l0P1ws9ded
Fuo4nCD6+Rhw+oU+5ASQ2wpJ6hJw6lufyEPK1t/9Gz7MnzxEiYwcTREcuSxkX6dxtMoExFj9FSc7
THL6Dh5Xf/lvCHFm5Y4/x/Qh1qz4KCci/GwRoDmH9gPpMEDcjrWuf2trawtg/cIDILlZ6pX59M19
CDpV6z48SKNIc3xpCKpYxVEwyWwE1u5Dsunmzyn3f9ImueEQUFf/8a9ZCf6vl/Uhxuxl1ZkrhLpB
jGl2mAfAhbdcmHakWO3metgtNeNMaoPZxOedMe0pM37SW+ZWXVL1AWcqvb+O8i2ZYvbX35h2LAzr
0/dFS45JmguXhDnTAKMdoD8guFelIx66tbZJndDpL/Q97kFOcpNs8kttoZnqPdc1Hxt8OPSBGisL
ubfT1zVEum8EXN9Wxbrf0LXmPubHntaZCvLlyrgybM6idr+VQOGZ99UD6Gkn/IbmfemVTnPxi99j
LrZsZV/J9JLfw7ysCT91jJOo+unZYK4XLXtn9elpAiGmosOE0wJ1QHqsTkcdjx5ttgVlhnrzJ1IN
hxJof6wu4U7cFcafieLn/v/+N94T5x/FabxpWf/wUYBRzAN5iifs0AEc4RytvcvxTr/vHGU97Kqd
lC+FPJ9MpyFnLzZ1rVzzS0KGE0ptn10Zm2yr7vO3zpm6r/otVEP76wk8k+38+VhVVjZkHbKKE+zs
sVqh7OeRSv2v35R7/2fKAcaZgk+hjTt5L91y9VrHuzoC9H3R/ViUAnw2aHJ8qPCnKX3WHqWkBWBC
g7vGJH1ON+7er1dCitICIgidgeYVvF8fT0nn64F/Op8+xp2ttJWVVDHofX74EVv4G2lnOqqTPnH+
hFy3qAk8u0gze4H50wqAdJhU/ezVli36HxxYvJUIfglzUXrPaW8d9vLvJU3gTKPz1xv9O9RcoxNH
Q4NulFDx0QJiodoxrBy+zXgV3gmXE/Wwvwycxec5bRKnq8HJCLXZLhnHZdg2JWEnTYfkNFvpB6YK
TrbPD+FtfLkkxP1kQyEJMnWCo3vTderjp9/n2P4ne2e22zivbetXOTj3WlsSRTXAxgGOGsuW29hJ
KsmN4FQS9Q1FiWqefg+5/rX+lBOUsdb1vjEiOYk6apKcnOMbcM21MEK3NX/0uFPvZ7961JCgYgVE
N9t6vjXcuBKe/7qxWMtQkAyBlA+R9/cjwjLFGmq4EdpycUoKaErF4FkY102g12FZ2lAbWyM+ZqOL
4VbM/9qd4dWAmTi6tF8h8PdDW2phGFxgdgh7wIU05AuYNPllt4pJf+u9+O59/Hyoq446Y7GeWBkO
BVMOvz4UHvfTxcwC6d1+1W/SALZnN4LQd88SOkWUdUKRjEKP61q5CdYeKAQVEQYHg8t2cx86W5dH
q3noKD3fGu9ciWYuTxLHQ/EKpivIv13O51Nsr3t4PPYjBBYze2Ku8SredZe5km8uMtdyl8ONLvtK
5/rrgKix13GFGLV+gdhlWNxEqgPrCcmkzwUCfhh37wYpVpFgT5juoK4MCF+gvoUTS92Zg7aPeWEd
YGHpXGTirTC5hfWhbluM5Y2Suqvq6K/ndvXA+6wdc6Rb8CJtx8ZuOyf060XkWY7KXOvFukuX6d2/
V8f31zFxG1AAhnfpCzW0aTJuiYjDulnX7AJc9xirSurQ32pYX+deOqShwH6gng6EkesgUSD5PWLp
bg5KoQ8zs7Be6OVrHC5gRPgwHKtVvmTSPe8Xhe6rYmHd1At88zb9dgJXowjS1fCiLnACiKVejlVF
QMxr2Gb+uTObH9HvsReVWjNnEmpVE13pVe+iqx1qJ0rtQx6fU/OpoNs///tvupTf/r85926f3he4
sGpUMA0oK9MfNuxYBNVWcpDC7ECmaDDaM1bR/laE//rs5hQ4ZngY+mFocC1jTkZhlSqI9kZ8pjI4
1m2PXNteNV/K8AMOS7eaytcnNR8OKFTwIBQFhmi/X+MQT1UjWeSDIPtVNiEMRqSNoTCXMKSNSgkO
655WUKdOV/r8roAFL4nCGSziKEp143l+e8MVBWDmOcWPGczc2X664ah2gvleqH4M6odAppZV8ink
0wxX3+VS4gHob8MD1W5z3S1haB0Kc1WlscvHxJdGFF91P260gLk3vW5hCqbAKghHwPVcj77H2ipR
M6N8lE/aXQR6DqxP5u42/sGfAAkJQhvLZq/SG5Lh//6BQYa/WNThyBBl/34nujhE8pQqH8j3242M
0YuRukR+hl25J2Fpu0zXTbodh53ZPQkksWnxXtWrkWzVeA0rhBtn800b+e1krt7mQjWLronVjyT/
EWYGnEIaexC3XrZvXmYcBNxoGbUTIErMJ/Hp2UOtNVRmoXyMDuT7a+09C+ZgPDiK072lXvNwi8v3
3UVhNWlGBRjIU11zmFBJVmhR0nzE6bGhW63eE+WWTOHr8AVEIJSDIgijhgulJL9f0si7Ih76BHix
cqU+WtwNUfSLNaLUbu15sjrBwMj0KAxTl+qt9Nv3x567eh0V419epRpu6Xyc4gvaLAc9q3BCuoiB
f2pfDS/bxHwxPGKp5bYW8ZuOdb7qv4981bHKouJZNMQf/2SrN6qTBBCv+vpiGOxqfxvG8N21AjcF
phayu8oXBEkBR3Ypaqz3ScrtUpbcDBYSkyWvYOPj/vm9nHuUq3gAXDR41RTDGqDcr3qcoaxljvH3
W1e3SyWGnWf/ECHvKgc6RnGD+szN9kaA/mamanw+5PW8RkhtHse59aaCZhX6IIX4zTJcVbAug5pr
XLD7cpcvYXTuqNvbd/bLS4KSIySsTeC6gLD5oumyujLDOrz1qqIYiGpL5HTt8TaJ+EuXhwGwOpdV
q8A3q1+kpSSB+KDQsvPwU/dljwVqhSxxvaw9/UQ9mCktcq95yfawII9uBfivF/j7oa+mw1i1VDDq
zM5hDUSP5pRuvK/QSKHWheQZFg/2gLt6q4v/Ogm/uuCrfs7UpELpw+zcusjpPGD1DutpjuETTwxg
Yt5ilVxQfL+12qvDXb2RbWaQmBnZmXuwRaqFPVV2cZzuJ3hYbWfwjOZWWNyr7Omcjm74ejtJ/uW1
uTqBq9jeJAnLTQ52mdw8ThM7yDgJoS5Lpq8Mljot7VFn1T79+V390qFcHXSOGp86FDh4oMRfgTGf
eteN91gtudErfp3dXB3gKry3RB8iOcqBWgr96Z4g6QrMIurh1jC7sVsPEC9qWzCyGOz45dZc7ms2
FAefu0rgAfDGfFle6VsUBrBybkIoQd2Ub3DKaVY8GC+LELlbnvgYtEvqdyv6jqpb07TZm1aCMXgr
P/A1QP1+Jsb1KDmPWl3v0otDiO6h9gZVssnRWhTbfJ2xOzQtExAey6M+mZNMt1Mw373Dn26FcZWg
QKlWVE3V3LxDXzPX4WOOibRyVIJmZ2pOi0q8EwznbsTlWwe9Chxx1UWEpdk5zSTYJpbbRH3nOb8V
nr70bFf39ipQ5GartoaVnmeQYbSWH8Z3tgX4z81UeCkiB1y541LrFjfHn9+9O59v6VXEEGh0l4hs
GLM/mepxVEP8+e389u35fIirmDDC9k4e8uw8wV8icuPOjyQvBRwBcof76i7TMEYytr02IQyby3Ft
uH8+/q3ndxUdEoUJXYVtp8JrFHEi5cpQiRfeivQ3X46rGIEqiLzLhvTMGts4zd4v/C5356U0vrC8
4kFdwdpuVe/MZX5nHdTjn6/x63zqqvlcDdxbgoo+UmQXwOL4mJYOLW3UE04syO4Sf4b9N/UrBmXZ
id8a+87t/7rP+fx4r0ZKVmWiuijJznSvLAASidCja26xSpdwML7dwdx4mtczdThjpfAfy851NNsI
lw6cVgNu8htt9tZRrgINSjchwkCbaWMNPs27QQB2dEt7PjeIP9w3c76vn3utquO0xCMzoRzWSGrr
EWo8lN7J4ODZA//+5xZy4z03r+JLUUi6CkXOmYYTKmBH2Cjesua4dc+uIomctjp0Duk5qd6UfiGS
H0N+q6nNJ/mnWzafwudbBt/GhKCjZx4uBEYWsHq2zZNp/6JV/0eBH6uP0Ados4rz6paxDuXVfZ2e
pzrdygW35WpTturDn5/LdyPieX6B1AOKJCEs/P2SpL6eIjjWnuVxcMwks0mVBGqSPutE2qCsf4ti
Lu/PR/y2JQCzCGwTspPQOf5+REwCogFaw7PKYLnXm45BTn8+ABSQ3zymuUoCFEdIG6+TkqZSdWaC
cQJKdLsMcukDyuONZkXg1xxbfq3a8zqY5MFSwUmKym7aTSt5JPth1G8Efh23JzffXvKnE7qKjjWK
DqbcSM/ISDk94XZc+3++5G/H+eTTEa5uqjFiWbfLsnPjhn6YOOWiXUKX6cgbVJ3ftoz5NnT8fbTr
IGg2Au7HUnqGs4utQdtn6XBv7E2XxZgWV+cb1/bt40Q1E6p4UQbwZVmIVxmTUZOGvoVg4HmGJ5Uz
8ySTzh8e9Zk1t/zzAb99Wp+OdxUYE8ryEYWh52rQXcOCezOGen8+wreh6tMRrt5sOY4k1GQm5xwE
CwInaBS60mz8TyLu7I2Gc1RR43zVJEYIjLM0jM8Nu8+NlyR5/U+u4V///jpboENsVvRWfGYYHsJU
265QzE+pcuMivr9Tfx/lKjyVYEDJqDI587Rc1OoR6htvaG41sG+b8993il4/cIlZdMKlxKsJAEWm
28omQ/GMgfUxmB3qNoeRuK3asafdyJ19N+iGNh9ZM9DrDASs30NhS0KddEWCFSiqe1w3FqSFA2Zh
dDncLBp18e8+sTn/rmI5CAsZqJS7vpe11uij3r0kBlDP/IENlp2atxbivl4S1k9hxYX/jxwLEkq/
X1I0KRAPqeKFe93FgRDKbBAWIMd5FLMFCZBk0eIvtML/ag6hOUST+K//99+/qmq+wAdOVdfG/+f/
fzTJT7T59xI1rL9EE/Of/aU8NP8xM1aBvkH8BAhcReP+SwKh/wPDChSOIplJwbNFp/RPBQQYAwok
CSACwM4Nj3Iuqfwnf0CDOgKUUSwxyqgUmjNp//ef53f4NVbiV9ufy9awvC5fDUGQ25z9+NAy4Z6F
o10PCLSEIyEoVJRoKvAND1MYguRheGqLJFqMVnOqQLfeV1FLN9RCefWw18y4vB+gjlhPad65FVPH
lw779Z4NS8i0ZFuWOuUwyUMTRJn+ctmCHj5cgkQJ38Qyl5aszt67WA/9nhdqwIsIY1/RowhpikEB
0XoUPELAeGpNPQrA3SV2f/maRb0TatThkWI8CwRxpyjCaTeAxeJoJX5NbkryIOUqfI07c22S+j5B
7fAp5yR2B1FVvoK1gFMpK9KeWZhqN+FTK2FpfpdVWByOrDhcmYBO3WfQCfqQYKISfTSlU6dqmadq
vbyBhA9F5l3GzuZgOLTJYJZe2PoU60cZ2vV9Z1H4l0AT7ej5WB6mrCwPZg7D2Twvlmk5weBF/Chg
rr7Wm7FfC2gCoItWWRCqBRanabapoj7blHRkC6tH8dkkkTpzVVT8wpoYC71covdN3P5gkIXsJjrS
+zRpoAuEwnDVSI1+b7bDhwhFsUVRVPFQTvDXleTwaIKR9NBL0yZklO6a5olDjr8nscr38ggfmBb3
aCGsLneVjuoLSKD7ozHWHqWV4TcllhYgsLKWZkVzOx/hI2znCi8PxaQ/6Swtg45VdCkS9WwNI1uj
FJutex01yzbgvGwdxxEyvIo4xbK2LbohPF0+ACreq3U97BojIoGmcfhOi/wAkoN2DLs22fc8faun
txiuzzaaXBKMEwNOHZfsNZGWLMNWxD7Es+Zzl58KCxM1iMllT0QZjN7NEfwDNU56n0jE2KK+ZS+l
MfLLCegYYQ39qDqUw2MNb2xzqI5ceF0/imODxc9T1imwOYu3lczFDr7StQ0HgfSJy4DT1AxJ+Uhl
j0A8WQsDHhheNm+CNVngInXNwYG3SlO24Gvg9gXa/MGNwlhKpZZKy1rpk7uymTjugj7L38cfXcSL
tRqR1lEJjBLyRPXjipXry8dYT+V6hFxnLTdq6EYTvDrn4OBZFMVPQpFE7Bk9CZ0Orufep20+b5M+
awLad6epHZrD5WNg1EmMPtuZrGgOuUCdf65vG0k3l63SH0dIBtbw3P7rI6YtCI1Y61lffrp88fe+
rk67QDLfO/A6VlDALJNwCtfZ/FGzktmjYU4LGnKiurnOfWDeByctabKA3bR2aCTYQPehlG1FmZw7
ooTbNIeo0tSquyph0qGYP2g+FAcsWl/2CC0MDylXpMMIeAEvwPhAIC9tCibKhnPyADXU4DPUl2wu
uy4f0EeyX5tohbkPrfLzZMK+3AZ+BYzXDAseXTQM/Nc7SGtSIWsixS/JGGWIWz1MinpVuAbXil2Y
dsUOiJ+/fqJ5FHvDoMgO4yWVIUfA1+b80en432UNJsdlX96GIBvMKt5UI5gHpTSUHQs17F4qSVjq
BqqUbDV2qobUplrZ31HSxXhqE4PUstZceVQKpJkjyFD/9e3wr29HyL6Cqqje9Hocd1kpWVs1WfWJ
dZdL5hNgTCA0wzF8V0BQpMCRVMWPBmBmHXRhnmw02BywVpCYxrpNqw1T8njHdIN5alYirhu9D39o
81WLxrWArucZy2PMJmMf3eNuKYsUaKugk8do10Hy7TDlpUc1JCbnkwmOFlT2jpQPzNcrwZdtC6Bz
SAmytwq0XTAUMosDq1I7Zqm+MxOoLCYjTIHdxRDNMcImXefh1Fa22U+KX6O+yLJSb0DJ2H3SUHGP
RcpVJNXZ4bKrVkvJjogWB5GRJUurwP2fJivZdl2ZbiXRtI5scbgpzpt/f2FmTFlWodiFQF2DnZJC
c1wYVWV/+rGoJsWhEaA7Gogae4jY1VVnGj/MMLfcJFfITunanV615SGTi+6B0MxpxsyqIalSjDVE
vg5uK8zJp4o/lwI66GIKX2VZKhyF8HYP6ViyYaj7dltet2ezdirkEs2kTp1EUcZNbIyHItWx2beq
smxQiWmzWEbuVNIM9DiQibdQj5W2SLUw0FgOGe3lR0UiR6PXOdRwpbrFQqCyjYcoCSpFDeKqLUb3
sk9PBnVbhUD5IGomzq998y9n5SigXUOnlEJhNdh1rGkLCQJk1K6q9TajcbXhIMFo6Lb3JK2AQxna
o5Dz9phgzLFo9aZ02ziHdEpIWKzuy3x9+ZZbsnBGJexd6NZfDCXX7+VUTMchSx30p/T+sgswLTTR
JPNzVhn2peeic8+lMaNcENJWzmWf2XXgJDWdsaAGB8e4m+RTb9HR162sWDUkKe40wIJs1Jpss6yX
t6i4zu+0omZ2nLfV6rJ5+SiGNHM6lY3+ZTOZiiBuQVQQRfNYDzl9KpQSCsO67vzL5hSVqF1TslME
3A0YZ/mu0LQ3WBjkT5GGTqIsa2UhxSJ/SjOIubgat/uk4/09/Nh+7VcKFgVY6Kndy19ZoukdGAG1
a8anzM7KRNrxJrOHtGaPY0hStDKJIzspkifYkcdQaHeDbwFT+NQq4nlSje5Aynw4KZm0lGkzBlFd
mC5gWQz2O4W6azMlh+ArrvzKbM2j2UuKjVUo8dapgDzoXRCZ0+CWEmDvHUhH2Vgj9ij9NDpVpEr+
ZVg1tpAT9fh2IFV8okxX3Cii1IXOOnRzrSLrIqqKg2xi3WIgwrQhzc/XkYVOFKfcrcZoCO9BTzmE
WiqfdVmuHaMaq10zaOYuycbYMecvsrqDpqmX7biUpx3BMMjjIol90IOs+6aaDqi9fqGlTB5y3BQP
XAy+UJD1f0BpIdxfygaWUPO48O9Ndd68/PLlWza19Ig4sSiZVDkjqh4OmonxKsOSzBIawOgoy7iE
vOPiTUNLLZp8KUbF9GGFW7sR7cN12pLo2BEMZI1Eqc8jnMbsrKUTynYbslLLdJOJCBBBc6JPUqgf
OqXNPgbSeChHzV85GRMnMaPs2MQwTs8rhQclXzaFDu4DSDMrPSR9oAJBEJBOGVbRVLRrHWTM5dBE
/Ubta83XmQWXa7MMF1md0x3oZ/miKqYfoSHNAyA12UNLFGP4PdFz3afHaYgqV2GpueLSWLhp1/O7
hHb5YpBTdTtAC7wcUWsdJBEd1pSXql9hxJvKJlwtYyrWAHCNC4qU7BEj+GxUiRsxzoO2aOH7qMoY
RrLiKdd0h3ACb0hNG59QYaW4cg68GIma8amYMMcH+vihQhIjKdraQyiiz2b9CDZPcZbbsPRavmpK
Ru5aWZ9spRnJTyxYQUndRy+sApl9LIZmYxRptktGJXIRtcC6UqtpWelTv+7CEiUxA2u3GCxmbk1q
r2dZ9AN8Hr4quum1rmM0zbCrHuoxy2xDiqR3iTiZUNkL6q1eFPIGVI844R+JU21GrQMG2Li8bI5K
o67jApqfYf6VJIerk6kWbm/o0yK2VnqHA2Rqh4IumhvbzGyAHsrzj2xmmCglF3doEcLLSGXsMw2N
FMSZegeOFfc7Izc2ZZaLZdkXYl2qqOlJwqFywL/YK2nT7S4f0/yTnOF1QkMESl0fX4gs6nchMyQ6
Fax0RX3iJVPSvCEMvo9SKv2IWgEQQpfyI5XN0MNMatxCp56tTIHYU6YUQKs2klZ4/UGS6uLJF2Fn
7NQxhSSsmopjVZehIyfEerCiApwQQ0QvKkFElK3uDdWFPmopUTU+uANNOSTFZFzooay8gf70A+yS
esUJogN6a6yOWaO8Q8V5uiZ9BZuaPK0fLUV+hG3V8AZF2lakSfUE/FThgesiNsJUsm0sQgq4qVw8
l32/gtJ7eGNq+kqHjj8IORwW8cRFoOZEIEqAF5VPINClmqhe+h4RJS2Jta0gWLjjCX2rhrh6gS0g
xaSzqjah0PsTKKB3mWRVLwLpc1cGcjRA5JYfeNQvL/tZZk5ebPVvfYxgl7ZhCPklakYhHT9Tq65d
YSYWQp/CjrkSvf3az9XQTmCisNNSLd7Dwgaq1zHPz6osvY+9AVM5o1zGnGDuF6YvGgSujy0IAeux
RhlmWejKYzO1st9WEOdfvgUcy3I1CaHo8i0vGoyadUldXzZjmd6HCpf2ly0d8pZWNuK7XGk2oivb
5Zz7Wjd1W6CZFkaQU/Q+sQ5AyZSC8oNWka+gJ9fWRqzxJRx01U0XJorPAGreVrQLF8JCJ8If+SQ6
OwcEbg0eAgZLgjXMocDie41IqyMyGfIqZpGwGQ/bTRdrmOmrBuYjYScvhlEpH5ox+gklcP9GwmxF
1YE9VxZBpUpZFttwsNrNGMKTIxNy+SQpqIW0Wuo2hplvBqsQgN1yzBGiVl1HEbBmBklzvNT73uLh
i5Yx4oUAAwRot9ZxqAlq0vG9ZuUY7etjctRjBYPWUXU0K5G8OJW7NZgI6lqqFGMhg8J6x4Q2OplO
wyeK2XRoVijqbjZFXCHSN1PyA1Le6SnGAqkTC9rcxWoV+zxk3ToRXF1XeKCOWkc/Gok2u6E3U18H
JWAL9hvxW8igN5Am8aUhmLGuUjleSQNJ1lbDySo0NBYkFQJwrJFpJWlluYbu31pmoo422lhUS6jf
hV2QiTtV1uYn0sSaP1SS9mvzso+PqhtPGj+kBc1PphGDYWvJ6KbPEPaFp8Qop11n9YeGtOU9seTi
XhlTqC8yUCcZ0jwEIAN7NB1wPsI9yoaZ30e6sh4koQZtn2dLaRJ013HE7kZWxxOSPrmj11H2rFDx
nOFOvEOP7wD7ImJUJDFXaUL9rSyK16hkylPCLQxxeVGcIGYQHpsQGTMN/KSyEhIQ1pgT07qiQWKO
oMsBkLebsCrmWbzQ78K+iVwQ3nZQnmMGaMQ1d0GQSnu7GrrcM6widoysIP5UI6aVrWkh7Mev+UCk
fTrF/b1itd5ld5dFNAgHsogG9Np6m4uX2pKfKdeao5QSE/hfDNyhSMxeYF6dVEWgcctXVACB/DhR
xRLzvDtrMC1uI8F7j/XEyVcnsJRcjtu6uXxEWn7oQQII8HDjpdKAqyeLTOxbQru9Ov+kqyHwExBF
2pd9f3+BeJovTCCwnasvwJBiHmsNhGMCokCoRQfSy8WxHBvUi+DEFpfNy8dYj3s9R0itgFQ/Ahoy
ASWm+pxWiOjzrkzBiKqv13ji6B84G445IFxHeGhArGuFUnDZV0pttysksrpsdaB7HImKTkxIU+1d
/uDyUaXFWuq1bHfZkqAcChWLrmXDDDfcJlJjbcBRDH99lCyFw3ydE8lrgfBcc06XGQycnGSSDZeq
cK/RCUBHZfqudLriwZHCDOaVU3totQYF4kMbFHm7aGu8CVoHUpkwm9wHO2JjpMlSKKjVovC0J21i
W9MD+EFOmjp5vE8AcxGpHVYvRgmsYCDKwJgekrBbWmm+EOnkEyVxNN2LoswGAAR9/1tHY7esT9JZ
72HsrdF13WDELjNMTSOH0rskBeZXfcnz1mmGo7nheunU/KMu0BEyl5qDk8SPMuoNqSRsHWCAzHiM
TGQA+smJu8chKZ3K/OhNeB5FS2qkqxJkUZy4qXsaxvsJKKD1qBxaFGb/xPmLEA4gzV5XfqgDUhRN
ZRv14EntozHmTi6f59Mh4dOkQhii5x7Pz2R6rou3y6hlgAwxxoyfOQCoIcIEhPhah0LBsPKbDAKA
znLkasvFuqWZ1xnQhRtYz+rw6y8WzFwHjTsyf44M1MLxM7BjTpJAhacuq76xFf1ZMTQ3ap+jtnNz
3GfRZi7udY8TDZX5UTTOhMuVkAk56LFs0zxc4lhxDiKIfO5wtYpc2ZGyqfF/uhFl1KCIcKwGzdWp
srmtm6NODnLv1+iCVOUHsGLGNBdsMAcsWScyPzDUsVX5vSBHlkeO1WPYhcIYWv4ck1edKbaWvBYF
6myr0E3lBzB+3HA4EDwYqnZOjLlzPhyh67bRNvL+peep0wHdkdSj09YoVzUytwhf5ETY3dwAkLXq
yEEqAXHJHIthfutkuGcjijuY9QbsYyX5Jf7pNKkfESvfTRAHbTwA0U52iKXbVmIevLH9KH5sxM9I
mm9hyhJHLe81RfWyGiu9oJm0NTDy4ZNuAcBWYiZerDMKp0QTYFxUHaG5iQb/K5tNYwG8BMk03Qj2
c2oWHe7g6FjjSuhuIdnmm9oC/p0yTx7xuB14xmNlSqsXdb/IZRf4L8i2UOxcUtyPCbXsEJV86Kck
DHTiZRI4qU4DYlzlqqnbtqirQotpuKYEVjt4kxo9dnWzRU4naV3tbUwhIVwtYozErPqRQHeLawag
Bd6gzUopfHD8O8umoXAy7mk8aAo/1hZT5SUQed8TlMSIJTUXo/BgMZyrXo3EPLIcLJB+qBnAwGDP
7VF7NGlL/i5RDV2EUyVr5BdJjRk86uYe9W4JKlrX29PogtymJmvMy5h60vSNBp0Fek5gYxpgaP2p
XPFsV6mLuTYN6GRMq1NHlpYDwVxwmQ1wE9Vc8Az1bmt22x4YEFWS4PPdp6nN9bew6sulB1oReBeo
L+7WlgmLkQUZlqhYRx4ZNhCT6bDYU8eFlAUyu+PNKuscEXqC2rgRlC3MYp9STPCQHfRmqwPrh6Xc
s8adqgNRAvGh5k7XQAbiFEj8NgsVgwzN66o9kwJVCsJqXzJnEOcaBQKozIxiV9aOEduy6TCxBhmh
5YRulz2pCG3xI6F3LQx4ofrR+b6DSNh8ZhImbC7ZCWNE7TkdkftP7qUQmJl7AHTsVnkwoPBN/SF1
LBrUCdAlb1gXaclqCJ2SO2m+pRg4EHOBMbM+BC3djlFgIuk8wxVdK9lz6UMmJ006tnJmRyZz9Q6c
YB/MBNmupXVSn9saNxCJAsWxrEWbOVjRsU1EEOPQgHKUIjVgM+jOcL/0vfWqx0sEYqzSzC258RHy
dQn1b77Z20iA5JizWmtYsNui3+C1wkCJQ+tk4HYzO0GyY0DURMYKidmtXj7AuNAdGPoRDCYa0065
P0xYSYAkVnJK+dih62mHyK7grl3rPgeuO9trFSZUth4HFncUlONivQhUa+2kz6od+ajxl05+6kcf
SaxWHGKx4+oiBCix1oD5+tC7fVkvMVkOMzCQVx1ZW/o+yd1WdUjiTrxypcyZyjvM8hDxRb2Mh0ND
W2RO8zVyOC4bStRTIl/qYBgJBtQYr1EBri9SbvNsw62HQgpoDIwVFhR2erYY9SV9EWkAJTqHDDL3
5hWF2okwb4sdNI6CIA2yZKmd9j/x7gKBw4htpQFrfQl8zWKFeKCjoDLCAHyZVm6DlalwqZYbGZlg
yOhKh1WLvlrkMbhGSGe3CpBQ+GVmM7zQWKwbAit0osiZ20f6Mz2hR3mF1oFpaLBASDoTGKD4bMGv
XlLudIMN3Br8N1xQTrX6PI2bcFX4Q2ur0TLplxE84Z5bdhoKexhdnLdirUEMSxUPtA/LHQcfZ5ty
LNitx0GZYYcIt5rqIDW170NbhmwxBwec183SUKIjMGuRg+lSYWCkIkYZuqGO0S2A0mjTcKadAhJF
lccy4YdWAecCSw7yMQOMeepdrVi0DNgKeCnCKcRQXGQpYWmrq0iOPWryDsqSuU1Zq4ZhXisZykpL
sZBRQGNdFaW+Br0Q2FSs2UGTQKaJrEsDL/WQnDhjcZDGUIAgv7bOef1qRW26MCSA4ofOWA58iH2S
63vUFqRrLRXIRYBkY1OD5j7Si5iAwBY4HX5GZhwYmCpjEFHaUPWuh+G+FRQoLSDCR95WAYdlUcQN
d+6PkmlYEwo3ZdLgNQShmSpL0D4putO8gBOflC6E0h6wdmonHMsfGMiHOgZL5ypK0sAE3zSgmemh
K0C32xbVay2x/WQ1L9UUbecOVa8IcgsYoYG1lnk90EhQex4kxpvg8oH82utQmI9Vjufd13a+BoE7
AbjcBqOqRROtdzA71ey6m4ICfd2QgT6NOTaRz1MVd06KoVTeb8Z2lNwGnewk1LXZ3sfa/NLpNhp9
aCDsKALVaXi7JK4B0hU7gM0GWCOzqUe1DvnLCYaDg487o4RPMxETK2/YFwLCgr66qISP0rI2ildE
LVYhBlQiAREv63Tg2y3yROVuDECCeB2qQJrulPi+hVuThKTaIoHUcR66mRhqDLJHDBs+4Us4SMco
p5wgmQZBOzI2wIuhMvUVobhzFU3G9YRIOAmsErRnghQgqqVcNdR1LGnlpaOE9G1CZlVajUi8Nbgs
A4QP6a2uGwyWgGk1F8SEF8X/MHVey40zQbJ+IkTAm1sQhqAnRcrdIEYO3ns8/fn4n9jYvRiNvEiw
0V2VmZXJP9JyAnEVt+E0UDK9yh/NE2Gpsu2Qy2TJDMlJvfC7McvdlvjktbrkC9pOlCpuUOypYmm/
TsWeOcb91HbblahEHSuR4XfRw1fDJJpAlqnl+Jbw/t+7zZIfgOEPIzEHxHSjehRJxtLXyyg9lDq5
pW39kejtR87/46CfB1x0K+lh/rRac8eV+F+jcxfPoi0kd4aq8+soFFGARTHOGhBqo/bdNjFmqDD6
UswWW/KUuwo+o2lDkRskz68ajlrpFLoLF8Yq+02O9b8kgz6Z4s8kJ4ZrwnHvlFRz2KbrrIMz0FqT
Du6SFdArmWYVm6ng4mqxyliA2ZMvoO86ynyGS+146qgoU+qHfJgE7NJT1Alq7KV9pwfse1M8v476
ML/2w7zaUzu4Jna8uza8V13IJtgMNVr5WtppA9+tyuWXVAqyTYPtFvMGPsDNKj8TTkrGEsIMohNO
4I5CdogmduluW4lns01teBsL+uEe6ehkZb+2An4MJt9WSrohwJqu+V2j6YPEJK6KdLfm5ulrudUS
nDDLTxznXVFOA9QheyMpnRIwXcMtYT5p+msyFHB5L53oSqEnop7T079Weovbxo5YC+vEIeSnFOu9
4ujtXxPfp2TdEDDhdsP8sUzLLqyf7tK6zy1fHeOXakM/Z0e2xXJ3FPrxhB3M1qnOlve42vbVdlS2
nCtGGYjTZqx3akJdLb4nmiMpW4GLO1zkyR65uwzbYJbgxzRwsfQNyY1wZDLcatoalTN2GwF7ZOLf
BNNLya9t7NzrcKmrHW2b6wY1JBkY5rrUmzb/nTTEdZ4p7U3kU/rG1LgJOCEpr5/lJwdXjhZ5onpz
IgoqXvyVW/MktKdYOcO8CxtqY6GCaXRCed9QB2ZuXzkRXpEVQ81ByV40v1LOzqGTaU4JWchwEeBU
lLYeT8T0kiiQ6p20Lna5gpm6GD+yIvi56JfTn6+24oLBvIPxY7JLrjxTQ9lyH5iSl5tXq3mTpf2i
OnnthAynVttmcBK8fg1XKvlRa9Olr4Xphuqpm7bLtFWFbSfcOtVJFWSFpJIyizfZTX/WsuskbC3j
alHWddVBHI+G6WHWUVVeb3pr/h6HDuCSJDjc66Xu4vQ9KD4iEHP1LS0oO2AYR9P8sfGTaKdyBboN
z3clWyLxzBQcehuNgXoft4TJnRhocvWfdT/vjZt6gZJ4vki+mMMQT7w/p/Nh6gdbQduSu9LSiP6o
ZrsaiLUlHSwvYxdM6KpqvFSjausgpljSrPYy72GvlfLvhLPf/Kyl72X10+tiIBgOIH7KywECVVbN
zBMLsTIAZNr0Ok4ASDPsqR8lB8H4EftCD+Yz21JQay239Vdo/suwUZJ2aDzwDZeLc7ucoxRO9Ez9
Xg0btvBF8Oh0QuqzLD2IgjfUXpG/9umHlZ4pWXVmhpvD2r2lWe6CEzdPJP1UFMZGKY6CfhSz115F
8EvR2a4Hc9lV5ZfA0HTyGxtHTJXUKeizc5p+jOLI5uNRiipAE5i1P9uV7vG8eikZMGlU+u3wkqz3
QQ4KWdrpcu4szS1BwFDUw6Zg4IEL2bc7GSeE/mFZhk2cmSE4a8Tdb32OoWGLzc3q36LuwpHsrtpW
/R0S6kCVFf7bDtlGAkRM/Fn3I4Wxv2oCIv4VhLvQptvYPK4C4/XXLv8hicNd1nsBlJDZQxwM+FbH
QSgWVJ/RZpS/yRUJ4lW3h5VaUN5K3K614irhNeSahvK7vHzML0u3ghrmPpWy5VkjFNleEW2jVZxU
vtXWZ8yzzsqdoPtrwan/hbWtPQqOygXpeBfGbBSdSsSu/Nt4Xjd8SZ2ouJQstXC9yzwDVUycQj4n
wEFJ7f//34UsAI9INBbXjGKBVc9BrzZ7idak/Wgq15S2YrGdLDrW72IJsOl20vzGwxOKBw+F9xca
kJEIk6fcBX8mxNQK9yXLb3Ig5MvSoyGpa3Fj/pN0d8ndyHLakXtGp9Vz5/jUYQg6r/s085TOV6b3
lohEQuemiNQLw2/0DwRQuCMFseGTm9PIbJyZPTIwg9DN4bGtIuGN9bs5B4ysK3CPMvw9QwiDBKAy
SuUJLlbzFjA0I1YM/DPZ+IxlcSMug4CLijmcMF0llydlP2yHkQmGKfcKbfkgaETwW1PjtB4Ur/xA
xYQRVaetzKdjpruKrSslQsMCMRXHbAcr6OQOeMld4oEwl67aGCYhO8Nqhp5e/ZqzclgSqjrchedj
3Yiu1Tc9935Su2teXiu0tWf8jT/kevIXAraN1WsUPdBG4VyYWXctg9WLsFPoxUsJYjyN6osMp2YL
PcSXYKTv09iqb8jqg6kcfpIcCrBUlxncGfaukynPQmz0yajkOBi+Uu2vDcwlDZI1ex306oeQARAO
xvOSaYefp7tk8XVB+1JP7asux9SzigSKBLVTTreuBZSKMnOTLYqXzwse760tRH7MDj0pM3jR/N//
//NxpewYQM/U+/MTnQVJRySDp07r8ITc401U0XHK2KQKesGCFs/Yu0tuGu1D7qZKMYFc6idwhtUE
rPtwiifrpLbCaaJWmAvDE0LDl8TlvZ40O1oV7/m15/c0pbwf8I85UZhb6KJrlayXTc+wVcEC2pIz
pMQAFF0wUjRsoUOyW2jSqD2k/AkuXGSMFlXlQ8kOw/wvHAmfGm8xDSMKT39ETJIdiMfhlXLCzhuF
hWwWsPfoCoMLS/4+UbOo0pFED7vhXSV7NM1FCR8abFRus+wtO+jDh0GEVXtPo1PXXCYu7ELls7rN
cFB6WuHTKl3CfBfnD2ZP0oLgKp6zKvujeIr5iDIptrZJc+J7IuEk6Dfk0l4jvPQCaZ3+3JzDUrYb
u4s8JdqPRF50JYfwaOfRJSbgeXYydddZ75N0Nt7VwhlybOW6G9/E1gO1Q7eYtJdYO/R9INZ7q7uX
3K26O+YHM/JEZTdE2KNam767VhWkxpW0ARKqGOIIg5FuTXxbkqOoe9X0JQsndVbs4TY2Z1EKysQt
8kA0OaG/s+lL6oO5u4rdj5kc9fFLbk7KzPDNqVQIYvKsxNYh7yEoJarSMNCJvjM5ROTLOtpLsTOl
z3jcDe1vaW0XfjcPkMcrBR1ZmqtdAawLD6nweKe5dZWb7cX4PTVj9vjBFpPNK05+uXSN9fLPMAdf
LuqLGK/fXTK75TRs48IMjJk6uqu+a3xdOhM07783eWkGqjW+T3LoyXX9OynswgM3Sl9DmQvzS7US
D9JN3xZU4qacpDfEL9sRmYsaPYllAamNKS64JEsUh1JBr2GMPukWxC11Tif0P6oc7ZD/9BuT0BG/
Wqi+VPPWtknh5dTZSWggpFo0PZBi7ZFbIz8hJGfEJ5ld4ZseK9kSaPo2Waz5VNfR6uvlWPMld+bP
naOlMYM07naxMjtWp+wykFxww5ZrMI8fKXEfkAiXLE5Nfyg7L5Sj8d6oky9E1rYUQ22jVo45xCcs
bDNn0XsBEoQuJZeqWz+GG8kqfRJQMVtO5SGoZloViflH1M66eRBhRwdN++4QPppoBpyuLG44WtRu
Yxiyt3Z55AkTZ2876R9qmLhqNneviVXou6Q2H+KI/Xhktc17l+S/VADbEce541KS9t0n4uwZVLIo
YsikSPeaXg8vwBzs4PzWimIU5ZyORIxFW0/5h5oRglHKYGZdKLklMpdxfmkwRabyE16mSKED2YtP
lFmmNs/pmHddB1gqJ6IBCqxSVSPyfEl0FDEppVv3zPWoe0fEZdoT61q4tWFSXVGI2KFg7C20aCc1
X6qj+dTo2aXxk5Ehds6FRzmp1blDS0PqlGabHKFksCHEGfK/eIo0v1opK4zS8LBZp32UyPxd1kSA
ikuRZsAa9gljq1jCLzbhcIuboaXakNZEX1HQQ+WR6CRKbB2UpUe/WCSeFImvymCM7gqwgNrCkF2C
JtBGp6vU2rEqYLhvBGZvTI4ldhzUk1dG39l+KIfMJjXAthaokDDHU78d32sjH8n9zC+iyuEiIllT
Ce3QdepognskNkppKMnakrcZfUiWTxtqbPN1xYBfzV7QFrP9byetdCDXD0SCPFUmbxOHkTp8ySYc
rU4My5bdL62mW5zq4IvkiyKjANVqgl4xj8n6LxtGaxcakdPjO7BLoL0PXUS0LxpFTUn5kxqnY9wf
hcUInSXH7l/KrVuXEQiiovXcS9iBB0zUOIvIL/rvjdKPB3KFRF/NJjwpRsXFaPAst6Pkr8gJD4gV
hO1QRzTQ8iYPC/DYWDt1yVJvl3CZHBIOi03TZz1KQaNwilh+1K075L3qyQLCOduq+3n/35txeFMz
MsWirjpiAi7thXL4v2+MCUdZTcCtrH2CZP/7Rk56kNr/Pv4/78brhGCFJ/yFkM1lOnMODBYUAREt
Z1OnuuP4BNhwwHZNnVO6/pLV8mfFz6uNe2k7WMZulqb62Mu1EkR9f5eyhgHtSEGCOnUffZlFm6Ek
NadYhMKLCqv+WLP1TFijeolz3EKUaKOYO7MvF2Jo2tYxzGqji9UYZCDbS74ogYkBv5DmBe2QHFa2
kK9YtffWeBCjcjq0KaesOBqVHSrJB7ol1Eoh1AT+9Zew55asVos4KJCSkK3B/BCKSt0PYldssLrE
wKv8mMnEDPgAetpNomYEjxDn95JYXCyHT0X8kjRDaedPJl5MQ8mOAa4HZQgiSytecjIm90MHxmNW
ukF30niRrOm3HgEDIUgZmQLmcy49IfxxFtTICaHOjUzeJXkDjFAQfKHqGNMXiub083AgHIDwpFg6
qVM77uXm6U2vP5oUlEyEpy9lzVmHBlPFVH7v+7nmolm9lwj1eyWZ684MjW47ZUJy6vueAMVV3ehR
tfjzAkyEJa7lmJOF04ZKjHOtP/Ej1Qgwxlz2eZm7Zp/GJ8jGQyPSABoIqrOirvdCI31IYzV4aYrc
fXgGYap9Nbh9yHSrPAD7NadRq926oQjqDLpR7dCuKGaYMdcAYRbTm2Z93Xp5Wz7V741ToFymUypS
SIrxBTc30cmjCfpH1ssLfBdjOcUuHJRvokxFr6ugAY1O3wshnVeHJzyaRyUYGuwWzFRd2UHM71n4
kq1pcMt6vCVJRA+rTZyc5Q84qkTciDlc54XjuxvEz7WQDkzfJPvRkj8Ha2y2vQgCVo0DvMeSCg7h
DDem5JTrNKfSKVQXUIcZfkVpj9jJkbhTmrVTJMt3PesIB+ZG3U0pqRd9PF9bPO2vCSd5UIUZ5FKv
zteqKNzaoswSM4CMaa7o8vTeWWqpc+tzi+MoIljziizNvKZd19IqZgkNFsf40HlqUid+XrftprCs
0MHHenCTpGr2irK+Cl/pOvSOlaleqCg/Fo+CRNVF1WxFgysIGV+iN7U2evnPeJ6JsoDJPuxZad1T
jXmi6E9bCVTIIakiqJ7UdAQRgY12KvO7olYbjd0nLq5LFGTNvJnXQzMdUT/Zog5vW25bnYpPhapo
F38YwRpnJXc0CoMkbGEc5H2dnNHe2wZjj8QreQ2c61LcOD68wlJdXnVGEbdd8x4v7JfbrsOlrwmW
+iigoZs4vbudKD8RRtVLqLTbmowFZM3trS23C0vjmSiCPowxokl2VBa0+RJr7wuUlWqum8aMbIE+
MD5zQYFOJK4bACLgaQ7sM8h7vdS8Jt1PsRiwi5bLwVrXjdwuTnVMZR7JI4GN63VMDIpiWzWkzCTT
fSTHyVOq1l45tIz6bcGMSBT3Vvpey1uLHqWcP8t0p4kPNrVR3I3mSQYmyQgWAZyrvgsDIWYk2/yd
jWCeYiADbTeXr63BbFL2l0xvCW0P/80UK0MiulPkJotnJo88ezM7d0wDIQki/SuVrkN6SHpflg9S
ygypdZwFKCfzkQ7DBlmSWqCZQNxb3cWp3OiE2htweIZ8H9O3okYg9JaYPig2wQxsrBDZtXStmuOc
vbTWyYBGzzoNLn5wsqAjjmaWSkdLgoJWIJx5TWPTG1uSTWUEXqTFC5CV/2Iw+3kBrOHP4VnMpe4q
etUTPLrpFNS5g2I+6dNBQrDwzMaVnYmkS6BPCxAVwrLyFsnrae8GyConh7xi8cxOvS/KTTdUNruP
JswINF/DQ8UPNNM1BDaVw1s0ovrbtwSnhFm7lXQOjKV6KgpX39D6czQ9Ey5KX1kSi7o+t10KG+jd
yamTYMk/TBF4Y4vgma7u0gl+lPrwgIB5A+R3HC0bcTiK4Gg9ySOhcBswBV2yPShUuvx1jH/k5TFP
qsopjGDEK6hV3+d0B8m0UZCZTA2ruph9xUAy9KQQrOE37Ey/KTvXkB8KvzPHVeI5TtQzhW4yDSCf
nqk+XYwzowLJ6xNtTAGG1KR+w2GQ9iq1K+QXedXsmviSQyVyrz3XYpNQRzaEB8NkG/F5AXLkOJX6
Enr0JTK3KfO/7XrOxWMRnjt6gVD+xTBGrU3cGWcnES9dfJNo4hdPiqeNhLTCJCK+c1ksofxNgT8N
R6Y87DYXDvFwigan1lrksMecZpwxZBxyKVplgPzuRgDWsalFL+GlEsNtOU87lbWCEDMz3CcND1XD
YJqaVHvYhhGIRlctwoEB5EBhZNAhVP7sQsl2XrYz8bJjy2su/eniXzMqO1DQmBmfCSi91dCjlDJ1
D3hX8rZEqBsU5nOqmsuGDKfYRySxi9q0EWPIjfpokFa4mP7zmxAjRPKvVKEdaL4mKLuobpznLOZT
CjPPKIZcjpK6IH3D6nhY6KuMCQgbrFOtY7SyI7CM10PwymyN4FuZytIYrqWB3I4ky8PQ7cY14FbN
lB/owE0qLX6s6Ye+/LHK76QBhJZ+BTKqJeuC5oYQiY2uP4Qm8URSUgiMNSk1SWXpwPL1TcVzIqzS
FsJoUy6f0iBvLOk6a+8MmwY9fO1KGGBOSfRs0p8S123bHcjU4Uyo7ZWLKFpMrqo7K3luw7ONiyvi
xQxNzGeWw5mF+045Kco56z9SiHCtcg2p/lLmjG0W77rh2A3bTj/IiexIGi10nfvYBhqokdS2AGBl
llFd2W8/RekgWEwDZV4sx8ekTB2u+xqFxMgodiy2np4eLAzbUIs0Ygkz8tymAZZkMmakmnDnpzmq
8jqXbG7tnUcrGRoIqAGwdUvzN4kk4Tl2nrxNdWqCODyVEnwLGZHtexodTeMxwsLR56cAmK37fCjp
ET24klwTTDlrvxqvBQHN4S3VjiHNa3mLzas87xbrFQ3H2r5o2rFR39DKiD0adoW7LaimwMqIzU4z
JqcS5Ad+ol/Mymuze8vHSbYv+71S72JGUVWnXm9l+5L8wkqsqXkae44QvPLEfcdVQoknTFyhfRX+
ROEtGxgS3JrxJZ4W0PcjqZBZ75T6teV8gHONEYPt2tqXaalxdPhbi/2AzoF4QsWvEKmt6Ys8wvxu
dGvXkd5kHbt22zTHsvR1Youf9SSrY58zdmLtmm5nCAQD7zLpty9P8gxk9BuHb4mxRWgD0i+Hx6lz
UboP6WOuf07m8qaEp3h+aO23pnykmD0Nfq8TCaXYUhXbQ3iMskPSvY8jLOdrqTEjuWXFg0+ATh+Q
H0XFrRmv8tBtuuSSjPe4dksZ2mE4ltoxkfYSL/r4kxH0aM7viryFmB1RUJXGNQ33XACeaSh8SyMx
380niiaCqtCQkcmI+oGhS4pcbOpa22KiZkPa6cYYXuMnobDnCsP5j8rZHO5zuZv1+2DdhPFblE+T
cknqIylmpUj9WSOFOsqip6nHEdFPQ1h7SwHz5LOeQ34biLTIdBeFmmj0JjFCT3NWoo88f5eZXTaZ
4EOdIRRBNu1E66aUUJ6MBfp0hkaxbQ2vmDL2tGtc+EzHKC0TaDWvUTAYwdQEXTFyZ58L+bCoLpA7
TRQxcjBrf83A49pW8muo3rSKeaNHSQ3QHboVkcwIWBiI1Xlojget3OvdThofc4P1pNqBQgLHw3GH
bxKcchuEz7xT+W8sf7v5DS1G3EMdBD0JnZL4XC1pdRJUkarjMWe7voQXVTcZfkrKskXfuhiPaXqT
Veq3QNa/mvqo6tRs7kjlUjIx2e3M2VOfzw+0D2vjhYrgHprnUrqO3aFot2v1WggIDXdi5hWmbxq+
hpiPgT+M1S9reVm6nXZS2OFbhqBLaNZtLqLPuEhcQN0ZjAd6MSmFt97p0iFtv2oWmeDVLnM782dT
ngvraEqHOLwYKuCj28mHOXlrOAmS9LAYwYw2cEPnbtUMmjHLxgGn7VvrLUs/Ia8G/YuEU8KWJPOF
a50uZ3U51es2tU7x+K9gXgH8Vf5j05k7XqJbbjgl1pNyfRd5HcJL0QRN8ZFr+67meCQ2N2iS04Di
R0nfW9XPZI2JiJvR7sVhO0ROhbwsPnNA58k5Vc5SS1q6t0y78ICay+o7O8+OCVShtlPmr3j6RKeL
fpXfitgCw2QLNU/kKrOrGSdRf1hIjIyACybKP13yyVVAeBgJHs9aL86J8DnUx6L3xXMr+oXqLvoD
NfCKWlPQPwbrR+KuUJ+6J5C4LjllETr15BTq7tqdCvmljZ/l8lsfe5G0n5JXmAK7KW58StKv+L+l
ORD6udWvifEqPEEvGrrwsuJfmL1kHKwcLxSm2noME5MwegmANAjlQ0bzRJie2VxJy52scyvfaRy5
Sp9Kudc0u4RvlA8802TYVCtynu4QWjslecu7GzqvLn6Mxmaprm32F8/nMT5Ly9csVMxbI9UcXxmt
3OhZ5CDJyph+bNsXVI56ddDTVzX1zZKKsQrm7D7n16L7lKc7/K2igh9HiMYeufJgb+/mezcdM9jf
VrxV7aOcf5vohU0e0rJhMkB7KeWvqX3UagEJ1WhuGQ5od55yEuYSn/p5XwudO7LBCqeH5lMfjmpL
UJpZ2s1QIH47m5DQMQfhyQSlCFNIiyoQyRpTH5llbtrUI7vPHGDAqSKR3OYw172yFC56xqe4N6y4
oyUUbPeS42U+V+aZ17lej3m6FWaX2mNOX7IcasC24FAaT7V2K3HRa/xGVVMjJDD+iVjrczgi1amF
A8t46o81tcxUekn/UWmbgUi+hQaatWC8JuXjqY7N/tiyUv7eu4BgNySdGbqp2IvM9y6XuTzRKNTp
NqP8UPcWXn1FfV0Re5qnrviIzH8cPGyMhvlWUbpxHKG5RRArjy9z/qtYF7aSRuGMswFV+pj+Vt3J
4uvA4+yaYBX9BQxgfFunz+d2YvgRPLV14c9z5A/qrWJrkV771jNGVJ7VhfLlWrLT1cJlSj/1fBNj
AyyrHNbKX4a4PnZZeeyqqgThI13D7l3li7HmEbwLirlNJYq1Jy1yXNkE63uGej4JgAGRCxqQ2azA
0I3owwIdH6H0utSfABQpxEHyPaKEKG59t5/SfW19WMSkAlHPV2H+Qc2wTr9Rts9bX8Qej97ZVui3
52prlZLjTSmSRSVkNr8eKZNFdkG1mPES52iSOS+t3HwYqq820a2W4d9DPH/b5KvkDzNdA+iJgQjh
pp6xhPYkjt64pGw263YpGE2qzT1RaXuegdgrOwsf7QJx0xR2ftJ9GkX8hhX1tDWlyA8hfBg9eJf6
EbMi499zqE2y8mNfwGhye2XIc83Y2KymyXydxV2rIB+9tc9quDA3CXJWPScmDHk5qCWQA2IiEarp
36iR6tUi8e4YJrDWp75N3dRNeDVMnJ4GodpJaiLC0tYdt3TiZ+OH2hM33RPt+KtnHUGLH1ISTKz4
bld1Lgmtm8YIDml3a9cj8jkaYtV4tCRkEpzYSh+jdGeTFyNHql5HlnQV+mjgxp2pb+vCT6YXCP62
pQG1USqTxs3cDViLGKCaLftf1NOxhOrjKX6Z6G+TvTH8Ivf1KQwALEukgcNHXm2H/qxfrOWGAIbh
5xa1sHlF3jPRY6dmfRKspt/n+VMHrc4UPwHE+dgXtpZcG+V7YZyCiRBJFjFe2eqhZ0DjNtbgxeWp
e6/wAyfc9WUaXypaE4V54vK7jc8Ksv9O3FfTRsM3hrx5szzUy21tXhQmpymqOyQ+5QF/Fmeg3s+N
K2A5b6nxE2R6yTGDSX2TmhdLNp7lPx+0+VHoL5oBB2Yciv48pKe629eMuqrJxVhu2nKr692C6JXl
GtLB1Q+kw4KwNzB3lBedyBlewUNP+C3vmayKljOR2Fca5CexptDQVEigOyV5ZVqNeWDpztmFUNxI
dzSu9eapamscA2mn9qXGe3UIlHZvFAHAXZOeNHKD2E7HO/JnWX5Z8vUpW8/m3aoEOWNcsGgflorY
+GdU0UhiIgC60k6HkYHfYkN5bLBjrseRrVBQaK49JhrUBKbGn+VtzsBz4lE3QItbphc645sy1B9p
vj5EA/HhWAqYIZcMMi8UhAj8UNZVF0ZcVdyTq54RrRCbgTP4PzuPuZyokWbW1fRWilBeexTwaf63
WDtrPlNZTb3PrleaL08AKy1/yxqO8AnUVJcxw0ziMLVXq/xbcvDDz/bJkcJU3KX2e1zPWAuOmpfn
FGv+qlzzGeznYNQnqdkoxKoNsJ8X3fhu1IP1x7w7n2Nmclxdtpp6Nph8Qv7jhYNvdgEZz3GBFuss
Rj5Tz5rAAf4yUePLd3l6Q7EaNqg8PJC6bHqJpZ0R3xtgcPltpAbIjibdrOTWaLqEH+4FK9TcEGks
PjvYKk3UwVP2I449S7QxNghcCZccH7nkl9Qsz6Fm7Vvt3sMOwcOLtHwW6UOYEJxhE1z9pDEQeuyS
mzzSuv5D5d1K15V6RdvTrnAF9fk0ij414fDxlNcymbupNdqM2fueJcWvJ9oF5r53eXkqQ6J52kM3
vg0TquV0OzOXsDCYeO6kP9H08xL6tg0EPit/FOLFGv9F69s8P2rt/pQ4Zzep8sM+WC03+9a1oI+D
RNuaqYdlD0KKMtlWHGXJtm3Q0Qdac0hrNiU/XxxsTno6aeSM2N73QRb6yaUXt8n6VoQPUPdU/ZCz
gzXcVMuX6w/8p2LZ141tLlzITmnri0HJEx7ryTGKPccOZZxkvDBKxGCQrjGGB6voicUhYoNFLyLX
NkOhku4I822R3ygq59ovJK+aa0hJCOJNz3SD6EbJBRheHY6z6nNyGOpR6Oi7mEwJEKYuySusaO9m
2vxThsk2Q4+yWeKUzccwHkWok8cw4k7Q4JnYtvOxzGgoI86a0hG7o1HfcJagVy4h0dDIUneXYuTV
av1UeW7adbDrVyOWaf1CJIomc25MeLFZhzV7EyjqPRuu8iIxrWC8GlqxcZGbbGRSVxvtZ1AQ/ttm
6wxt/RKawMJgYJE1OoVVbQ19cimClPRNtiA7kXTY+UpCE23TSat2YW/aZFtvUCVGimfpPhpyIrIG
BB4x11fCyyeEPcSQQloGW5/2IK4iY1mx+BB/ilbbwCm3V5KBabAfZif+hYLqg4c8/xSCv75NTlU/
Kjg/40LBA8iKjaHZSQBAFkv3BnzalGljGfWNkk+qOujwsbfv64CoAAWi2oJLcYwScgec1DnUIGb0
TyoQj3/V5c8E8cHcO5suWxFzHOEIeuFGmV+/CgbCEAWzA+KWjXWryoxq4LWDAMfj8O4geunKuJE5
e5y8+hY4XWCJbAGplvAbWZmDAZjblKTiAIZ11nlgrqI+ie2xnXK7YLS1vqwho2inVPVb60I9NJl+
Kx5ndLRRaU9M7MqAxguGZZF+a55ZwbBxpHVtJA5M2ew8XdERiVKYcKPlGbZb/B/Os5cU6eb/cXQe
y61jSRD9IkTAmy0JEvReEqUNgtKT4L25AL6+D3oxE9MTryU+Ery3qjLzVC9TtmJJqTh2ed+FKS0b
jg9yJLuKnRhh57syuaAGxyz1WfledfjAL2Sql4SIMWSdHGt2p06YzAvenLXK9yuWWDkcrCcF8Fv/
3vXXanxOxGtLfRUbT6v8SaJFIT4q5nhjwt6E8TtPjpX16qqnnN4SDK6M/3gAvUJrj3VAj3Y3s7cR
MtVSGcTBT6QtGbJ9zjnBTYDx0mEUXzOZs6pvnz1sg2yt8EMtEmXf68d0VDMsuCStMASMSumK6KtC
Z1V5HJhJFdYqtR/OKW3xqoXctZSOuldiM1swcY/0f3a9MTN5lWXNMqBIyfUHjoESRTz0cgIKaemV
FZnifVtdquhlcCiQhqHqp5puLeJed85oH5NniMU+4+NaVTgovfkrTiOFTc9yY6J2hDhHF9dHqHkR
E6VEclvtmeC9a+JwnUbVJorjU8Fw1jI+A3JpSxhLi6XFvYVhf4PHDWG33vC/Z3rPuqQ6CS3GKfWq
dQiFBe0q+uyzjx4ziN/53jjEKwSZZZi3LgOL3tyrwrybTXioGHR2zD+YgzM6DeyFqHmCU3/Rtwcr
Ye/CaUg3g8kD8mZWDxrtLSkwzsuyuiA9EMdhOOL31P3EgDJKJPtHyu5iTq5ZzkZh6lEa1mqU43Xa
Avxo1sIkU42lyBLfdia5RfuwJpZZ9NlWrxo8aj6q7waPhPJR2yO++X7VOV9TYruKCVYJWYlWaCSZ
aBTf/eAfrcJfdxmKQoXVuaqJvrI3Ok/543I8Uifw2I7OP90y730j5vXVzXaIiGcWPTE+WChdH72F
4UCqTl6lTfhl6Kqb4aNV8VEV/o+KVl4aV19PV6USrQI8Yynyh4LRrFeO7JyjW6+2WYkZ3t7L+cOq
/XWBa4JtWK3hbPnBWs86cCFX2x5v0mCQjdXDlyCXMjnG2lTJPuJfm1/alMBkuTfm5JrUjHbOyN1P
XPokJtcJxREK7RA9lJyltVS2lG3pLDLiniyWtRTD5BO4p+mRJM2dUxmNI7lK7y8k3T9SbmmCz6bT
1+wDGPKtxvmfScEeuUGyafWxi7M4KrWUfdPKu1GXOK9Z4lq8p0y6Oxq1OmvdsP6R5ZJICUzC4qQE
RDTtmJXqxqazYQ4Cx28xMkT4t/ViDghgockiqkKKBO2tbEY3RL2Ui6fdwDeJL33301k4MGkFRgs7
oMatQ/3uVLa70A3115TbPSckj/lPW/I+lh6VXZMYj1oaV22rQS1Rt7rKKeXTsA7YyedJW9M7i6p5
MkqqVWPdtMqCEZsyz+OHUyOri4zCsZm/ksSLBB0T8+b8F0rFwhq+7QYysexfnK5kytbgYP8yoH8Z
XUlzPMc7nO6AIwv/tQVPFs20J2DZ66tDwJGM5V7jRKrt+5wOE2nszqpqFMrL1rDvINKmZbFtnY73
zw3xnuXDyk8+R3wbDZz/NN04JGw11P6QDJ2WfkIwO47ImJWLkV8KzpM4GGDfkEkXVsqYFN3VIC5t
9x9x33r5n2HGy8wc3N7iyIhAAHSsNO+lqzRr4savZWiw5G5xMegIgD3OsHvZp7caBVLuwoNAMFHR
MNGoEL18Ln21PtvKvdxzg0WFzcdU88TvVI0QI36AQjMvQ1N4DU5i3/+KA4CFZEkTK0RMuEgNOS6x
i2Fbuk4cK8sW420e89WyBG54IzPp3HhpfrO0TP66fns0x1OKcTkVME2E6TEfBzSBk1v2KqQBjZlp
kbyXLaZnJTxaGE7i+U5zjomTLno12zUYJMGJoxt9pdT1YeIscdFmnGUUC2CNxcqhJs64SHxlQ1U+
5Mm2z47xbE0PLCwyZeakGxa45QvH0b5BabqzrDXPeXAJvXymrrHgRiX2G8SvLubIh8sRMIe5zh9F
NcfJmIzWT5k1FIaxl+SH1r4x3eNctIj72Hlz0P+FDYhOul5qdLjRKsbNxMbAWWioRbbPos20/G1K
TnuNVSRYIf01mTvGWKEr2SRN4pdNarc414LN8dKqlj40qpeYi0FHjoKWhghu1QdD3pXcIdq51qzF
L/EnVzYA/hnKeMHbJkE4W+aMAiAW4DheUDDnLRvHRoCJrGdtHh13a/8trB9rOne4bQWm7Szc28G3
zHWYph9ZfYyNgp5RinFx1ffUQkIIJLEEFSWrLrM5pAp14IQ5qv5uqXM7sqC9CJcj0AKLe1Y76jkZ
vKn4Tqa8XErYo6EUGecqJwdPziKvcAkbgCms77knZ0blZAjinWeAKFdoqPAHcC9nO9HxgqgqIzA+
9nBPuifuRInwJ+MevOP1coBjLCS34hXRH1P/6RTluJEwtZ4K/Vs2gGXqELR4ux0xLVRbWg8gbljx
BP5hiiffxS3kdnIN9jNyDWKt0PRlWGec+JHl8SMyogyxgI1TmHSUzAzpTmR0tYR056JGLV2YDlng
VhbiBppt69jYP+NU4eKPEw8kGrtExhhL96BhxUXkkimAB1PVXS7LljDqAizRgi+R5+QEtHAHK6U3
taU7JTu9U1+2DoOL3QyIgbn9GDOal1XP86xMydHA1Okw4YwpPaeAzedE5iNHJ7qS/WTiRPn7ndFV
Kd9T/2ln19xkAiYfpO5gypgOUrn7aAOSiFXU1auBMU1fOAxRjGRW3sbHlJnWdqy7aFknxq4Peuea
j+MDCuw+U5SDLyR1aQgcD8WHk0xwdb743tmyvRwrdaVF2iPK1O9cteZxM199X6q9gRAetqVFGfev
eKZMWZ216GX6rHgcPuENLZQWaBdcArNFLSuICZ4DihN9+GX/GObS35bKxzJQqlTbndmYU61v6EtH
whF0HkloMQQxraU88hXye99ZaBALsAGxJ71kMMcYKFjXakii1Kx+eDp11se3rI2060cQm/qJGa3u
YNRSZWPTDIBNnM8xxWET//rGRjYHnr33uLoM0ok4uGGeVPM8dYcoSP9Jtvws6qPFo6bPz6Qlk+YC
wvnjB8MG4oRBYkPelPNAMZ1+YrYmZtV4p0BIOwJ8IIFp1pmWtu6ku/iibPGeSJ+kGdwhmk5ONHqC
1a0N62kSpuXGa0gvOeHjl5Oe8oGR4KAurLpBr7mJcXo3tOhQy7hVVD17szE5rAdNfiqRWhyDJseD
gI3kBbpK08RqiP4MMLR1hYv8WXPFEwV9s8c9HNyl3ODYaMCWVaYDtC9pn/IMAlaJt4uxU7EflCV1
zLCBkgsiIU0w98qMB4xp/Ii5K8Ugfw6TYnKICcs1g2irJl9JoPPV8oeWi5Dupq8jjowOn3iSkH8t
9RHFcHiOBn0rik1U1/+aIXpvKLu64hlX+aariA+pPHbBX9Ddy3GriHbRn8Lmh4llr2PwqCh5mrLY
6VN8LHFXeZ1lBgTFnS2cWNwHcvNRBAq1dVyipZnxqjOgEiWW/DnqwSZLTVzlyq7w1eVEiNTuPgLl
FEnnsvrnM2Vt+uraKltRB9Mx1+yPQXDkVq2BpUvgi26AkZVGhXOXZrntaKltm8upkeSPUIPjPEYd
W3d86jodha0DhcgrYymXD5A4S29SyXJVIJUTTng/XTY1QzDf1cj9WdVFMj5N/O9+GyxN8gnwU2k+
JTKNnqNs1O4j56jKZvdyNTtm+gVrCVN8nX9sDlwMKY9efO9aL4qAKniCSUFgJF6lRy/bJO8+2BK5
x5DOsZc+sqHaaC2zSLKsHe1tetbYghBO3aah0cj09i0cYCSDwupst0/pj5VhbTqgbLLHKEk/dkzT
rswlfZzF7B3mR+ZAw0gEMguPq5shJ69AhCup6C0vip1jqqjnXm7u+AvdAsJQEPiLcSVHmKR7ZtkV
BJPAi0f8k9Wl73cWLQ22UcQFY6m23028Lf6Ekly6njDYOFaRq1VrWQfy2WTNb9m5zfAO5djvPUO7
Gv494SfFGslW2CWRuSh4MzqxT+dja9l2t67+lMIrHIDxowiH72l0wEBISzs4aMGH2XhCPvHFX9JL
MxOiOtClswa7Kx6vefIjWYcozPG5b6vaa7p9YG7S6iI7x4jfIHthsqu6jR39KDFj+/w2aHu58UJ7
rzP3PNUk2YSKlFH8y0LrezT/1fQZFoUwdAVmSx0p0jl2lv4oE+H8gMoTGQm25VoPtF9BoQPmT4l2
qW7fnVF9S/TgR+u5qLgN7w3YSc6fCFEm9C1XaYKXHrc6dLPwJYd+vVRs/cdnWBWGh1FtFwCbo+Q5
oPKr5xEC80C9tltOyU+ZwmhZ18WtJ2B7HulxbN/Vyephv7DpaBniJs8quWKpl0IWMXF1t9m9szIi
3ez3znkW6GYRpIyOD9aw+FVm96Sj9qJUfcC6fk01aWC472A92s8wUg6p7rXTwZxWIrlYsGiipxFu
ODTDdGdrt3F4wt05TNI+8xn3/kaOK7UgtHcwRklJygQlR7TInZNcnekWDwy/PuwU2Ne/sL/4/nuo
gpPA5GA8bV9+TImX9XvhbOrwiMKN4g0ZcB2pmJMFB0zVW9hXWWG+7JRlFEznupH2EPSmFwm2YaEK
ZmzhaJxHddggtAGEYjEAtE+sKPaadAkMmyfRUiTz1F+hCSfDFpx3adCHy8ekPKEx3aiLmKOK3ObZ
XEPhepa9/CtX4sbfuuCLagIcATyxDNO9LtaJtipw3JeXkj4zeLeCs2m+anNdln+SdFHjtzziJaU7
WfuHEqDFR/TA4RVcSp8X/iZKDrtHqnmZdKZGUqODOawTf5cM2CZ4jetOzJlhPY1PcOnOQ1Sbyykt
Ya1V0I4tKAlVyDjJCi52pnqN0gI0X7hj/h4GQOCOpoEO49UDrmcbwQ4PsPAmcAXqWx3+NqYnJR6E
v5bQyaQxK2ygFZvKKw2JbpXhiEPoISuXvDvQ6wKEQI7EjFNq4DHe1dAL0kOGxDW34eG+6VZTuQ/r
S6ScWpk510YqlxFO0eDG3znQT2H1oUnPrlvUDlaj1iiXjEJH/w37h4Nw7jAZmWD6JTNZiCFxVJxj
/8MWdwOjXrKpkw0OHdm4RdY30ruen53kA0VOUq4NoSVgXOp4alFo1d8W0wgiO6wrPDGd8IzSi5Hj
jB3KiJTver5MM3hdO43jdGdzVIEbcoo+fWq7BBBQiYsbzxlXPKHQ7qrJHybJtBy/uOAk1NNdoh4J
A2vywZbgYR/1d0m99fYxDN6b8UUWH61zZZaOq2Glc45TfeNjVxm/oXiJiGQLyNdMB6Si4HXjQzSH
67q2bkK6sN1ZDRisaHH2YetuxfzOcqIDEEF5AZr8YQfahp0BXDx8DfnCHf14HU9vOsSZas1Y3zL3
lsX86WRFGyEdecvazCsjoEpixABCP5UxyVsAEdTSLeMxjXVm41yOFotkNO9xRdTFjN/Yfs6dKGVu
boge/bsgmolJzbNUuMMIFMuASRtV3DFmn8S6jbTjyJB3obVfBfuVGu3C0HVgrbLNxxRzCxjJSdff
hhHm5a2fvLA+JPbGMZ98vSxnH8XFV50Z/4xIYT7ADEu0EX7D9MSELrexyT1E8ZzoARhcVeHJ51sZ
gEmwqn9O9c+ekn0S5bfSMt/1ikiB0jXXWOLixy+Uq7pF7aBuevtZxdmGmSHyGj6nHOEvQkSatHsJ
6cS6hqiMlbPXZT7bTTAcxupeioc+RvcgYmG0gg+OpOx47MNtqe3HkISIOJXRrvOvsYyZASPidzrr
HeQMSsaW9QgqKplCfDAOcrF6WHUixVQdfklRTx8KUo/w5M6oym+RttEai2iBcycnl5AHH4bqs6TT
iL8lUxyiygmXkhF9xjkmIsXhAGuTZ1FmqM7ioLEQZ0loL1oJtW7AbNJl57N2neJlbkqG2b5WMQ7/
g4giLSydeWLAg35gTjGat0He9rlXFvuE1Of8R1eYLpXsD6dWYm8THP0Mj9DjMX/lkk4iWMj30O64
z8j+LoRenrBX6WyyJdBQUOZYDaghRaGDi4NaWcYhvh60e77WNkdUSzdf5sWpAzPBWr0vK3JRCXrx
kFB6sI6UWH8d/TKr7dVyUm9kgVjYaGLbJi1qu0QrYBYF5RqwQKdsxwl66Iq/oNEdi5T+aFcUW5P2
R6ffZ0a3yYgZQ2lONoyEDOywQjvYzaaHcPhma29atCv5W7FlpMIC4fIiKfgQ2w15FffvDvCFdVIq
7lIDjT4pEcbYBpUHpA4JwE2QHQbVG6MVYze13Wck78PrYBGt4E3jOhX7sX2iw+EOCRP5kDX+gyUV
DGtQGuXEeqVxgA98IYv14lO2zbPVMCzqKE/knGIKTyK2JfNi9V+JAXgX4xiSaFGAJXM1fc8167dE
wNOrn4CkGTFCrxUN6/vgGep2UbLXJT2R4pK+rezE3w7Spd7iLwR5uJmS3uX2eAIoyJEe4guQazJ/
rpbeF9O+AQwwNwu5Tp1bGByurIPBvKMPnMxhfp+KV+YAUTAXoboT/nnwP9RwJYfFbO3tR1zr7YYb
1Ww4HsnIUnlWR72/pljWMbO1WGUD+iKMawtoEp5lreVnkGN6bxaEQ5inDm8WusncNi6M9q8rlmuN
krFfbzHcFUcRdxM4bwWNvcB6dFza5yhcEdvronftmJawJ7VtyTCK1guCqkNO7zL07wjPY7IM1BdQ
tlXF0ozqi9SFOtyRwH9Tn1E+K08+BeP5wvgJpmcT3Pv6bta/qvpJvHecP+WR40KS92P8r2jOYX5E
NeGcnd8luzwzwZC3k13DfPnxpS/9woH4yGvxNbSuAeZKnS5Jhz67Hsi4h9qHhAW63ZT+pRKP8C8E
MkZf3J2TbpuObwWenbTdUz4phuSZ9vhnrQYV9ulaYWDBb8jXBjte4mmbmH/OPEj5ZLOImqau6OI1
oFJdgb8EnD7YqM6zro9msnfIX6v/uOqSHnSg7wz3CBExY06ieHBmlPjXMk8K5ApGURLEDvSP8i3t
/uTsG+89jo+F7vxSOSwsXFuiXKcBi2OGaZn9WP1n6Tx95S+oj9x3kpHBv+ZCkTIUrIGbXvTJIVcT
DHZtfo9rTId6+cning32HO5+ddiPfF+kQN+YOvYQG/5A62MVj3kkFOVBnGx24WOAxDO9/u1qWHNv
abEKxvuME2sYlgJYeZeKlSrYqLNiMNCHHEPdDftpPWCOGF0jneXUBSP4hzDJzX+bhJOIBuuPTlwm
7sB6vw7LbWUxTzxJxImK8Fbjtpg2k7RSP8seDRGTvs90KibTrJFKTvmFVes2wEN0TOrsKMMCXovX
sldLJM3JxTFsFSjGVD+WODBMj7V/ncOGj4OmYwLQ72m9rszw0AF5VYYoXJMRfvONZMtE7t1MXxmW
Au3IaEdbqJVAp7rltufW4ijaZwUzuId0YUuu1omQrxEWRtQufGBMcVyDVU+GuVQSDjyae4hVOYN5
p/2zYmUrMaXKSeu3U4rNdZ/EYiUxJW6cv4yKjrVIcg9wGU/T7LkiWKKxWW4II/qAxkSQmhxtE1QP
ywDaHE3OmimubxTuMkHxtINhAjwVcTY5FbZf2iTbyj05MeqbPLblJsvkbFF31PmqFxV68z466Q/T
qVXdfWeD/TundRZZMtEKAuuK2ytyC5Z/tokEMZaMF+1tYi7r5lvWlSWGQUV7KYOUr3xKcROWly8D
CJQLTIHaepnOYT463K60j3R2rlBc3FGKOswB1iVNQCFzozk4eUyrB3OXErPI2GalCRIzOeEe4qO7
Sg9XOP47NeeWykG9GPAXtdhetySiFyYrfd0xHJ+RxhRRmRg/V22QzjPZrALlqTYS1D4r+GpRS3gT
wdt1pbOU4h1pi4r5m2UrSxWWe0cShAEYgUfV5nnv3jzH5tKqi2dqMavsmA7Jts6ZKzNxgDT8bdIp
lE7/lWPXqGnMD9QnZMcU6agkpKvDBFHUEuM6062n0jQnMmmdNVbQTEyMtETUGQshaBOEbmLWgbV4
Pq1inugSOYbji3MsA9PTgI2yTS712tjbZvgnpbC2u7ZFlAxrrzCc90pvJcrJ/rMd6QnsFnRLuRi1
pltWDrLhlEovYppvfoF7Vu41ItUQ8BDEw14lnAEVyIKfWik8DnL4LpXyM8WWyCqrXjj30f8yovkA
kbJFZKjxUqJpgskgm52bg/cKzTJErqY+CQ/YvE22U8dSirlaIurUBMzfS8nxsrKnCYQzpKERVG3L
7+7URx0XvefoczCyxtcRVsWwT8Bi+P7IppGiIznLGqiIpnlRWeWdkfd1agZr2Y5oP1XG1jUYvOyJ
Jp2tyKool0Yzvkl5eVVSXdmkyv/jgJayoYzlKw+zIVsgN4IJC6lt7wIH2xXbRX5FG1fMumA5DyXN
Xcp4VKsILIRV+lbbT8RdynS1/CiUUlknE6JoC2orSfJfHtWcGEhSHI35v1hxheoKlR9ZkQOHoVMR
X1UwYbHxmfYRiE7626lp3JOUyJy2o55Smpv3atCuWn9r1aNVOdgg7J0asMZhHuDZ+Ugzx43TGdRC
GbV3N2hYbqpbedORI/KkAyXDpi1WRVCQmvyVkDKViLfTr2MYxJjqiZ1lLOACmGKEdQcAzbfffFVV
vWGcuCvmf0wTM/IaQ5lR3/GhYteAJyk7Wam/wZ9PKezBo1594ZfsJnID3xVrNEfoc/IFDM1AovbS
/g0sJCGS4+jF0eclVPqvYT3bV9q/TE1d2KG0SvAa9s0fP6KsfxI6VvVgjNhtsFZX5LsrkhyosMxp
WZZm0JS2+LRU29xXtboyk0Pff2uon0ZMWVWgjz8yB0mCWqavGFyQyNhHPvxULimmkORKCmg+qAer
sdkWTg8gVnWnntl+rm9ongBlty4ht/kQGhbROPJd+Q5ZEZfIF7t88MsyBBWOeWfaNiGDGO7YaTER
BDJdnQ60MTcMmSos67J+66imRAqqq2uJuaItFSdD21bKHp6ooIGXaqxzpEtLDLp/aQu76poLC/5y
wu1q00xdEoEQJ21V6W+AA6qH/yDs8pvR2AtGnMhxKt4WzQDBZafojfccb5paYqhQsMmvmXepq3b8
ajv0hDxrHE+asORIMrqYZRX7nMUqscY/jLNrRgrmsq2GaqL+0xBBfnhL0T1DwlSWssMwQFnWlezD
4icA2cVTSZZDD/hApq3BAzYnK5Lkq6uDpc2znvKhFNjoUnhEFYHeyPiRUpdyP65/MDDOb1uk/lYW
2UzGGisngFMF0dkw1tgSgwJJV+bzA1NclmvRh64Rb3qdaJ2CoF08QvRinbox0lqizJwyMsELcz9M
R5JCsXLUtYM+fDQ8cQ5fFzV6A9O4CJ07VRS+HEN5WDmGmXWvbqp+q6WradqGxh63QrBoY66Ygz/s
pO7PaHiTwIRpi7R4rwpijZu83OO8LPq7qLZachcWTMJLpd+E2OPkwsJokZ0IL8SRW+1LoSKT+E/D
dEWyWKbyL1XxRjb71IL33TE1MK+ZcrdJc5BcZWHZQhDGn7IKz8vL8XG/fyv1YSyPqn0284cvY/P0
FMz18jWLv0lglMOZUzUyD5a6EVOwHAl+dYCI+YHmBqrpqB4KE1MhvF3HK6LZyr0AOKJ8ycN9tifK
DwzLdvPpT3ALYNNg5qX3LoJ7RcohTe9+eeTLWP0sxvwti06Z80fBZMnXyLyt+vzPD15W9pf7EHCp
S6+h0Jda/29IjnF4jvVn376RKCOdVHFCEq9VpVkehW44cLk8RD9nWH5Uc+sPp0C/VejvAAIW8Njx
f3Uq7zBRE0FsAWiydk4kT+OLWjmvcTxp8oO7e9UTwqjZ9ZQ5v5nkIYk4+hOPq0IIOaSTO8Sql/hH
tf4SxocfXTT1xUMeinf+H8vfz7ntmW9r8uc2drVhijUpO1LhZbeGz0x6TtVOKtm837gwzzwfpu1j
KOqt/ZD/zpxwjP7YxdrmlhEw6t6a8sEcOuuvnJN6eArKqyn/0qCxjqfG+IgbUkPVejnmV1G+sjKg
WyQddVSNSwaguMMekYxIRdZVRUn4BB6PSdlGLiZcx2s0rAec8A9ShWjrms/enk3V7urgiQizjfKz
hkc1O2T5axRXR/AtISRvZchc+KMV1pEyM04cL6q5cPdRzWjqMFkljfgZEY3U9nw85in4hsZahDSz
gUbAq/gI7cdg7uDlIEosYuCPZP2DYloE+gcbGOXyoBEo6VwtW4/BXTXEIi7w+2wtdVtioWVa3CEu
RWdjBES/y8TWEGurOE8NXf+u1VaN9BGdbGx/IQSSM25Jo9hmxUGP96Z6QqVyVlXlRiC+m90awNWu
xc8b7AqL69+rasZqXh0/yvKDzExk76tg28B2aKG9bqf6qvJVZYNv7w32FrhQmx4Usffzy8OCtpri
xsTOFRzl+E0LjmG9by0MyUeIE619ldE3w+Boaj+VtJasHdmnMtowZFzpC8KGgqHkQLRjY0w8vLvR
8iZI3jg2Rm/2rDgMelZlhb5xVtiEypnf42QtDuvMgXQyl/v72L8CocrYU2oe8+wawuLITrJD8MQV
LGJMTsaqxVb3cwkjUJHWPqaHGj5ooP63hOvOGfsuR1007gN2UNXbLH9SM+7Bvz175RO8fPoxYNAv
doV41Gim0Z6Ao6rBaFyFxpMimBBU0nmdcuDRSnyunxOvmZi1HZ98+wCxru9dwD1bcmNmfrP6P0jw
tAkJnwV+I1iU0Uozj9kut46a/RDpisCP6m9w3aGSGcUmMz+CcSsYBMGQ1Q6m7YphS5pGUldyv8Eu
y9YtTJRd5DGe48FktqR5nEFZjGrmxTGxsjUeFDAQsOFwMvn5gayrqt1JsQmdqm8TrTDWqUtzrLYK
5rauJz6Pv3OOJPKYkE2rdYLsZC72jJIVjYCFuCS7ELyMNnE7XGdsSRfs5jV/naNeUjbFjgPqGqRk
KkhG4BqDFlBG+VkP/d3AQoigA4dlTtVnGWQ4SdLsKQYHeCiQIgmuDfQLggwTongK4CT6N0CpMjD+
1jtykymCXJ9Oqyh9uMT6zk301gfHlh0VNbMZ8JqBXW6seZ0QJJXcLep0NascYSO//NzC/o99Kcpo
HaV63u7X8gkluvNVq/3vEEwgiROJkWZW97uhsR8mLTKrrFuOcmgWFf/W4Hx3ZDaxIlNxGIoXPZgr
KtyXRCX6a6+D7b+UrPKdOmURS7m5HlRjPgEicGjCg7sXuPSiW/oQqf2TGQXq7Xldoea1Z9rA4+B/
pjaO0vjlCOJCgxgBXSXhPP0JNyr2WsdiT5oo2zv2/b4+aN07e0b9YNeXu0isDFnLFwVyf2bX9aac
KLPyqxSO5l7JN/gPCR+QS7JF76xj22FMEfOwkSPb1tUGV4jebxRnreCSNpfibdRP+L9FYQxe6IDQ
JQZcTbaytWD5a7o3Ff10VeWsuOmNmuwMFUaf/6+QxDvARA7To9qlHqEyQxHHcuLfaUnZ9AloY/ub
7akeVkDcHIp0d4jLuVjeHJ/iMwC9n3otjRXbnwaIjTLoIGcrjF8HTk2ApVZn7jkSjEVSbYtToh7I
j5fjpldeQc1YGFLqe0HQV1PamyC8avrjoq21o197bbpXyy1DO9Yg4yKFYo8DjKegLP4BbGNgos0I
25bg0GNMb6YZwtDKtjjVAXM2XKp89xCo/fHDmUgUD3x0nt3vAwJvKStWtbNBApMsTyGtZSnOlh34
5mVErlK235Ngx55DHnFmhAhXlfh0MH0jjjgQ/RxfuUi6ZH5NynfTRliWnmY2XHE5iApFEBBy8J63
16RlEcFFhzCoERnda6z/gWuY7jrGpjpuFomxrgFza9w6mddhep91wmTdd/XacSjNQAIqBkhzn6ON
yH5FGEKQm42JY2fjB45cEb1hQSOimefb1PCM8FNDtxH2Kk9CzNSXaAy8FBNVyqgFCFWOMsSZI9Ef
Th9qQPRwU8kbndsc9hKbQLCJ2+g5ZIrbhUE+IOpescWLByrODrsiSj4GNbtJQ3dLaTsrodLO4u8q
VyoNNvBAVt68ElyDNPYM6yyAskRbj7yZUX6grFnHc8oyY2MwU+LhrxuOSca2DaqLS9itmubd6kpO
MQCm21BF69paE8+tlN0caC6FQ0KSbHhvf6KTIaDm4y1uoPVsh/ZSSf9qJKTS3Jbhvu+Z43hj8DQt
Zqfg+1SbXqcImN11PglZHftD0XZbEzIY0S2t2Suc3FmiMVX+7uPPYfzNgze4rGxQZHMoLZjCYtl/
JVa5ccL5Nax73IoSlGqTq2Euv9Ca6r1BzLdHpd6FZBBLJqMLw76W1SoHPyLCXVa/+WJbMyOFr1ua
EVzoscn3FeRUNUnW9QcOJW1l1ivmrogLjenvnam8OsoO/K+o0Yg+uRj84D3MN2LeM5Cla1/BD0Lo
vz3P+y/4KsU9gi6ChOlWqWcXd+c/js5rt3Vk26JfRIA5vEpUTpa1Lcl+IRwZizkVv74HG7iNC5zT
ex9bIqtWmHNMpuhINoW2i5qrhrAmzz5004TiiOQRTXt4qpvuWCkDP1vkQDU0Plo0Bh2xpPk1cV+s
5DczD4HHzHZbkj2G+pMl6iBYw7mC81LrERoEznBoUpKXnCZEp9ceMzE7Pz0s0di/tRvcnQV7cX/I
X5Uwx+ePLNBp0f3in7XEYVCuku4DcoIatIyq9gLspmr9sGSkb1VX43ACiE/Auze+55xPBeMysuZo
I8n1Yw3CyDEQfkhNIy2w8DSCdui2+5EVjWXZTyXLYc3o2zqmpbQKwZPJ9lgwzg5G+YHjbDktzeTD
qb9se8uNKoItJU1igHc5qWCJ1Fd9lglcw4oT/Yb21QnQw2wYkqD5gch1iI0NOiXTW9mfjgraHAHw
I3dPhQOV6JmjdbHYWfb+VO9TUmUEYr6TO320U77syh/YsCF2mABJIKZOrd140uaOY3K275ovNoJD
+YsmKU89dGDZpfWwwiLjZ7OWQIKpnYc+go0aK2VZeOFhtD0m43JJzWSFz7z6QVWBxF+pj1lydSn6
teCAIwMNOk05nDcCrlbudKjUmwKwFRHeIrRtCCPvcbCArLVs0Udm/GitcuzCb/6OFHSD9NCAiU8l
eBIBA9ZwEcfE1j0aMlC1SfVzg28h/rDwh23dFK1kvoyT0pcDZiuSbYIMlWMJWSihyX1zCTWcYUWt
/FI54hvH4kBplym/H25RO2aOWS8NxkJqdq9QDA3xs+ODd8IzU6UlpjOW+/CT89XQwpYysCCkDSwq
sr+YTsfhzwzrMSiAdFZQhXumw9N7HGZ0IC5RIan9gOBZ9jaSnZei+86IqMwCPhaBA8yMmVRj4Gdg
uUgiy9xVmbIZKepDPLFKx+qEAocWHnR2yUvdTf80AD1rMWMka3Tx0CYU6zUp+6XxdJxq3xjZJgz/
SMkMFobizTyvaalyl3n0HCrNDtJrGs0Ue0rpQV4IzXUX2sfJjpcSvZk2G88BoMeUhha7VgLlyMzy
GAk+3e5LKtZa8PMK1Nw1G6uCI31kzFRjKRBNTcXW0CFbvOC2D6F82U9nfULwGPNcktCnYi8DBtBo
BR+qhfQ0DA8D0ZFEbjLdzX2d986AC+/ekLNuwEz6ZAH7MBhiOeMioSrkFugtxzpht0xRBfLS7dZh
mJPpqP1kmRuiNA+Rv4LpM0h4GQmeQuys+qUJSvOeM3YL/18dxO9Wjf/Kza92KOncgPa2usKcnqIu
NM4k5alypcMCZYUstpob8e5CbU1Me5c4xBbJ/L2od3VKUiV0HMNwtnnPd9Grq6JEGFHC3Ghk9J2o
PMchN9fYFT95Mhx6u2Wr2Z7TmuebBmyqJPgh9xhr6ZsqC6B85h/Iu1cdRmqtX3ODiQNZBuuFftFn
TlqSd2sQfjyYy2C6O72G0VU94zpbNMd6VbslXM2ec1Q8iHwFCggNEZnqsQeu3YIqhrGcQeSf+Ceq
YZkIyO/y14x/1a5ZReJirtSSoaPe802qPOQTpg+iqoaeb2tfqYexfYt5u9168GVzGRjuNYeEmUqa
fdXDLwooZeR1MNasYINsZ+8L5nJp+UuY9VJyG3QjEZhsdlr+ifCLKVhTWoenZ0SSUd9RuBYAUGXr
PXVE5LTWXUwdKIM9e83JZplAIaYn8hwVIPFyrIcpFlAKQUdZqWRGMA8btJHe+jBQTKjoY+QOvkgY
4xiP/llIqOBGTsm/OsXUPw9J0Mup856XdqJ4NtO1mz5VZBZ19mm5P9IzqcHm8dY/pXt20F0NhXT3
OKdmCP8k+ZWgddzrhN1b4HAI3WhnwUQIQNn0rP51/oDJ15TGzxRdq5JG26ZUzkkLPJjoIEvBosjn
dAsc7d1ySO0xLjagLdsbGX0BQf2MekLQKvnhJsUCtjbqR7Jk8OyPyQWA1cJIGC2cpNpgv3FX+O/3
DuwBlTqsYtThJPn8Dq5m4b+sTlGhrQymummR+NVg4dNxIJZARBgJsEOm4ILz7d/KkrjVWmxVKity
/fp0D3uiJd67t/dD9NN1H7W9KqrXMcLGvMC53HaQHgzDr6P6XGQ/UXapEDvL7iIjzmjHWVT4cQT+
KtPtDpB8iXjQWOfERw1/nB1/R4Hrj9mzB0QXA1rvtyqMJpX6iGMstPqlXQXsjJ15SswBfRMfLRKu
Lkjx7mD1rllBBfuIqyM1UHGy/XIYXwrzVRKCiNx3aU3e0jA+E3QTNYdtEIGYshdV/SOovk0UyAk/
uzcngeXcRiV6/cKS21NhXsfkPVCgnc37U3Jg0hA8OlmAGqkiQn9Q2YPPynTtRbNJoQi/a0wzffNS
yBcVa+hAcxD2I0K2t5aFtwxJL9PTu4EqtldLv3DiRahTeZFaELbbyLOeEWYHU3awBdxbVLYvxC0f
CSHdaPQ1E5NFXCeUyPsmyfzZPCuwM+VoxXLiGivYHk4ESBsXqkHYSwTawMTN3yBUlOvB0jCP/Ss7
VrEd28qPb0NTSVQNcKxPfgaMgsi4HlNG4P7Verx0MKFqAjMIKoLml+xV/WzoFnobyydcciCl0IBs
NPY/cUUOnuMuLfW7T4nH0ItdFI4bWZj+pS2eRdP+o7RXUsScXLADzQ+wxQrwiK7sTMw8sQSxDyIK
t7cFttNpdEKquNwGlqNytqxBTnkw51UMXBsQ+eBc5e8p7XLf4lSGjlTaB+buXtj7JcgfZmykhan9
w5PO1mGGRnHsxMsQKZ1Vbyqt5NNOGWfzeIDB1NMXlfNloM6H18PdZrWfieBEsYI1528WtUsN/wdx
TMn4NobPbFbofrS2yqwBndfcs7AlKZWBD3XC7LsveCbAXgnvPnh4Zb6C6KcI8evfBfGWFqTQ2cyd
/NYR0ZLQOJpcEsBd+4JbvemxyaXyCmV/aeBOnfM3cMGxLfkdkYKA8Ceb5501etdZfgUHCAIPKe2b
gXcULJBG+ZGl03rwBKUz401eU/uBfCOZeLL3EEMhbdrRocB36rU4MJiCIkgofv+f4fDXZtW3SqEZ
SELahtug/SoxYTbfWca/6IEyINAR+wfpBkyqQLUyP2gI5kr5//38dlnmdp6o8t+RAnf2ckzHwce8
yFbkxQvpCZLOr5GDKdkv11Cl3cb6OKl7kb9lUCVhDUEoQm3BL5xF08oiK1an9fXkh2rZ+0kCSqbE
IbK5ZN1k4T4z+OoVu99abHEKb1YmU2mxazKVz2QmopxSXWHX/Yiqg8jeQvfbZVnSVAmg3Y9yfpPY
IDvhsHGrmfY5jOTpWKxdrirDeD3nhkEhN8I+dMen1vs5tcZQKZiKLxVr25A7pmSQZPSB38HmDgbJ
kBLCd3V20zd28PA/UXuycBK7iNCV4t+EWxujIk7oLdmmISWXYVx6BGvoCHRqoAr9D69p1DycEj2K
w16E2Be0YYzPW1RmM/nYclnRQEhPGdJX7Ai032iufJHMqwGDpQgwAdUu6PnRJfWmpIhMH17yYJ2U
DYIlGalfDIndhyFPuH/qBlPXZ2czs6i/ZyAcTaKB759lycQ9bn9mjbVqAoyAzU8fPbuw3ygdkQdT
vgqRzLn6HfWpUhtUkX9MV+LqaZBMgqJHaMgElU07J08KrMnmi1SukFdCKhgREulJ02EvNPXLgzWo
h2RaE1EE+hATOQoIVCduSdQXHVPJcW3i8VCdF8/+HaJrzNhNJ6xOhGSE7t3wqhHUPI0eAlo+KIOq
uDqwHAFeV9NviW1grbm+G3WvGgeii9cu/nl3+ky6R1RWfMush4g3DDG833oEEFRTdvnGuKFz7qV9
7Wi3BR8uc+s4+oyVvc4oSOFjndeSqQc+lRnSpgq+pHmvxaMkAaL3MEPMts0arr/o15T30AkgLZJz
7zKYU+YtBlOfBMORA36MvM6M2jgs36WONDHZqU+XgzDoqa8I6nTWZEr9g0Au57gn7x+jktzGiN8P
foY+ryjYNoFUgPmZlihRo18nRgNYQbgD4BKisKqxx9EGu/hs0mLtwITpxQHZIbqEUrU+M7zHLYLF
sCWDcU633OsKPkB6i7b7cB0Wp56fI9xU0oPSdKxa3WVkEBzzIMxxtJDCTLSM1IbGoSd6RUd5z6a9
npyluW5CVj5gABGwobEABPCv4ae3WIqD/4RKV/7p9VOrKGQYvBIe4GPjX3Q8DBp8xHjTGTBEPZ/k
Zz4VIBHc8DOQl+pVkVvd8FPyjfqbmFU3+k/G8t3Uf10TSo/Cy1+mbYvEkX+LrLpp3LbyhNZjOSoB
S1celOASxJ+ZIze6vImfgpCFOPjEwFah1Jnf7FQgU83fJ04Xx5K+qK6mymiF0ZMby3ONslZiKhnm
i328kSFOv1MtGNazf0+qu8IqA/4JmlPZ7hWs6TXOFEmdO3dgUYAdnhy2VcMKqKYlTt3dMJ0zZKfG
X8AnVDKxVMp7C0F9XvTaxg/nZ9g5fmZQLbvAAv5PLUg2XWv90+zkF92q2wGJSPWLHXbaXrrfVJcP
J6s9VOvXYtBZWH10wVvD0ztyXlVUN3E59lTn1naSeD+wo0HsBOGRRP0tLIfXQsmYCJQ85Nh4sDqz
eSnGm9EcbUyS6RIXxCIDHMQ8k2U7IBhVV1eTYtKi2feQPsfSaLUg5ekqpbXTbHTzxRzJ1yyKrV66
F8IGJlQZ/cFE3c8i2sqZGSmCq9Gldy3gh/a6fTcGntEaR22GMM+Lg69cpW5yAgZRY1Y/B+Asyd40
CWcJaHuh0cEoZEUyW1XTR8CHIZjRV5RZZVlv+ihHEdvnB9UugOVU7fuIzFq3wnhjOnBmbSPqV1nZ
f3TImmHcmO41Zx8saeu5Kz6L5jRO3AeYtlSukZUTB6skZxMLjc1jzfqnIpTSBjQ6wUchOEnydp03
NhbaCB3rOtLxMhIZU0Yh205pwUIg1AAp8IxXmAeM2Zcb4BTEKOGG73ky8RJTrhUV8wv0s0wRmR0a
+WcB0RvFlzL2C3d2NJXDclJKyv7VqKLNdKLsrZDemQwgBWgH9rYIad5kgTNqB2UxFMzop+Sn0zCh
mYJidybQuGJtqr+aPNkkQyF8juGwCiReizCdZS5qHvu63sFNyK23rp0QltUsLnVcx/V1CBhMjWJW
SoPHRqGSun92SGhrwnPdX9SoIUZk3CQlKumgNlmugu5vFXdbRt/RuHFg7BZqRJYlwUmAbAbl3W3E
n0N6o1lepPmmqWSeNoQ0VMM33AZG2/BmXGgo2mStVPIHeFUgdYQMqXtAZVGrclHGGYcJ2Tlaa97Q
T6jB9JbMx45uH1ngsGYkjY85Yu5kr2xeNL3D2NnZ6wGsA0WWthYasO2BCeNCH8KjmE1K9nTXH0N7
c8iECPQXBNJ1+ZWZzG2ZAsgRda+esx20J4SOhkeX0A3pPm+7lTmZG0PXwAtExHUIWyNJBeVK50AM
LxV2mEj8g+iL0IytzauI/gr2jzZYh6jj4jQyd52O6dN1oalJechTemJWRQe9wVrakFRgrpMgO5pf
MgkZvBrbRALNBg7RBeRmCz45vRsXToy1KRf7iv7Jxj8K3J71ibnMqaTGjGRQ3fkeiYvix6KVKDUU
cfW8WLMD1pIi6j5I+9QLQrDrcFg3Tf2CFXTf4y7EsUgAIKZZ2L8Q1dEkdmtbxalbeQNLJU5lOeMh
+/ZWECnPoZ8aN1Js3vTBe9IJ1lDxDW67NKhXNvEy7H4IFVSzW5+kzMC+wk55yZv0YRrTaxEiZe/0
dcw63nmGbXguBy86mZZGH7JqSw47veqGk4QeBU2BYtcgPVBGCJ3JlTPwqchnzQgj6E5B8RbQn+Sh
PyQvyPdyZr6e9y5+Nf4Iv9YhE1Dv+/S1SegdtHaRK9pWkV/oKnK484PxmUscQJYCwqMM3kEuYB5t
v1mBUfoM/NJ41A9NGRFE1GBLrWssSZ2qnEypmCQj64tz888pDxx25hEhGxkiGeBWM/dtlb3oT1Bv
Yb7buAH1RQkcGXnFSLMkugTKTXvfC8SDhb2pwqMT/kE8gND3LwVjQN5i/FPL/dBm6yqz4NwIRs4c
LcRUXEa8COr4ImO/EmvbZk250oClOcE5Dvjr1BcIGJHwbZTpGn/R0DNV8KzfLskJhBAd5lzrioNi
rjOyXdmHnPb3bEq3EAR5Zo8mFbIy7MwKeThaodKvjFUSHL3mjUo4d85GD03OeTjE300oKbCR6HPV
h0CYsN6kvWs2g8cvORJMA6ki4S0qcCR39W7qXksIBJS1bvIxcftp3EEw/vJzNTiXvgCQUuctZVI5
AFtwEALZgrKqp5LF3PcH3lHbqPKM4hGYe7t3aKrreN2BnifYwdspc+RAbPmDLRjIYoDIs0IwVWM8
m9nJJn1XyKOcyPbRImjsSr7DlksBSRvEH+j2Bi78BresLbRT4LAlL2xClyVzIbXY2nhqYhtNclYj
3WKvU7HMsddNV1NbeltsS9nLIx277WgSwhVYtHg5FuJ4mzJm7USyDWznlTlcSLOUswgQhB4GxiEK
ytdQoKFovpBY6eaxK6Nq2VMRQ7/ZJtzvacRrZGjuXulzwtqbj3qA+8zKp8eSZ8yzgmc61iwbiXhP
6byTUbg+NdbAoZjZVHVxj1qpbqZbOGV7I390UfxJUs2+hffQLtGJcb/FRA87xWyoNY78YscprvZd
Fm5yjHMKar5BkR9pVd4Al+ZZif8RY4OrhyfbZiiBwkBmKKDjYPiJchSUuQ3vSFuXSvoZi+yICHun
coInxh7RYSo939Fd9NsU2IxRGJc6yFE9px/pRhHieOIaT6RW9Q7itKAihAho1Xx6hj4wkhSxQrIa
HJqR9j2dbIB3Kquq4XvCVXR0AkpIoqtiv+kZM0HOBr5EpLgzhkQUIxBJSj6RHvSc4gi2g1U9+nXI
ANP2HJPMSsaImebhvMsxKGpWS+IKBovS4h56ijx+BJlyqVFrdISLhV7ccGKNqd9H4TEpbpJQKpwX
WKRycSuVkRSL9jSGkmBD+xTIiGwZe6/OEof2J45pKFsNY2VCDCq53KEb/HXwEdkZQOvQBQ4I2Lrm
sHVA4fTkTRWFujXyG3nrjFve0Fq+aGxQgSuQ46cT4EXtVK4i9Lhqax1TkTzjxjraPKyWeQ3bYm0j
ypBwz3gwPdbY5CyMibNVDY2EJBS31qfqaD89elG0DQYlfqlisNBOnTtdxnxaWhDcMT06cNxtDa1B
XTEWAc2SEDBTx3K8jTYVf6K89FjhCcKDn6f/TemtIsQk8eOT8cr8SikJUTLrF+UjJ0gK8xnjESfF
Nuh5J63I9F0TMPDS3Q9Z62c80QjFVOvLZrVRIVZnfc5H2G8DD02S/KY/HhrY6pCLvPdZSIqmKMSh
zZQ7u4SrLGvw9xTAnelzeNlgd4anNMUEeHTrrc4YLVvbSEkQNbLNOspnArsIw5tD7/oT9ivm4jWt
HG4m0Dhi57KsS3wESNNw10FiKQdToff5JvsUYZ5iZr5rvdqO06/jSfwW9rTDl8189y95EHLATJpR
GVqCkLFYHVxE/G1DlZGvYtxrxZ61D/gvzTwNAd0T1hCdoVMgn/8nZ72BX6/d9fwfE8bNjaeTiNYU
x4WTi4sTlAcU11/T5P4Fk5MtC07NlbUyXBjNzQhswR0JfkDIZrHE+HY6tduP1vTwWh6CcJB/lryU
f1X5LyZkmDIPzdIyYLFa4wXhvU4mPJ4HV6E59iNCUuQXQhF6r9B7zTprpeH9B985SeLolpN5kLQh
EfnB+g58FowPPHFbjeQD5QmRS82PzCnd+E7kiIcAsXPB/rTvovP+RdzbtAVE3nJXdmSggzcst0E3
92EK4NZxBM83xSdXPp1McV4gQoJVYjhj45swA1dfGoNCCFnNU93megW/Kr4RwpBfxpb/IaQbwHrX
TaG+Gdo0Ls2RHWw2O6EshlhR/K8K0If7zhRfiJoHss2NN9Cdlzt73vYn9zIGPGOGhMAHXn2tk7Tb
mwkVhTWUOydhWt05PP/9J2u8gyEvKOI3uey+Rx3cUJuJs4PqhbCGWS3JG4DmDlsqQBNkO9aLMx5J
WUEnwxMw9NuaZ1qzNmO554nj/ybG1OZOCBwIr8RrmmbjMz5s0cJ7C9N8JFF1FYP1Sj/kh/spxjQy
8IW419nbGEIDwF4UrzG0DNZZE5iDfdVl/+yrwzZK6EfG38FWYGNrK0mWdPXpaV8iorgYTma0n8wt
50Cj4MXGwbnWzbOT4Ziad6DJGeOoEcUvquDwHorkjDxZo8Md9GRriBXTWtSjKpGkHMi4OYjFEMuy
ZU4RLQFSc7PXB3J/9eAnYzCHklQwQhtZZZonq3y045HhdBeasIYQTixsvFvZAH9k1+ufJDYLavtB
+YmHq8GBtCs63B1Qy6rqA563Ro1n6Z+9/iZ7PKfchIQxTl/4fBiGPvk7nPTUgBkv3mY9beciNrHg
bS4F1nFryVOOFUay7Y0vkGP4XyE4O6YnVnaFgjj+NKNWplcCH5h2qe8wPKtgSzlWBFuCarIHijuT
YxS+7fcci9AvRxW7jRjQMQT4+8yi/eu92xhiTpetxTroFEarKXhRYPQhLBb4vbsCDIc7bRcSib9D
AYyunVlpcjWqcVWqb2GJx8bDWKYK+je9VOVSFFczWEcOnlZ+m1Vr432jVc5dwFpLT6xA4qYKnXC9
s5CzM8kmvCZX1yGkUZPSclhCE/IDOijtDR8TLRjr43lCnHJ08Vcm7cvQlDfd1X688icWE9s2hAR4
kWoGuP8UzLLeZkwfVHFQZoBUsfBkFUmwGIMHIlc1YD07XMFcl18e5W8nRIhQxbtzjVlLAnm/lVrb
5jbr5bDg8tLHF2N0mc6SgtjpZrOcOnoG9ophSJz3vcaUo1k9fnEqD6RRanXuAPtb0loYpbdglOxb
M9BhKA5Cr25a3r9OSnPTcNUFEf1Dra2t6QDI8kVx8g+ByzCqVe6Ocu3kHAh0zdqIWZB/SAmDCpdf
c31st7lEaF/r5bdlDjh0QELm/boaYQAA8bRwhfTqLRUPfD6LVOUz14HbRaMFOeWemONfpjIDVOM5
yQv9BEw/etiasXF0lZoC6WprNbdsOBNw7BYbo9mNtsKnvO/SR5fC4Quc/maiAcpOpdmlK1V/Thmi
l7Bv16EzEa31plN3RSkufGN6xLn1YvCD9DiEWhkMSBtqJC7V0C3bVvvXW7A/S9NnB3XLiULOSagn
eHzlkWOHOYm1C9Y5F/uPVW8HSpGev5ihf+bSA1LMiOzWsHRU8f4sgf3a+PUEHTBgCphLuvY5AaqX
rs0M+iUH+aBnwm9neEDOVa1zvN1zRhYp2YAF/hsFc3DdPwfQMik9y7xZmx+PUf2xdIdwI0Y5y07t
TcaTHm4mW0MD3K5U03lktk4/0LH01XVlX9Q6FJP+1CwzwQUL5qlJeQ5+2zp6HyyU/Kn5YVJbhwfD
PBJ6Ta5kBNQbEaTe/MvG/DRviHPrSKpuQftrD+ARjX2p46zIvVXIl4AVWvUb/pBGsFoCPqORB6t7
1AjOkZSk/avRbSKTFJeiw/ccvyHM9Gl4a+NXYplokTgXVyagjUkQDnwhXRbA94y1QpFmAFCxyLub
ie3qUQ/srToEP3E4bGXR/QhD+QVk8ykCIJ4vUcPSuIIP2KhbJUFabGp+g/RGOAf5xzTaTfd+yLah
uKbKM+GYG19bqrWM7A5aAPjoYDqN14B9m+eV2dJTaKQTImEt01wGsbY1PYKXAhR/HzyKAYe0ZNvA
sNUd01Wqo7p0UzD+DXYg5aDWzluGWA+T3drCPdWB36xxItnqR+8CNQeVEATZAWtdT5tq/gYxwzuz
3ha9OEamsrQ191HikwtTrGUa7C02qDxKjiJsWEUrVWV92Ln7dUPAZ86GdNJ/m+ZoJeOnByg3bCqs
G2Cm2YfYyNrNKIIkFhwiEy0ztKNh1fEJuiU+loZUjYQJTobwsedKvU9GsoZ14gHVCurgR8NwZ0Yx
cIlWPbv3PHHJc0VT36DHt86JRKajdWdzyhx+IfMrbT3u7MIfcON3FmK5FBXwXEw+o3ilddC6Udmm
NfaZYVtlDt0fJG0a6kj+dMFk8+RxfUjcXS1C+kn3VmqF4ynT6XsVRVkPjrGLeA9HRkw5cvMxJElu
ZBihWDYzGrmLHDozJ2W2BzSAkaQxMgBiviMdRsuEsgBn5+Lt7OCmO7NTg5KyQZiK6qLtddpJZCJp
tJsy3YMwTYEZNAo+eAXwVL6WFTCfEjgSJ4v+IeVbV/7VBQEq0zqgC7DnDCXID6ambEqBgVvp9x5j
U97eDf5FvxhnnvsrhKq1FMkGLs0/1QAL77SL+stUrGNU8poEzjHPRpYk2mtYf8r23oAkUfphsbbH
GIV9wllJMZhBkc+cAG3VMQjnXUexsKtfR9VwXLYrswmvahof8gQNuUE88UqPIPGHjt9Lkv1QfTmA
tdr8ObaHejrW1raQOzvk5K3eCaPDpgIQ1fqbVSwtrNsa7EUMBDA09hqjUAM3kMl7VdFPLktNuSiS
L7U+x9w1ojzUBWEJbbl262Kp/9kYFqaI/X0xKARmYUEHNLtQeg/CpIsXGnwW6zO0nzj9SUMHMloc
St1ccu4IWsYm+WuGi5YTa6YiMuUcjRxvqVefudPv9AgFbYBJpvm0aCMi63dAkZXo5inileBUMVGd
TGvFiMC60VdWPRstUcpHXkuGFL4yhWuoFZxhzauHdX/AMOWy3OXim5iWBSDTazFdcpcVez7AeKku
pW3soziAxvlr/nUGSj7zl6HAt6ncJ2SyxD/5XUO0BV19u43RYQVjdlZ50K1gWrUdwQvTPp10ui14
0vpbZoENjWuKFKv3Cx2hF3/MLfG8QyMlY3WnJ19Nf+2CVye94kDuqDGdgEIh1YlLujntTRleWu8j
mawF7glBwTXQf7URQ+/k1bbybctXaZcv6pgt1gZDphI2yOjt7Hmrmxd8Nn8miRCmI32vurqFtlas
7pzGsekXabpydRPRXUiDK4u3uhV8ecCn4YoL9LEFo27yzV4YNSOeZ0DKNzSUX31L22auSpMbSaYY
4YZTzIpPz1Qm0E3zIoD2m/0QveX49D2FRrhoQpRHDoq9yiQcTI5/UyN8Fz1jbQJxihYWubE0asia
bQvZMgzqm/7msb4t8Atr0TGUDM6qbfVR7+SHEqWvorl71fRSSX2ZYjOgK5hwz7TRO4zxU0/EhUL5
FRv9BsjvNdain5AaMYnErphIYc9DCwFiutN69zCKYZ2w8SjQUhbK68Reeop43AuqyRI/hdGx1eqv
TXTKDOdiBjPOjXKr0de2oqL84DJx1HsI3m2eGCekByX8nspkHwQGMPkqez8oAmfF6qt3qhmx6H00
ljyNYzP6fUEKpgoifyDkvSCXTGsJv3NwYhEdBEul9EDMRmIVV29KuSp+XQSUHtCRqLkJNVHReob1
ulOGV/ILqQXUi3AAhDmLxmr8fPCS+Wx6VdgzUoMRErXLNSSlIce1WlhwdrB3dY2xIUr3OoUJi3te
Lj7MQf+IGcZQosDJYqiDXJKOlca4QyQniSMrFsLkWsy/C/pzZJnz9rM56i5YOCeP4Tht7GE6tTQT
ePHPoHWORkATGxUb06SzzSHs9ebZtF1mJeAiJfoC1jJHvDPctbzrxbAJ4ccjwqIehNVQGOwHJK8X
NtyQcXXMnVWRsbkeav19mCaKhzxewd5acpiPwCLNfNeU/6vSN2XqfOdN8zBn5J03Zdum7zsft+lm
GpONRVJhQNCUxA0T2sAFdJQ8gvmvaZ4DrdnSUqOUzuMvTeOHtYyjl0fvbkY8wwDwgiRRPMfwNBcV
2rgSjmKNpDjgz+NCx6WloxxKGf5Qoud7Td03iPgiMku1cFh63afC6rfPld+mP+Se0fjmj2wsUjb6
tddo0M8sDjFq2+OAzqxDFk8KO7OqBRk5IrxWPfnrtOtsU9l6q9MAVLZHNKDHH2lLTodHTgPtpaFw
ZXgci/q9oenOqAltoz8P7t22O6rw8t7E4UkrWXRyy865a0XDNxJ8iOHRBoNfYZhtNNjv4pJMBUsz
d4UtauOOmW9D7dAID3FiEEsYofLeBV2Miy5XSI9LPwsGAmWGpcctJlKuGjywy4DeP4aPUgdzYipD
cxlfIlpsfv+1ZtPmw2B18qsXXC222fnD5hFFLkiFfNceYcu8spA+4WSDcw8A1JducXBZsNazlrrr
ngOJx6Buh02h2v9Q7bkdzA8C1TfsKh/9pKw1+mu+yaYe743x0B15G0zWRw3/zdUxnxCzcF7PLD1O
/kXE26fF9leW45sTSO9jL9irrXcK2xRtEv1zuDcjtvlfvHJdwshh7Ce8I7AR3204Tyht6PLG/BJF
Ns+Rw2i47iBghKRaT6rxJ5WcMSPO675bj4H6Yli2iSbEupOjPcGJZwZeule71zj7bYnKyD16hEFE
DOCbAihXQVyo/YKhSdg6uxLTb/R+qcxhHclPXURsL8JVm3EyD8nOz1uS7aEsCNYYIw9nDPlh/teb
Agum8TOxPmCHuosKZV8yHB5MP/E4Ga2JPASFDsYmjVTF571psT6MvGp2U61K+Juc4KaXrLww3cVt
D0Ui5oVNU78aicgKuj+bsyhtzENCnAepiK8R1TYZO+ti7P4BxD4Z3OB9wFA0vhE4Breg8zWD2apI
Vth3+AZ6c1NAPmWtoK0DVUUpBZErXtMmYs90XinRuTASULhID6KK/Z6qQbIZ9fKtHjlAeLJqmfr8
KgXS1X1UimsLqDYHHdT/L1kL9i0rdnV4zzh3E41oaoFtak4lSYhuEzV2IsUmsiU5jEUKIb07A6yg
5lq2jKJykHkFsbFrL3C4Q9J9ht3Fbve2h1yTZvegWzTCJBjVdnmW3H5WxFC/qyGD5vLFTtovEccr
lahZL9b+I+rMllrXgiT6RYrQPLxakkcwxhhjeFEYgzUP1ix9fa/N6e4bcYPrAx5kaat2VVZm1hV2
hZXmwEcoiPJUcPdoV8CStcqb+E+DvjnZzhc8ifKpIyOsE3RDOMZja4PzbrrW03w7Di2N7ICxAfYe
tBsPzvQnw125SZvvZILTHZJn50hMjWkpBnHO47NcYIwZtBvmTdsKbvmlssUP+sZYaejpyuxnPYOs
VIKnO5PEofsR46NNG/Aeq87BqHUM5bECuQ+d7g+l5HV2vHq02WrAXKNihNbY5nvd6RiG9jE7KFcq
7O3tmAbzPJRvdUFbv0MtUJRv+Ks8z6of2rJf49/S0JEYGMMeC2hHNXAiP2ohVhRCFx8C1OF0wugk
ZPESLqyDVTLpJl4V5OFlguYLita8o6nuk37Svixc4M6cwmFYOwrUICtrZkiXjLiwzw6uPFVmQnOm
0yqte/MrTHIfjXJVVH6oZCudHirt/3UJTaHqpeUcGevcYOwbkziK5JPehaD9RgVSwmqE3dQzuYi5
qMX81PXSw2tNdbeEOe8tQ2zCiFFKg9FT0cTFdjAMrllD8zHPJEraFBunEf/MnLmef38jPFLJ/D38
++H8xjSZt5PZAkpkKp639oRFgarkxRYbUKyxCustmmb8fKRHwTBoHv33T+vxOKo0ogeFNksqnvB3
FH9PhWefQcDfBKVZUjQ6L3SOqWrFIel1W27TzGaAqPgnTroiDuUcV/nMIAiar3/vUKZMeZsw44Wt
3D22fZP974+wVZ40RWF2WzUIFbxk8gdZZQCwSjPn77V/x/H347/Dyq0QVXDpeIz36XoozZI8fVNb
HOQZVv9kU/D8Ow//vW7UJIdpx+Euj20EvYw8TVGmen0cvFQtqC5dC2li+os0TMxM1iVtKSfMOB3g
3FTierRj4Y3RR1zSKxN3i2HPJc6957nFH6PNbcC/B+T2uaOZrY178X4kgZwh8SOTaGpk0FmStJ7p
yYI81HpsrenRIchx4kNkMNOwFmIfpw4xyFCeYj0g25eMtSpOcQBPsWjVZJMkJD2D1O3/zvffj1QD
P0lxN0DhQkFliGOZ7bjaovxEw5jep2REGBMZvQoIqX7q/38J8O+1vdBZ1NuONj6c5Lra/r3y70rb
LQywKfpqtJpeWjxu0wdDsQuGEWeStvnvzORRZvqdZnwMZZop/t/FLRR2gFzDubD0koH9JBvqcfsw
cyZtdghMbTtm8f69x9+PomcSp+IQu/7+yZQfGxBXnPy/H2bPAIDENoaFngQmVz3H+WaMQX915zoU
c7OVbKvZ/j3KxVdB6a88ssgPK3NmLwYsdJD62wBzCvX3v7vGNmm1j8wUQsTL9UWrl032v+8FHet/
P/nv48u5Q+rn1Msqlv/vsA3bApxLycv/7qShqJ/yYGaidyemiYbRRnbKN3hU+TbWGGaQV8Stvzcb
9V2UPdY65A1QKIzs4MDs5SF/pcyC4G4eZU5lKhPa/vv+UvyGtOJUJZ3itzWhosdAKA8hAHDnQS89
y5O6ZMoKIwrGFVHgzS6BtR89HlNxCkBjBZDoeqGzVkCmNR4w+3pd1DD9/sJFYuTT0l3Uu3oXrHGh
gA1Ak34ZrpCcQg+iOOg39Tpcje6nubjRORyVw6T5Y4WZSWgmy6IHl0vaF3lAa2EMweRljI9fBS8z
1Jx8ZUpLbAVwSbBDH7sAzAYZkjZbnsVcbehx9RK+ia14WMY9LsyKLUOfvjqjesU0Ooqc2nvYK2zX
GDOClZTduuAN2BwyeU8FJKTRyFRxZpfpWA7At2X8g6dZLnLqCCIV43kjFwE74/oaNKfUd81nedO+
elcGbMlJRFwDVyxfjbFLZB6vLU0d5JPk3IfwCKl/+8nv79GZ7yWYcPRrsBIFQ8ggYLoZbWBybE24
NUrMyVEBarGwccvchVmn9wv8TQx2f0/8jl0NZJ6ayYT8CxMBaoELjpL/TMj9QUbAUH4wOEOQbiBb
xEfMtSiVFsyqiEwgOjyI3PHKhKunYvTU1te4o6GlFwDfnhwxAcivsEtwCIcMHfHwQ4NMhEYc8IM4
8oSjBAkblu/XEPWcyMc3UAo4fhz8ktlVOEeDx7kO44VEfY71A/Pf6AiTkbkMKqvJNGH+0gipffCJ
FJYo3sxeUrbeeA4w84IiCg9BfBwCbD7Huo9nJgoMABsMHvxsr6SOxrQocAkDoXdh/MU/zh06W3sV
+oR8iaqQyhnTJVQQTJulKRi7OIzXV04d7lCS5Un34URKBKuj+UGJFEhe/+WgOkCkhUk1Tl6hS1cA
cqLzC2r6sJ6ZiyJa0dQpxAPwH8+AZPuLplJjluBXeNGhPm0flcegXLhfr/2X8jzuaWwmu2EzXgcc
QNdwjOFpq8uWQYZufCrOxZUimUKILxDc6qt9K088gQMtjsY9oX5hCJ04C6qgni1qfIhyNzxEx/le
nvhXif7AWWQPN7tyUVkJrIf6KppTs9uf6QpNiMQX+s34Um9jvZjvDK5/qOJlPGc+V/v4wIJraRdg
Cyl+hwGFjT0VxVDnktzSQa6OPJvD4zhE+wNqJS5cV/Ia/hxhCYj8dKZ3vHDuBbha6+O1j57syivs
C2/IC+orI1qq7on3lmzmp3BkOK5ciyMsQ2qrBJrt1WGy6SI+cHH4plx+Dp6LPnFUNBDcvX3jxenJ
hJ+ULfQLVKH+qt35n37hA8IfSqtc/JXFEv7EP+154HtywkdY5S5lICdBtjd1S3v4wCJNabcw82Ty
eYBDLmxaBHDYHFI/G/CzxG0Kyped1UysZAsvJsLOF2qEQMHPkqLNJfYQKMat8RWRHzgL+y07a688
o7rHTzT2mkt2NpFswFn2zRf7Ld5MN/ONO56QgiW8OOl8X0j3T3A61ZONzf8xdxYTsCuKaljuu1jC
vM6t6f0ipuXMfrJRJPcU7n6xlQ/JN74mGAa8W0f7oG/IUBOasrI7fUoGaic8I/g3kLPDVD04YyU6
Yg3vqmKw73KAdz668p0lU4U/GsSCBtZuUywxURJjH3WEPtB29irVW31dFh2zZSmfV4yqgxzj3Gqf
dgyC5iOTkV75EshLSM9w4PhFCUIrVYIEKSQnwI4QGxePzOU7UxcYz+wfG0zy6UpxACyuBRNqYFtC
UltMpwLfzF8ACP4REMB6d5iXGj69wDC0pxrPGol6MCoWGlfu4ToPgASXq4sdGqvGTzqNmYfWb9SO
6V7FjsYu071Sx8DvQ8TZ5gDrIf1IG8DIvB1+nA7QYfZZONTXrJyuw2KZLouv5IiOqARcygUoy1gR
YbgsBGkMNCBUY0SEkq14EeYJzIqiTU6d3YMJuTqi5glZjR82Yhx3ZG4NuuwAfuHcouNPlGX400wt
NhMN2j4taxDkzfbRb+BPcy/GBwJyt7Hu9qU/E7zR7T3hI7TBm/1iXlqionUPfwjsLBwRIu7JUa69
4KbchUuolx70G7jCodpzV0BXFAzeZikiXbqpeHzlBoLqis0LkzpBcFw2oEeN0olZAWInYmewvoZL
cna+4gjClau9Mqk6MS4M1x7wvEDKML8m5+ycbsir2ZbmZENbzKwvmEu1kwdEDStqApqM5XobM7Rm
9Ybb6LrtEOotsKYImZrEPGQueurhNgBoZsCjkddt4efKgbuewRhfZYdK+q1+Rxg7wW2VPHjVFtxO
+heuNRJlewoAUrGRMdwA+Ph0riQAClRJTLbFJw7xLWSHs3ImqiN0LEUswug78vRl/jm8BGC1QFwv
wUfzMr8r71j/A78Xi+4FLl/DRoZ7IUOIerqFBOD6WqC4FyHRvMxn5sri2Ea44wtBM91B5O1ORPc+
hAGROSXCc0TsXnvkD/hb/mhnaaucm5PB61Ss8IujeRsMn5iGQ9wxPXEWhZPfmdsh3xhQS32ijnrT
b+GJeETiysYQXcdpod5sfMdeaLYt2fyZ2k1UaUlY3oq7hPQFjeDNhPbNoCIaFS+1ozebCEbiygno
L9cMCus7E3rnFK1tvcSEoO8fe+xjaMVXuIFQZI26fdDyrkJSMjOMx2YMoDrDVSrb5tusKbRaW05c
TesGpmtjRc+IKnoym86kswdlEtptH3YMNzbWSqPPKzviljAMS4fqhUWKYti7kk9n8zKrJXUL9hfP
3dqCnlu6jHaDXA1QgXdESlN0XKAfYob41l4PGxX6Z7/q3xF0AeJVXp96zE+x8chGbqq68Q3n1r65
MjsAvrdjLq5y9tjTzyMD1781SEMf2SuwaAwB8pu9WUVo7Y8lRSBNL/RgixmqDXHztf8d3zF4yF5l
XPyYHERxPf82b3xWNS5Mclt2/9Tt33mP9t38hpaB/SkLEcQSexLjl1zh8da/zr8Mj6t7r/2af3N7
EcTL4Du8tF9MQDI/chZ18qV/QGL8jkkiQPMhwciL4SN84/2HD+1Qv3OS+tBtf5FHMpkN9wxoi1jg
c0o4iupZ+gwYbDJ7SJdKnNpBUX9BQ1tOvQ3PGEIxcj90BBiTiANM0kX9G32hWiBp4Rk00Qa+ANQJ
kFEbAhwNXMy9uSyujNff78Q0Yy5yRb/X+YB1T24Hg01miCpkTTjGkEwW/UXeArR9QX7mfiVRQnbO
hsnfuFmZcIu84tM59VSsWAUhXTzVcPJkN/3Awbbg1DIl87dkmt+HdNIE4cZLful1BUdAcQFXMsdh
WDBFgomTCJ1YgYmOhwmvyd4VZYnPyS9PgSBVIpyqfDv8e8rzTJvqV0W4hxs1H2kkHv2NDuGP5Mof
7S/Xun4fQViYHvnNYmtNiuYFN4KJTxhq2MFP8BeZVg3Cl9SLjU1orrRhg1ycs8lqekhuis379JQN
PldFpV+c7hBTCz9nTl3qJvSWK68DXv0KdhL4a8bsvYWYDITvEVryHkE7pqYLJv2we+nWC87r2lU+
xfMuqSELLKB3x9gEkFmZIl0laUrMJREoOZKKpT/xIdunhAymZ6J/ItMiBSqyNbnujLUC2eNmduaf
MPtyqgeBQ4UVmKQG6pwh1JGSj/TakvptYBKfQwFFzYMajlybTMfAgcUdLhOpYA0PcMtmQGyRvvrH
qPp2pv02jC/Ob+CohFNIa+wpHF9UeI8OZe8SVSsZqmpvbM0drHXZgYYfCAxJs5Q7dD+e2G7OHGF+
qK+UKGRq5LAkqTzQqEfupAn9XZ7YqsUfSBJnADanWs4d1V403PPaxiN/adx7Mv9YPId0DyiH0ulC
RsZB8xBdT3RF6sOsTwxRSTH5XpGLVRrldd6tqJHA4qbGr4FwdPFznrC19qhDmA2JczJ8zOpOhA1r
jy2+mjhvHg1HMhdoXPrDk2+xukBAiuGDxexn3h0Bs7CsfaoDX1SBXtAb66yWmCOaQr1CUXaTXzrI
g2/RmQm7NSkppwCavyJ+OvqSN4Bm+VpRglBZTi8k9Z2gz3KoHDn1GQcv8MMaIiLkHQ9Ynt2X4+SS
SV/RlUJWGoX0iNSRB7jyoI6ZhPaJBHHAXcQQn8UfMa91xGwAqhlICNCCFpSszF9k9yBrkx+e+lbe
SCdjhWmWZJi08lVIcpi5/vAPrK1BM0VK2nBvootisf4k3/mT/ZBhiL2EjsmujkaD4eg3k1wwgIDm
BsBGjlYdHmNkbJQUvRgWZtBx4kOnwZ5NSqt/ikc6iglhMKlxk4stPqSzkOoqNHKKpz61mPcuO19t
0/88dOmem5Xq2YO0e1iT7BnWaOJggxWDFigrfUYXmNa9tE4NehM9SG0X5hvlAXDVRnA5O7NkdXak
gAr9RB/u9E0ukmRbJackpnsgWWjUDCMkhU2J1INCJvCwRkYSo4xR824/SlXva4n+3cfwOWTUqwYt
w0oPl0NEu6401HWdSI6rxDDth6qDM8t8x7lzCh9PAimyISXXOgNGZzFyB3pYnKEleszklnXA8Lvp
wSLJZqzZHy2ATVrM2EMuOOjE3FFIUCNAiKJWEatCh+03H+j2dTacdYcBAUnmqDsp5aPbhG60MZOZ
KR38DimF4JSfofp9tGCHGyv4wAWKIR04Pi8C5iw2FeuoCPTakyXtNf4zUpjxopExRqc1iO2EQaIb
kXiVY0/53CbOE/TyozMwpkEG92YuB/l4/aWNsMYCmFn00JUXA29BvTHgLDAkzs/M2YFnEAzLeYKM
FXEFopkUxwRStgbrFCpCU/WYd20iTHNzhkiORnZhzc1YAF9FVIAFB/Xkzv9BsORwV+8jZghOwHW7
iAK73JXtRUAszVpHsDL5jOJgLokzrwccJLsVzHrtTkhNoxU5Jp3DjtsKL1U8msfd06joiGLr82hB
tDZv/IrqiVBNARd5yuSbOrZqPvgS0ucB50dKhmSdCvcspt52IKy4SBbLofNhLR0MbHit+lYQXQYt
LlaTtNbsiCMKyE5RsKHii6Rtjxn5rD1g3kwBljdm7kmhMn2omzSfOzyiDcOPTdz1uok2co/eBUnm
Ik5J1cZQvyt2Sz8AQxcpVYsdy5FLxfTJoMFWIGuhTUO8TSzl0ukzJRNMRM8JZyymIcXkAeB2NoDq
zjB5VX3YNA7icanOT9n8sq/Rr1NoLinhqfDNccfEHsAVLgGwjyihbTcU6TQbE3o+an4TLOZO2xQA
gvgFeEaVir2XgekIWy3m8+EWkwLN7rfKCA5V6oxzt2K8vUBqivCapyRVCW6XdSO3Xq1CcJ9o1Bqp
jWbUhiGOem7RY5a9ydvEghHIrS2Pu7D8VKGZd1yT9gGoKM8dwpMZ589YWkVRyCyM6KevEb6bD2ef
H7gNi3JVhvuZ9hJaFGhFVwVZdor6ePcIXjRzR/XEXmEH28C4EXHRSLGtME6LaD1Itj8h6J0eE4HR
NN5naHMI6R5+lkbkTnb38lDrj6ZxGiYIW8uaijLyRVeQCswWhSSTY4z5JT1NyXvQ+GAPDriYQUPM
Z8U2FHDJkwpp2NmP5i4keRvZFZi9itAqfMbHOqi4eM2HpJv0xNXTWCtMDAfTE4GdQjubIOxt1PK5
t5ZYTdbdEn/bR/ti0R0gSUo8uNWtMYzPxjhRz/ukBHBxM/RFzraHkCIhYFrNHVZhbVY+wa56N03j
2A2QfKsMsC1EJEe9GY6EcCPE595u0hGmgvHaM/tBZyqMFuFkN8g4fuiWhrdszE470Ag3DJ3d9CqH
wdaoUITEVeU1T7wlCJT0ypphXDR5Q31uz9yX1dXa6hdoQWzv9OGAZSp1Ow8e+2F9R8wC0hdhAQP3
awtEyKhv/VM6jtlz/G4iftHKOd4MUnyqq2E5SpLhV2MZLs0eJ46MU47GEr8C4JyAjhjsTKbhkbib
eRuvBtl67wOme+smYvah66/xQw3Xo1K/FxksS6S+nYHAaB6Hq24dElMFwGjR+OLvtMOtASCKwRUo
WvQNJFzmIPzNIe+4SSoGfxBHesm3G5+ynWUFqgt6pOSsIAok0mW43EuyFgLxcCPQAxZoXwad6aWp
MhzRzRF2j0e8pRssVFt7F8mwwR/DupZAVBoZ+V0hTxsjH5ePGp3Lgx2C6KlsdAPnekW3V30x/FqK
+cKAznByYKNgoY5YrDlXSl2yPGwGhTP5owOYtmvLx0ALxBEk/cI4s61iY0aBoK/ZZUrHFdMP3H+g
Xrr0VsvdGt4EKxOA00RtOOOwSWU2HidFxrySXKlToGI9bI0pO4/U3JS65Ev0VKhqzpn5HiGzhVGI
G26t+XQ0oldb2DYyqsfARDyCych8ZmwiCnVgVH1Nh9ph/8B4LnkdTcNYBzW3UISljC5NLTwNEH3F
7hfHWpWLnRQyVqlIj+AGaCFEsgznla4+eYxL5MSsneDBb0jqFB27Rq+/Q+JSL+YNzg/AKtFt37M7
n5O9egFhAqPszySh4CpnGQ3S/+H0FOjcG+LXVwVoBgSenYpgyVUnySX55SfVcfjzYO7FGX8mSn2Q
Jv1SPplv5OHSK78Y73A0QOURxiyUu9jw8NMkEfzLbW17xTNv5LbBW6mKZJoD/3kwm4A347BJ46Ph
PdqT9pK7i34IhtR8YuTTBuE4uc0AlcB7GLUEFNSfu6f5nKydLRCBuaTfBBpB9sVhJNfpkhlLsAfR
3aDnxz6NKst30i2IPrBAeQo/ycoBzxlKirsYoDKZKlsdiThQbSzSV5/zzb7J2+E7wy85ULosnFue
A75EbZE+hRunXUq/8wpcMLuTcX8QZoGgAEW5Tnw0xyxAudfgDdQUJfDN+nLekUFI19HZoYySEWBQ
R1K4I6XFUjNflLfpBwhS+pXfovt4DJ7sAzuQmLVD1amtjSMGSsxjQuQm2QJ27PUZd0AmM5855ySu
Wz4V6Bf6PtR99F+EJpHnE364cDAd1XEHOSw0j+LEO/hq+KQf/BSD6IylMGoymMG8E/T/v9ucd+Wc
gdWwxvo7KQlXVb38VTFpwGLhhLB0iASsTR5LX/RJaFX1pOAO6euC7IKWk62ISoO3oF3FmaMC4KZn
sUZsXnCEkRCwKl6mC3UAtsq0rXPt1dGHQ0YJatTVJ4TyU/2NmZGRAryu+2A3QBSSFsa+/kDplj+Y
d7Ggs4k9hES9DObBKZXwBhXbdwLlgjj/3TzzDG3XMFKoXypYkyAlRFhAWS7Rh4NkSmdF/DMlt3sJ
WrJ0kF53/Mhe8nfpmKN1IOmFgoNZHSB1Bawqnh0h7U99/VEj5s5Ie7nBzGh8x7V31UOVeVGU4gK7
9ofHlmePgE+wRCXaYUikYVG99GFibaopfCnQgzKInu0An69FVkh0xuAXqWb3VDC1M8w5Xt7RtTEx
6sNNECR4mQmmGZwgBs0OkfnaVlvN0N4HFUB5gP0Kt4jmoF1Bo50qoLzS3gwNWINHWcipBoTHf+sD
dyEEKk64jk+pKu4G6QsgzsGFv3oWYR2Pbby6wbwnVza/pfKMAInmozK5jbBE7uTzLPvsLc3SwtVv
V9DmlmVpPfQqN2QLJTKV3XbfbfrreH3Q7KYwe8LOhXlyDjvLHuot4cW6U1TTtqE6prkl+ic/YQsR
1qd9Qy+QPxp3uVuRz4pmmLPiGY+TM/v18V8ax21G1anfZHajV8IGa+kuX7j/zM5V7uYl/GlpshDN
1GYtcIl4gQsYcCZzl+JPwokNMCmCI63CB3cAv4DhLDYz3pBYErw5z8WZrZy7hT8ONoPOXO4zgAbO
GUUP9egCfcQBs8VjlzQ3Ez2Na0Y/Y18EiN5ln1TBuFfX8LPeJ/vHCVDm5Lw+nvjIwk9f9Bu4KVnD
4O1RtdM8omvJwPO7fiOkJbNPQ2hZu0DrLlineNkSQM8lYjBznhBlbRGEuvIyEL01/aJfMqwQl/Xe
oC/BKIu/zhWSo0V0xPJ+k54Ija/a1iDiFiw3l2v+16xtOzafNG5Ok0KQbdf1ZNs7qx+eTUeq6Ns3
z0T32PDpJvTJBh8hIgvcOqrzVMMMBTHqorsEL/SrskL43BCvaWcENd5U2HTRkABJo6+cHK1sO0fP
DmUFIYGxAYXf49tBd8ta5Br432Lyer9bokw90lffztvgbbpB6AbkuBGAuAL/yhj1gvzFew92nMbp
In2pbw4j7Rqf8EOvi5DERjOQArNkQHZtj2tMiOtCQDGvsoGLeJvpEpAtU2iRLXMe8DwUCwxzUeId
2bTAtWeXbmGOguCvQc1qAWqq8rcRLST7JBefVzB0g+qWBu0f6EWTm7YELxTTaPBQYqHXbn8EPOM2
pElYHHmqdFftNT3QzvnGCAKjlqHbyqn5SXMghZ+eLKVhrefPIc4ywK4CFPWVX0A6GbYesY4KHYey
YTk0lLZPQfqCUmTYgTR23xn10JqPh792tB4L7R0an0YKg7xrXMy/BA2cb0tIJaH7eHtgPIRDwIf6
XQESgoy9W8nC+LSPj+/s+WdYM3T9w6y5U/CbWeh7hyTmF49pxMfJO1nk4Ov9IWSoTvOeTr+OiS/i
Hp/fCMoIcy1jV5iOtGeHxGjcY6ZRl8SKH3OXEV5jHAlAaZEnra0MXiJezSBFL6iUGh5Ee0fFeV5l
aGXhhrQQITYtCkonmyZmmmMbZu1YQhYQF/C8/Gy9kjd0405tt2q3ohXTKIfxcUjDAy2a9qtB06sc
+f6lh8bfs7bBzbw4W823gNiTZRU8zdOrrBxTLiiN8oRJwUDRCFvwuAqZ9IqUFcEp7ZBKdpsOsH6B
812f+Qz1Qjwj3YlIzCXAtkc+6RIeVbR0gN5H8Pj+neoQ245YJeIsOJh//Z4xXwNIUA4KG2HZQ7zA
08DxuR6A++q3YhJevMFZqsaLWa6d4ZlLyKCe9AYAhM6yOQUXVpF5qa4JPXTDWNLuA2TvF58kXflJ
5fuRFrH+CaosVIoUwigPuC0hfSKIohcZwTMRycwcIYTj/hDrHlynmZbs5uJuh0yggG5vMOQglSAa
8mRuL1UXSAK7CZs9aCM3DAgkf6UTx21HxkZoYM+AdxKMS6rEV+MZGIgkoA18EEe6zLTlINNgHn2f
yS4w/KTzcKFq+IdXQkwJUTYNgB+iG6wfdAwB2J5pCiDdZimXLtt8TfsDzzIc9NzI7osnjatCCUBP
SVO3BkaODBpS3OmWB7obFtPbFHOx8UL/nuOYohxbHlIPdW39OD84A8EUk05puxhZmfBDvzH4BYXn
FzJM5TWQK1AYxkCkbRjtKEtd8cH/w345Jx6OJVBZ45jRCJ7Tr5uAMpItFFuoxfBNtwQBNymVU15T
46WrIMfLlxpMlTZDCPIvVgUJCx2K2cNvJ/pqf8HraZWwGiZr+1B90HwMUoqv9AZOP7BMOAN8cVRo
pDi0YOAqMSWAT+HnL2uEvGl6w8PlEN9Yq7hYtHvnPF+dO1SGbD+ewej72UdSy3A0jNrOtJ/RCVh3
wjOpf3tlpBA8G2WlXrTJp9QDc2Z5zLlPMd945GwkAyR9VLjkyCyZoF1R/sn1OnhgW+A3w85+C1BG
ijaz+cZlJ6kDha4CP2RFiHEILpsFdXDBnWhBu/oJladqeMJ4vwV3xS0ZihXtZsakzyqdPyixbLbI
ETUvAQwl9CADjckgVZurlkUIqHzy9PFOyUL9TQ7cLKGUkEoQg0F72IbgagQ3YCGKIG4PSjyWP/sS
NPWmW0E1+fveYeORHdCh7xk1wNwTkw9AT4PDAcZay7bHsovJLs8OtjGpa6R+h+oWhjS8TMPjmsS0
lZ6bGOr3qH6Z+IknTvRWY3yN5FuGN+QCKre0eFqPUbtSC9izQy4Z0oZhuCXiotlTgDlwPyjpaqCn
8MZ+k6S+8fcnZl/TaFTIeqHbMJ5codkj+l4S/YxfonGBC+CLtTE2E05MOEMwdZXaAoCUrhNuEMjz
Ow8VR0tOq+6ydDWraCi9HDmujkfhUyd7meOLhiAbD+hxI9P/dw3G8OxnP9qx3ZRIl+gvY4uKs3vo
4gisjbTcPHs5z+9s3bQtlaDwQu2o4+RWLZI1aRYxsZB9XHmlET6d35ufeoBTwoLGESz+uWHVrrg7
SQVl8FrdZaOGG8Y8Sz13HycaNRZ6G4zUmCCAKqJZ01cCgCPpUwQLgEYTDWms2PITmzAVCa0VOjLx
D00lNunwx3mNjryQUomV356pbkg5WNXs2BeqOupjQU9QBTeHdC5ufbLITN6Q1CFqISVga+nvkAgI
glmyIdKBDdKl4WYg06AGp6rDAL+7yDRfLHocLjnKA8cQDLVwFcnRirkRaE/tDp9k81s42EZNTZLp
dC9yg7pZktJtqas+KAlvxD1FG0b6daoVY4yT7yrzOoNxe0lE36W4cqx8g/ikvIoDvOFkZK9FTgEQ
orsktJxvTn2DwRkSVzbI2OUscmpHwEL4cLTYaI89AE19Uq7kKCr+8+OJKjxfcl6RY5LDcIuQrjSc
SorvxmuzNSaSBAcNzdss0jP4ZTy5t0FjXcNxIT9wQeJimZJxop9T6JzDPFigCeDJyeRBauAQsJ9i
fWDdXiKsOrbX+Cc7lqfmlOIldGc74qKRzMaLxydrYnqLbwLgrVy+RQQuyAy7Ch8sbC/WPG7+3svu
V1Pj2fpTg37cgVNB4TZj0qaiLsLRFTvJPFnmMoiayx3MVou7MDfoY1hyuvXv+rdNfbgctuqTSyRY
gzTuoAJnLfVvs9wM5gqGKLG1stG0QXITDWmCM23TIto+jJdcFS3UOt0Z+pvSvSBEZSjhc5y/EqvF
k9QdXfEsJegvi/SMRyx3Y6j6BQz1llFrWDH4mkIejfgD5whc7S6JU7zX5ZNk+VbrQYJl7TPkRvgu
YxGAoxtZApw4L2cQDklyw/TkhXbodtYPnTqctqWD82PuUfIXrnZ4VH7xPnxIP9F79ks0IAgMHybA
5+Cy0/Gv8jt8a3b2XvukK837Je/dTjo5P9CIycjUwDWPBm9L1/3xEb1bWDvApMILDtnaM//nHeBZ
lRSOFCGPRfLVyeJk0Y2Wd1m1ZLNiZyJ1Gk2UkhuiYzSyN/glRkkjZCeRWJXtB4M/6nnVmas0ERcF
VE9cLC5T9jLHaxaOcR6eyJgRu4Yu1AKoAMQk0jH7o/6C0EAQbmzRuh4Jv0zsYKK0gnnvIryhxIR6
8StsfxEOdEj7XRgeGgqbt39EBC4ub4CXPhaeCpAA+MEX/rW8TrYXhHLSMfgLbKw2fqA7NltCH6ZT
xEO7XZCSa6k/VB4b9TvvB0uh/jW1d86OdQhf5A/elxSZc0NjXwrXyVf6hlEgQZpIPHxz8qwD7IAP
VFjSoX3udoU4p9Eo+B3Dd/FeKi7RnjkLH4/vlG4H0swTNARsv0gPuepwTOjNawvTovMk+AX5R/rG
i3hjLrAOl+g75mksJMw6ElxUPRKRDHN0BzSqHEU+YmprJTk4Cd2KpW7QDcLDCLJB7hXvFZ2GLwSp
tGmxOqLVB+AwupNDteY1M8Pm1p2zivDAmAGofdi09OcCJuRpn6TeQES6CMfwtOiWQ7cs8S9E43qz
saDAJdvDplpICczpQ8ctGdZStgc4Xhnb7kmgjgSoO0cRTEsisYwmiO47ZfcdU0/iHW2xkbZXuCJx
rUToAtGE0DvqmEit/nXvCePM+smKfVTjyyda6FAxBeApEL0C0gS5KqgWvydvIcOlS0KqW5zVm/Na
nYFPT9m1fPrDI0ljyxOTQDDRlZYUF+B+8WG+kwFDNKATjSLsCxvH6Qt2LrqbdOEHl/RHQBMHjIYB
5Qov19gPkc1QIDTBKsKzQmlQD0LoXKkwkPGpgP4Hqo+RIyNSqA1B0COsV3zrPMI2bWEKgKAnS0bV
SKlPPjhSrfC48/Rd9cpIg0BweCIKH5UA6FG4kO9ZvwYbM+OOSKmRPgIV4JFLywJz1t/5WcOcn9qE
5+EZwq2YF0gZlyrCtNRTcEFMPe5boiTzsLi/IApb6jLJDqx8qCHJuLZSX0tX8sM3iIy/mMHTv4XT
wxIpvmpuMFIH8upKZEgUmjZTPeEtwSjh2H9Tgoztz6j9KHJGF2cUIjXfh28FyYkKy0hX428Ns4V7
j/lpjCqJxF3OkcJqirKV+LKPJTenTXFGVIeczFd9D76FZVMrCjSq54imOmOKqc1Mhsq73QErPjIJ
E+jaQY0pdkqyBpZVA1WctQk0E75mjuCl80tx4faVuoJnPVHbAxdj6nkAJRItRO1OV+WHzEO/AAVh
lAGsSpsajggginkDBiDhpMAipaD0H3gldHf+wkK0POoz3pyWIUJUwWoWrmjBIqHyFU1J5x5cSGK4
S8SGKLAGNstN/EMdnK/g0XM//APTBVYNEe9GHmK8ghzx9qEHdePhAe2ZDy99Ul7h9gNeISQFlWY4
7BA/OX8Mz9Kh6nbpaZCfv0X0BHgzfKeFFgF6NqnBX6OhEE0EUh4+IXhrJ2b4+nwiUDxUPg6W1yQC
+cX1AnQt3VJ80xEIAPhxn559wHpCQCM9Y/lGUg6QTILG66nUSWDAj+LqBecJYfoJLkLj4rW9A7rQ
3eZsgJzkB3AdkEjoOUdtC3BzZFgLQgFOOG/NSawKWrFuYTFWzzUamLVYO2Mk6GXAC8qGC9maS4bI
w0UKqpc43IM6prGPRxCNc9NBA7Iq4eKBpeWYlIlLzqeZkefcJ6ikFEgNLB9arDxDpERcyUMn7+Hv
QvJkUTxwsKQpoSKPgqPj06qB507/WCCS+q26jgyXODHc8UZDu7/KePNwsUjDqMAxAr+wdsIflheX
EyiL9+NL02Tl20IdYl2UMr6comRnWXE1bIznqL9ifHqIx0DCGC4DdYqgyAPQEYq5E+siRWPwt+YA
PkjurDulvx2uWOeQjek+QwWpjmCv0p2vZ98AvIhu9k2+lMZxBEK50SNBtUHEBO+vQDyZTsiXv7Cs
QcpEWXejlwuVR6xzxfsfqs5rt3UsyrY/1ASYw6skiso5WH4hHHSYc+bX30F3PdwGqgTbx5Ilcoe1
55qBbjVHfRosAykPNge9+h/5cCAE8tSDABul6QK8yLES8JGPzSE0WPNrVTx/omLxGZj/Yrqm1MkR
PktT1cu6/BTu1t5/yNO4Mlio4Ejg+kYz7sZaQj5oo0xEILCKmgJeSXChcYGZCo6efp8K8N84jnUG
SfPyq8jaV7SDG4iXNrIblv4vPhhjjnfDFgGEke3QUPIZzuOBHvTkQ1tMBTwwxVTgP5gR0HY2fMsb
46nARQrFhA2FnxfcsX8wdHmlVPzDgmEgQyOhLwdexYuSGASnraRIpxP3O+lHeM2CSHZb/6HxxOm6
+EAnw2mCq8tl5P1wA4BL+KH4wzzmX0pebWqJgI9wN/gZqAnXfYLiz9qZS6ReOXbw7niOhHMhi9Jx
+IFB+weiNB/lPxl6ceLwp3km+Ez8Nf0lli1Wqb+VAfKU9jkZQX+C217jLxjRO5p5/CMXjI/B15x0
eO3aWJBRMOkrkl34YB+kzYTq4SH+dB+g31yJnl5/OZ3R2oeH/50HABWcGF/0If+g2ROtMe0TqhYn
e5o/PAloAJCW1hBvh7fYstXTe5nxCT7iL/canCJQauAlLhBDDWkDPrXTFbVmIe0NHxejqaWeP1gz
rTPPOLKfM6ge4z9esKMiGJZ8wTN419QJpPmc2bTxAH2Y124p/vCG5GPzAzjBH+Y3EUgEN15R/cmm
kcp1QpE1vbeJcY80bgbJjSbmdOvYFrg3Fa63U+NwDEtiltkFS9j8ApT5aZYy1djRp5Pym2KYepBS
1Mca4x7AmHx0rEgckC+BsGeFnFpwYGIsCF8ydk5ogrzf8O+8xhYwrU3cWdBnVgjo7buMtJ0Fexm5
F3lmc1aDx43ivNsVN+Cb/sGS5hIPOc9+qQaAloIP44tDk8CyhM+CCvXA5sDG8zLCulzWAPVn6hcz
r2k6IHumw6rZ7Ikc8noY8v6hfrADckDjcOhf3B8O1Ax2ZjzX3al28QEDi6YnDVGbSIj5oJHAG3ME
FZ45xjN6Dz1KjIfkVFhoWrSyxvq7P9cGE8jkGbgPRdgJewsNjsJMHVnylCaMKUYo0rw83esxeegy
9qS9UrWHgAgKbnfL2aehRzy6sutgDQS76Dv1qnBeevo6iQd1o+uthVuFWRwjDAHw4G7U2ygS1lbz
WpvGt3wuaPH2pUrftZU56dppTmoqOfayS3sKNy1aKxD0lhFWtATRoaJzkW0DLdbappSIXEwbUlLJ
K5sSjD333JSWuW0zuKKmFVVfsVA5lukLj0TrnLzmkBf0XXutMIU8Qg5b57JJNlcsMUuUYC+BA2du
AH6XtRiGumL1zsfxQwrV4uVJFRoyweNqyxgWSAoxB38PyM/FlWygodHp4lhhQhJyIst39Kgch9Va
WOdBqNyzPPvvW9Sl7basfNDXbICY7YXiXtDV9gmSGAw67lp97+1xYUO6GDHwPFEc12mFia/pWxYn
f0NAgM23A2aWZ5xe8znMOWy0p5/l04NVUYjmZqgs/37291CLRbQwiyr6/342JtawGCNoaX9P+/u9
MikA1eHdSmUsQv7xtWsVhRMy1X5LaK/LuaoN674sBlIEau2q6IEBYuF/lVILRh0X3TFxxe7495XV
py9ulYjC4//8vMn1jdUmNdGYBor0NHw0DVxarLDY83w9eJQNGG5KHO1Kmv61CjpItZpYYgVlTOBm
g7TTUPxDprrEXAil8/ddT/5ib7rCXQ7gp4+YHmA8bUCMjYvPXA3cVxc06AE1xdzAqyOttauXWAi5
r16QqqVXQuP7+zVc07qgBARJfGNleYVugxcBSbieO9fqItoRlXFPCzoFg1bka0tCy+dlcs86kKnX
RgWCH8JU+zS66IBJQPBIC2jkhox2e7opmmsJp7+HoE5UdJIwKxvi/drOqK5a6ntX6v2/b3Qxra95
brETWdSwSo1KusoMdYvvf7ztPHIVmijHf0MgzoickLMmBeqqMKTi7hXqA5+N4VBN3wWYTaOzNKXd
3z+OocgqWeLJNOq9uqoTL1gb5A4QYyqa27jsWycVzehYYAFgG62qX8oYSDioJPcRNBiyNQHeqVEg
nwxL7y9pzJipTXQ1mZvrKLzIUoCQ+supICt6zmq6sc3rtPtRIJUbYVt8St5Qk9eoFE+gYxBzXGzo
d0LIGYvcOtehid7VsNpjU0TGkgUo22uKXq9A4ZKtohdInyWjWLtCH+3GCKavUIB7uF1nnGsrMs4d
fpKqluerNmXKF6XRPrIAS5mgMV5WWxpLw5QH5+/blEAqPKjjTdKQ1WaNcnVpogFcIpbDzd+3keVb
TjO0v5lfPr0YH3tRUVBlZALMybiXbrGPSbngdeg+3Z7WEONFSkVWkOQoo+m/iUSn8oarf56huNvR
UwcHef/F1fkuKBtcXOscNm5UlQdjekh0MtxGExAsNWS2mOlnegdYOfv7lyRWtqpfhl/knzitlg+Y
lFQltFKl37WtEu7i3q5rDFkTaYR40KZnOTbJn8qTAmR3+jLo/GOZgxpi50awcJGffb99Z5offRoW
vBAtVgR8zvGBwTAgIzhDvtOUJqqoKEjPhT+xx35BW2dleIobHKJgZue4XefDAecrD7M0F7ZJYKX4
qBHTUWRkdXpNUF79wNOgf+cDK1vgNlh1iT4moS2Kjc7Kv+E5f8mBVJ9khQPSEA9UlEUJc5KY3pNp
nZMywz9reuiVUFu7JgfzKmzBP7ES+HuQe/wBxOnBrBh8zFlo0/pygFxxwBswdXDwafeuoIg0nw1z
F3rB1Yg8dz3Eprir+EBbc0KSUkvcYwrlbpIYM58MqjGpYynUVsjdVFjeeHdRf+OSpsu9b7dtEBx7
AsHFQhHfrl7/6MTNUhKBndHscgJMkRZiWONcYnm0gdtUYnRq1PaeCsmur0dHyKALd2EvE9Wef0Sq
kgO1V+bD7MlJz6xBPiWM7VgnOjZpsA5T8GxdRpUsIlax/BWCLHnbqaIIQb4E2R+SausiH1T9Ql3p
TTU6ksc6mBoE5XIjs2+cNQl7IPaDD39NAx/nMd9dKe7oH/8eQil4MeNhwza6cE4qisXWTfTf7pkP
ff/bVpwnyRcczkNmvGu/wdZclI21amn1XlUNiBBlr19FQwCL7iPJYaUttvn0wNO3dS8/zSL37rll
WphQEtdc+Z1wE7L2YNA6RLTEomz5wTJXxPhRWrm68UtpWw7pT9UK4SFMh4nKIQ09xQJlizfS1hbz
7swCKa+iolZsXOO7VxIX516ROJPXiHcg9AK2IgsdNb3bE8coLuXM7zZjK3uH2gqvYip5t6qKnUFX
0PQZYDVUC9pjCLI1tE8YDj5tQ3msQfWFELKxjuNTmnSZY2misME2rdyxFmTLXKuFC1UQoE8QEtfc
Rq9wyBuyXrFBjkPCm9Q06E6ly/GvFkrhRsKFthr8hBxgURVuORbhceVdpZ7r7HUy85KRSk7cpF3Y
j6aGQsOCDpCMorY1BIhAacKkqvM0OeioASCySd2iupaZ2h/8sCamc3oQO2U46JZ4TeW0X1v5ZwLV
NiGGIU5y5UMjaH1VdboFxYLp5RcSbROG7oXrCTO5bVpHw2dR8RrKbsM1MfgQk7PWt79dhgQuoD2y
MscEEpVnEBEYjde/hwyDe1MUw/PQJZ+Rj3SwEiSG2eAFRyzlodsr7ebvR38P/Shhu5MQL1UNnb77
e4hH1r5AwiD471vfK61lUoKQe1FE4pmb32OpSk+e6P/3oPgNEC+hdKsyLd2tJmqjfXWZ5MexRJ0B
KxfEn8BbR/fqlF5bTFOJk5CiVOK+afR6rzRmvAhEentqKMuOii8bmkDdx1bY/e8r2OdUvF6wMjsT
X6li4vtbirUU6gZSmN5gy6DE0WQ6po8Xo7LgmhraUR4T8ZIUebNu+g5YcPpHrAjVhd63wrzC+GQr
y6PJyXX6cpxWo6wJ4cHlqrTwVFE/dIYarau+UFZ6qZ+lGGZPlRomRL/BbzEjJC9Sar32FI8I1QbP
EzeaktPCd6FSpeGO6pGpG7nSVkSx/JRaMKZGdu9GG6E47iBGjF5JZqEErN0aWbcO3DzaDoPeA5sb
CQQ7moxsHj0OnRoqNSQQo6d8sJCnSdY8+1AWtmMTk+esFgdvSFdh5yr7rKVvHBVIARR5UPfVmP33
EFViQmFF0GTgj+leqAE3KqU116nLcUDgIBFocrEqFbhPw+hqW4ohDBEaCvyxre6WZYZvAaJogwQa
TMecxSqn2qwKsl0fBca5V4twGShBDQVcPyqNn1+jqCI7M/eiU1cQNCXnKr6U6tBJDoEWCCZBxXRq
VmRQZbZkO1L3I+vRAIcjK/fisOhVRd27jO21GnEUGb3cguuiCw5+fubBi+QVZdJ35yXgSIR0d7P/
KUa3iLrewFuhty4Y1c7zETkdwJkvBuSM18dB939kg8ghN0aDw0a8DrtkV5fEwFgyPOm8WeG2mNLw
0C8KyJSLZW+1zojPxqVn3jSyI4iRxqbryIJ8zZUUxe2NG4LrQAf6Iyv0FbEQRrhZjuW/FncaOBsj
kC+1UxrrX6HXfueNSi9O6r/HnOadCS5KPSrhFnpAu4MWONWRATf4CDO7s5GM477bSo0+A8iWXjGQ
dnXCJrsunMR7Jx3r6DEw73n141c/IR4O/RO1SRPdQ+lMPmss3YPk4rVnOXgobK+xcizLi5nsLONG
BZBD6OFMgaRpgkYVaAsO9e+fWBHk7wvFILCh3JLwS4kwmZsk8RLo0mscalpwOhqVIDTJbqpwqVYn
WnK14+cThUyZYDheraYxsLbMBS8vfgj/LAdELfsIgumlMW2udqKCexzn8Lk/RRABTK/xoAGEATIb
frmJ+lFtJjsX696QqYwFDRZ8uJehcxM2OJFowPt0dlY8m38UWCz2UfXBk1kZkmZt/vI7nBg5YfcX
DBZwTUj62fBr/vQXKtgTiHK+VUKEJXNSjxrzyNtJAfSqnSUf0eehFILpL5QHCLOQl7sTfxtTMyAS
HZPxKj9nWNt9gZZrg+0JWKq+QRh5wxi0BTvYRXjfy7odIKjBCyKeD7+4L6BzY0TRWtsL8/7SbviT
whvabDLjlfNtB4NSn1uXhqwNwrZnqjavaG8hVRNh+S+7D2AhOjl41HUn/hJsERMmNV/xJ3AhQzW8
yt76qb90HgbQ9CnnIz3QYCKUjlz/+GL+JCfD0fb9yrp43rx8yq/+kr1xEIBWCgFksrJZcD178qOd
DCMHSkXeKN5nSBLw78KmMF0FcwH2CugMXMhL5oDp4702g+7rbXhbt/48/Crjmgpb2beAS2a4MNC9
pCDmMLQGDLVmfg7FBvuFRX/Jv+h9jTrBzYshXmYfRCu6ozJPra3uX3CR5sMX3Hw+T7tiFBjoKSYK
mNPJh1Y+yijJGWvwG0DIrKvkPkvUGJhlgY/UDkpNXhP2LtW2wJgPV2TCsJDj+CEtY+PsqSeo5/Cg
IAiGC6jc7AbzoNin4Tr+12DgCePnJqc37k1oLGCCMeqbwB6SJU0CN8LYjxjOdV786OOp3QBDkrxE
qLDnbYzYxllKKjgCLS0ypyGy8AdIKGdZeLQjlchdFFC6zn2E1oCa5bolMzJbEpXaxA9XO8G9hsF3
obwjeAoPSpjHeX9RSHsoWBEJJJRN0MJoj17Lqg8xnofpOqqPbrpkHjDhCDaVrzMiHCJ9rj8Gsh9n
2dtQnV7+6tXjtJL1DkNNk2xMIjuW4V0Pa62YM21RCJQHuAxMgf6bsU+sJnb4eDmSkQE/HPM5Ir0Z
w0lrW8mpS7n9iI6BCYf8rsV7AbKLaPvlVsQvAPHOo/zFY5EBQtJ3A/ZcEf8AUrghvMPL7phO5Lkj
5U9L+fDVdVjY/AIDi9/X6OdlBokwc1xYuRdM96J20vQwoKUPUfhY+TOrj00AQwelA8rLjC913hX9
4uZgkJtW2B18Mtp74VbRkBDN5H6lEnVIH2Em/2sDUtFmPQQpqFrGPhfmHl17yR7zTSB+SDz/W6Ij
1y316IEP+kzXT3hsRc0xplvHNHVvmn4U5G8Y83j+UtsJuABiAANmjmTYf6oQOER7gF8QHjEID3p6
VGvejdhinjzuUhO6frb3r9GdKGAFVMvDKnpbyUQtV2RMzJVmGwQbg0GXGptW30vfDWg0+QKy/ytm
X3l8hirKqxYykNOTXhD3ddYMt0q0W8WWTRsD/ZKQLP1zKVq7Lv4ZlC05zboP/MZs1TCWP9dPkjXE
cBGrx6xZywV2IgaDUrzqu5Hw9/bNn0CXlmV49N1r7ZObnveQPM4YTUbcvviSk+6RfnnJxRWXQnSm
cszyZaytja2yg/YX+4c2xPJwXzb/Wknho7yy6Nto3032ZZVX7omqbDuJGNI1popFjC0Mt0ihAQBX
hjYQXWgy7aqdANXKoAZCi2bN3IfwbO5cSpKESTzHsQZ/jDnaYFKB5Qz/J+MVR+c4/tAxTFBneJSV
9TkyP7T8xbmvyE8ubcp25m2zz2LYtOUVxiXqCRKsiYKO4kMSvFFsqytmb5utaqqc4eIP36VxazTc
A24jGaP6CTDJdOmg4NpPnONaL7CGfIzFE3/7LqQ/se8JDGK3bPCGnITkkrDLrW0d7Rn0BUyFASKZ
bR5d/wJKTDcp/DKQCH6yl+jklu1VAVvhp6GujXEhg5fka026KMM71Z0eSmRE9stXn61xf8acc3LZ
NL13EPwKw4/aYMbsYJFsUWYQw+wvczY4TBtITZrMmWEKLWoaSBjWn0Z/aVjbaTq5EytEWjI7pWgu
Cdhv2cSmjbQouQ3SKgPg3n9rz7FdUvDBjD6FTy9E6DJ3b7xwdO9gsMbYYypXgrhS8dyLrzb/QQ2v
G2tBernWvm/veX2Jo5U5ucvCmZg1xCwa/yrmMtaen+GxX8XfxPawThQY9sAnC2fpkxkkGDdR4277
zM+vBhcKd4EMJKV3360N+jragdvHp03I47n4lJbqqZRXRWtn/m/cYYUVn7UJsZqXPdVf96PBBrpY
5pLKUIdDYho7tpdKWXag8/z9Itvhj0LWLjPXbFHtyFdFmKjZS/L9hKck2yVQMlWPjgkVfSCSZvNt
iDjmItM0mhzQIOHMkXgvLYI02xOD8yb7m4aikTHuwWHAyqBB2DKPDiyOXHU3nUfeRr5KHPhnWDOI
OSJJ6tFQsPVqQ3BhEHOO0NeiDm1mB8jqIXXrN0O/6do1HsMFlWVPqKzdfxPi5+v7Wl0Nd5IQkPho
wy4kbQ0uTW0PsOMoYDC6g/9NKqSJvQO95mokWCFsT3Jwtvp/imRXsHqYmFXwEbbhQtMesXwIW9KU
bJH6WeholgBGsBWxo3MsyJeJfuAqmh6yxU3Tke3mZNVn060C0hlZK61FBh0IPaD8MSibAGPP9rj0
XBMY9qE1JzUo5xkCS523JY83w6/XXr9KXOZkheOCe0rrnZ/9cLcpEglPmhX3JTG4ETn2Lcul3s0z
rHNk4RkRmpti5tHuDIiGsbXKvPV05BHVyQiRzYLcih6qkI42mHiQ/Ah91n1GCkzEGhkSopV+YyTs
BKTdesLKo+Mfsatgw4Mnx4cg3ss2cXIccYTcSaAbpdFHKZ89VOgxXFcrndGo2NPXxv0lucvaVc6u
yJ5mCLwxH/inCm9ZP8loFDl6Nh9ZfTGjq5sPM+VDpaHvQXjpk2Mq7I3oIsYeUeE48OXiwoSIHGCN
IKD+NrytP2wzLCZVGlyZLNgjcNdIMymD9JGq3+Ib+KT5rHCDmrXXYT9+J/fk7V+RgbFPq69yWMjr
cmvZ+qJeIfGZYa9lD4d+bSy7Q7EJP6wtTIc7XS1X5XxL4TlTnth+aUxvqgiSVWErhkvjqX13b26F
9qxR7e7H1fgMj6GwMN8tvkxUnGtt2a5HzuEINPDeXee0mmB2RbMe5/N22WtO1NmxbPvX/tkTs8yx
k/jDairzEfya0tZQVmyLurAyKf/URbJPqa9MW2c3N5cMUr4225UX2dRduO36zUFs15S+1DmailXM
IoW2x1aKu02HvmoWw5LvSX1aMeEsm1wsikIini2WwGFBBaiiSAptPeL8Hb5y3RFIIBPmPlYI7cGV
tyEfWrYFmHIsXPDz40MWbDwWjZx1YnosohOrsQVLnqQupD3S0hScol2RqIAPsr9kiIy4qVeTBBLa
dNM5VLuAFDidcXrPkChRHo57aONisRqNJcukJmJ1veXXiNRiy62yO/4bdAqQkaMqwIJKKpewd1GX
QndVOdWL+0y1k8qmGhXIRMEDiRxBaSOqpDk7urvB1Riqi4Hcm1YcYEQpH7GZf4lXEEgR4zdcjj/g
7w4k7ZCXQmN8zynC575DFgRtgz8Fg1FDnr8WqKi6PbeQfZd/ol4KGywa5l4MEDlVvdhHtNQ40CP5
M/6sws5hjpybLxlEFCHIF6UnaSmEElbccnPnG0cf2zs6yew6ZupoCGtZSfMXnnAaGQzmIiZHEU+a
X17R2Hb35JMTHYO6/+b0TVK3SYcgxHppLjxMf0anM8H/31twLgMMx8CBn2Clg5wb+wPwTc4NVbWC
2odQCnaB/8cHgTUErxkGUa0heVpw1prOhRa2ADOqce5B4q0klFu5rabzHs1ENx2y+Mscmzgmahew
PK4IqfC6thBJrtvJXxi/BkSjfSnj0oQm8s8jy5S0JW/rCgezJt6FRBBkEahdp/9Uy9Z2VDUmoiOI
onhHeZD/p2kn6uybc1c/USBSLTWgmdqixSB9wWZE6qSIAyFoaDdnbGdAXgG1F+L3RUDWZbrELb1g
eAskA8/rkBUY0TzClQ0LAwsoGA2Pl1KakwuLyzqFtJBRUNnIQ0lFKYQL1tXMNctFuTD3qBWUmfmb
fhfSVn9pmsN+Znyz5DA5rG92dPa4ERoFgpMv/YvloDy5/wYaWJi/cYBsHAOHD3zQcenvFjHEIURr
jGBkkjA+JtblrL7lp3Hd0eBbWtvqcwyXTYS9xJztFA74V5zOTV4uB3ObYhaiLb7bLcRSkCMnIUGq
sKPYrvo1d4EiWANe8NAgLWpsDyZjhjlxgyJV1VX4ZjcC/OKERPJAT5Qb5WXoISKA+gf6wExeUFeH
H+JeE9AXLwhXZS+Nul17VIKF8ASE1sRFh5+milklDKBZ+otoH8N7zVxNnTQyg8Q5WmaqXBT0sTLD
daBD4po5Xjjn2QHbd7tIEcNN/EA7+2SSyJFd3Is3J1NaXwprGzlJCGQyqF9zj/0UIoJJM9L2zXOO
FV3hsPBwAsEqsUa/W14b4Z9JmrPmlONCRDVSsbCAJS59zZFZkN78TMBOPNyOEmX4PM8WOXAkgbVU
hLnjkkGdbiziGUVOntM6RD+ORUhLp9IMqVDP0HPpIVXrod5AklUbR42Xsr+AFwgiAr1NdL8ac81s
g1FzE1y7iidvJyh2UNxc6wu5Olwa/C2xnkJDiT0wABPCg+mcXa6wymAJYwMX+yWejbWwU8INK2NJ
HEcPA9JJhd0kwImWGC7I4jIBfQztDNY3KCLDHUlJg00Dso8ZyyhGco32EmX2tJZjxVqSNxBrNLJN
o2ny0z1HSIrJjOA+U3kzCb1/eJOA1y6CmwlKcrRxHcqbwToSt6zydycHECqbJcd5t9tirG5UO6pc
PoUHi806YjcaYe0tbUbpTMBgNCxBC/A/TijsWGPxdFlAGPKjFWqgRQZhS5mDjcECUqKN6n0V8ZIl
CyKQ4tqw1dJoleGdTA3I9QHaHOyA1OME277ZcOS0WSizLFoGoc39605ARajJKK9Zj6iE1Rd+o78i
Wwf0aG6xC2URVJLh81Jf3psVi5/CkqDIZrcsvBXxDiwmLCPwlr9Z5TiLCCWR9LYJBxuVJez/c/AZ
Xot38+66lfJd7Ak9KI+UKcz7cy3cuF5bY9seja22SyhTbAFwiag76rVtf+su0k4l2HVeXSJjni7z
q/GdLkkIW/UrROzAMeY6i2yKLukZfLLoxUvlSeD3PjwWe4zR2cnX7dM/6qfJSpWG8RvgBoYblyu4
6ZG5aOQzRpdQ1hrHOmYJdnuOGm1EySEErueuGKsSTmYJHDMTjjpoISf7f0HP6YCSckm8oAuvvJiX
lV3DjIaFhw9XSvwajuITJVjxiaaZdyKMZ7t20BOV8cnQ5zUi+U+0dAkyPkxFJCQiAPenulyb2lYz
7z5uRxhZIw5BrGuTQi8ocwPSUwxwlKqOz8SIYB+jN16M+metfLntnjkdccgALJtS2Vdo/Yt38kl1
x8LVsDIAjsJyHMmcdASZynEuQmzXbAH6eOP0iL3khQzjDlNmzEGR9vARVKc27FJdKHQ8LHRYtiRt
XcRZOAxS9FLsZJPsoqNQIXjSX45gD+wmL5o4kE8SClWYFwRaQn/9RyQQid1SuYGMIk4E145O41xB
XOKRbX1l0aLzHgv4hk0eZSobpLvNxK1YvSRxMjBTFejsKwG/yZGwkhX2bGRYQvUDFcPgG6hnMj2D
oQYC8OMu4yeQkwvDkzWbLZKkhnYJgjJt/tOwJaHXFiPIGiiyyWmeUdyDXIBTUvOxV1UM1uycnWEN
3bNLD1lPsLV+23tsQ8feXOc+KOtM+REHWrrzgemZUGvM9E9USeUPh5IpWtaYe//KD3fvY6aIMR8k
Sg5OJpYxa3OwOfVF0OMRnaJsgsGI6J5JCtUM/w2A8vwyWj/GBXMfduSaPBA2XNLGKByAtd/umvnG
mVR/cYblv/qbPZnyCOWnBY2jnhXnjr3vmlDlgFvP+TNZvav+BTIOSDM0DIW8UfUtRjC5sDHYQJEq
cFRm+DI4XBQ7MwZHuS4O0SU8tbtynZ7aU32lbgdb4JpV6JRAyV6cqU1gXLCAV/k96dgPzWtAw2JN
Avj/tfzgdtA/BvbEGTz8p3zGsD4+jbvwUH8pwPLv7K190936YIsk8AjwRfTm3acENG1tS0pd0TZH
5tCMTRejjyfVdKOBJGPvtacFoGB+QQ2FCwhBBRUUKyCzlX8l3OOQ/RQ/LJXDR3AzHEjAMAppTlS7
9vG/Bi6w97RNdjM2SElv/cN7jQ9xUc/zjZftjTepwxCAFDvGkehXesAOhvoMX320o1v90H/oM7E3
sQ5DQ6USDiFMH8ezDtDHJLtR6nhOsOcUOxogKgf5Rb0XfwN46L/1SgLbxMKSBFV/yUUL7jzop/rb
v3JkmupABD8rTV1ZGcsS3UzyiGEVzAdWDN2pkKj3s+Yu5YtpGb3Kb21nPuS/Kgm3tox+is6hcsGa
FcKzJ6wT0jBNDWvW8R7/Zvd/OCZUehhMqDg2YbBwsZsnfmpOdNYufpUnDFQA1NJfzXeomrBSodBm
/eiQdXPCA+XMFyDXLYclaoTmwGEpoI6jSEQOhiD4mztRsSUgDeLecDNBW2iJ3DnJcaSj0Ged5sPy
SbTqyhmAj6JTTOHYSjpou1BaNH9zarEvjZZdC69yro6crY5WuUhPVEzDg8/qowMDlMM5g8PAPLnw
DQnGgm8XB4INFfZlPB0DYvqIq8VyZS7+KyCE0p3CmWvEgWwOalhihS+uJ2gACcKqQWSH4KFepi8+
vQhfNZ/Vv8NBvTfVvQOPncQbUz04zTLZNgrbUle0iVlcm7v4nkpaEBWoVmBfKFIAvcAJ3R08Jkaw
X8DmnD6gQhItmvU39WZAsU51mS9oKrE0cchx2W25MMXfgec7Pjb3/DiCX5TzaOtt01N9w24LUio2
OpCAsRTUZy4nH8vJbyLK/3I/4AY9PmOyhKwJzxjx2K7tMVn6yoI6WIXu783yU0wjaaYsohU9UGtp
PqQboHb44z44jZ/Gm3qHKykw5t7GNzdp0Ocsmd2bLxVxVnnr3Ns13pqx6FPionUxd3CoisjR3AXL
UMVBTl2rkDLR5fFJQPvx0cea9krhHX6UL4Zaeer6RYxzNBKEXXsb18M+WREd+lD/5YhHYP8hWo/W
XrrI6a5CBf7gB9hXse/Sb2A1QYY5MyWH7VEHVlrG68Hbs3Wla+2HBVRDEvEBWs8yC37F0squzg7H
FwX89J/sS/jxLuOyeQhHBoeEP9m63YWn5MAKmN7kf92j+Srx+kH1wkX7J8NFAGKeLvvUn98MRA1A
BOFj3GRkLfSpfkHGOGqSE0g7bzUc4pf+4BQj44UqLutf7nyocBCtT+YXhpoMBy6F+Shz9GAEdU0D
dzoLIGYhfHYzfJWndp2/hpGVvLiDXoZg+YjbuQ14Ci+zH20fTm1KjTm6Cr+n9vCvjn/OuwKC4U7Q
+CwdTt5YiRGCxb46rSx4oQDdIIfCiRlUhsUcuAPt4BO0mKELItyc2TFgmRKBJ3FmQoDzEh/pzfoI
Ln/tD8BwSkJI4RDON9IPmeQeE8+1S9a7b+0GAUYH4MNUtMMjHEOgRfEskPPNKmXls6k+ke+hx9NB
f9sljwqh4RhJgw9q86kOYnc7oMo0FGqDSR0ecTQJbcyBppBN8MYFUs+KDlRro7wUEPrRRRQn0SUW
HDwJCafMS1fbX/54F+xDIf4Ne2tZnF0ofRCVHx4uDfUcUO5Fh72bvjbRRf2MMtGczNaoR8wyLXaU
ntAzuRvNIX+VL/bS5g6Ck7xBecNqy7pOj1GBf9naRb3IwCBQpRkzmtNFewMx+6aLRsSaiScxXhbc
MkKM4zVpuwZWUuAx0NC/VHzZHx3JNBqk1Q3xW0m/C42dFmwTfQMdBj9kHV18aFNLEdvti9soQbm4
hYpRjceYO0KZT+g1Mn1x7Y9beJmKtTLqVR4svMxOAIJU6PSM963YQ/BwsAgVgw1vZVrrLxbGhRiE
Vau2WovypgFZnQzaHV3b1iUZNycluLvjPorwd5/rgBrVxcQwKeYjYCFDv3AGgz1BVRgt+QmVXoAT
gkLzfNHWtgTZH7JIes5GR+45dyN9WnCY1ml2tgvzi8HVBWA7dkHWbUSs3ioa17Fx70Sn57xIpYDm
psTiYytJiyZhGHORiXSZU0R5BQ5CIF/TpC1xe2eZMHBiWFqeI1O9kHRZr11e9jLewERYsQsO9OOU
QscePEKv6JIvBeljyyEnnFPofRaXyjuPCoNh8g2eFyKeHksvfnI9UmeC5ms7xWEBk4vOpnFHcc1G
p+JHED5APLjV3uQqvZhKkMa1AwSA8aCRRocMyo+ot4LcIopwFNV14Q1bySodOn2S/qr0FRTRhRz3
TlqThtahVAKSjfg/zOttFv0aqCYTfCrg6JBeZu1bqTz6brcp0z1h4u/RCg46CYBkBG9K+gVmgRSd
X0cETapEG6n7dmhtOaGLpo6PMsRzhv/xmQxSYu7Dd2Pgp4FIgotkalc1F9AvxttkdERuVWdP/xyA
Q/WlAa31/3F0XsttY1kU/SJUIYdXkYgEM5X8gpJkGTlnfH0v9sxU17SrLatF4N5zdvyqhAe/Z+u5
zDAVWerpeWxE6S4f/3SpyRCcvfZkABII7NCDFuPvachZGS3C/0VP1I39UzXBWvi0dEqIdtxNhfr2
+KvYqQe1uK3Jj4QVdmK8MHidY7g9hTptKuhXJT/OJoNuD6iQcmAL2tHium+X9qnpEH1jBQfWJA4k
a/o31VNHjMkocsAFrShfLNarQrUefaniblNOjclBxTKvy/0b7OhE8+o4IInIhxQnA+4d4gKUer0k
CGXZ5TqQpyy15y0jOpLglQwoGo96rEi7SWAh7HqmfbMrJqdpgPhyPZiL/toVltOloA9ttQAbKq7O
JhVJ8a2NKCoufpIpi/whxyCEFzRi8xAF2Wl6ImcTvv9gpbycVXaOulNb5tcR0TkxPtgdz4JOQtfc
99HDEvNAX/KLslbNXrIcianxK0YDCvYaAJuy4CRUjhnJ4iyqxEkfr4uPdMmuTcGXO/IP9O6ZzN3g
+W+L4bESg56l42WtQzSATrUSjiYV5zXDPUrlzqoiPgO+7aSbLotureg8N5gDX2Tht1O/0sRLIoRU
x4F7YFTeB0r0KIUWbzFRENw6mLrIDdJ4Yml4kA/gC21xM6KDOX1u4reUPQrpPh8bM4jqL9RwI2q5
TDj060fOSVPUv6qKuH1vdWFf7YqLigNV8jnkWI+ZSljxCO6AS8Y4C1BHnnPlTSWCdB8FyIryG2ch
AAu+ikM/HfX0kjKjcL0oXv6MMbABnjEtyKkXAbWCsIJNo6I+maLHCMjmSqeqwcJbMFWBMwFKbzDM
fjKQoRLG66MV3jpo1p5Fw+9LWsVcEW2z6K0gRuKxM32dqPJ5P6L8kQMdNHm17qlwSUySPCfOZHTT
xG3XlwGEPcJFxomImIuAvA3L46hUZAVGSDYwLgFRIqeBIdnXxY+8PJTyqjypuwYvse5u+rnECNxC
uDp1YVeYjIU4hFCfOZ80v6y+BTpHzGtiBCsfg8FeRCsxzG8/I4MBDnTL6E3rgEcT1vRjL32Qfbzs
MsGNOziue2X5RHJTcp7FrrWenrLyxU7xMK7I4SCWnEY8xAm5hsZ5QzfEj8e6WuJtysO5zJiFBxh8
YT4ZVQLgKWOoyc+p1K97TRY+i07zTFA7Z7Ggyrwi5kygztDXlUc2eAy3oniuSpagwVfUsC4pcHtJ
cJEnNsNuXru8mjFqRG97DBdFDBdSiwqbYnQ2JXG9khQrN5TWo5nHOugrIhbBXTJ63PMmwyT77hLy
dZZ9euNvrSHIukfRPYBk8wHGBx3KQy+DzfJmxRU3SqBu8uxrw2HCQS4f4Gyl2t+IoSPKod+3N4nZ
UiKk7DZu3mjTKC0Nu7Skp+Xc51fSkSblPrLAGy0LDPO+3huvlF/Sgj7CpS0ZIU7WGDBxasBKG++x
Ug8+9CAC7yI/M26b/OFw+Z2r8NiNByUJS8VV5L0zWW6a+1MMVYRwLMj1g0K5dXzUmoea33Xtw+xD
pgiudtpkWx48eTuOeTBZZzHgccR3IQNlkHqUfglKSM2iNrqRHDTCsS4IqvYEinR6p7H8NTq1hVfL
PCSeCa7QOcXqSDSgmm43H7I0LKS9WXqa4fYZvSROLLEgIP9lqGrBl0Qz/Vk+sAzxborya46bTAl4
3eb2lFheSwMVNwGjDqFKctgRLyw9egLOpauRhpXhJYjWHbCSWGGTjHTokHxkrkHVO+pSfMrN9Sag
xBjuE089xCWCJHOPu22fjTw3flV/GoYfy4+SmoSexsUdvdS1pPtDe9WiQF4Jfb4mNfzvruuE90qy
3urratoKCjiCMBVbpHeKcD72bGBE5Iebb+qE03lpHjTWGXH+fBjNeyOF9ehYFeSBFz/5iPMzqC1b
b7K6PkQKiyX+g6KSnAvzO4q1a0mj8+RahJNBnENHgBHtWwXCx0dskC/egk90wqa5eJzk6D/7Amru
sXBdWAhhYPMcnUMR5zd4dOGhMNiEoBd9C3kUVa09dQcFWaWfykjhPMkd5j8KSOU+bCKwwyOCW0EG
v4yCOPMlStCReSKcC/jw+HXOf5ugBp4jY+Iq6usfi+JJV0d1lWfJRmcz+mrLa5AwrkDjL2B9qeHo
+n0a7xzqW+dy0hp6gNzgqa2aPWMNB/0Y6++icUEKPOOJ0Pyt8fjrAo/B6kwh8ha9Quxt5FqYntH5
Vnuclncr/9O/idt5Eo6pEkjiKTNuaRmIwinT7U50EuJv9ZMwnaQ20PClMAASFs7q+ZMeVNtweNnT
wckS93nGYIVpTyuURH2I9EMlBG37Fouelb7WMYcPsVKzRck1cUKk9sXHIXsVmPa35V4t97T5u2A7
raXWPqrVbzME1XMqjpNdthxW8aiYvihcSkSzOFNpGKDM4UBd42qdpt5Gp9QMLoWZCXpBWTmOiaMq
PuKlxIkIGFfO7UwcS9uyeEridjHE8ahlyrUNJOOYkklF+xdzdDmfKd2pVKwbCPq9ob9zdEO4WiVi
9uWXRlnr/xsCvIwLGrRmK45K5Q8cWJyLiMFqu5W8KMBGvqt18mb4nQ4GihVEIi38Lt0bVFnB5rdQ
xDScwEUQqHyvhE9pQG7m8fitCiPLtVwJoQ0Fy80m2rNcyiIlok7M6L0UjxJUdR7MGGTZwEbtg+Lr
evON6d0C6LNaSFO73o5qFtSyJySH6FeXVi8xhaNJBmZ2a9aDmBz5MUYQs9ZdkENlfhdWRB7umyoG
zCJbb/Msbt1V0v5qEBG+WRBoGuYWphqXM9kwb9Rqiim695BDplFBU9GnYLN1+sqViWCoSMk0NhD9
jos1oPzYomZBs7PBBvHlUJX/v4v42tsYcDQjdspXj67VtgX/Yvp7hYzrjXcpQpBjSyn3BZFlLgBH
BCvJoZnxjVTlH83wTRb/BgfDC5Id9lj2YFY9I+YfxNnnr8ln8VpnZ63k2Oj7Gl1ClNMR3ez+AIn1
LHabizJEgWdHT4hOlCT+3Gbie2AoQGiTwJuz14+KoyBBwZUJNddfZzISyrDuvzLATVLoQeSeUfYa
7KPdWlSwOU31QVqwkZ277GyI36V+MWHIyG2DWGsApabt1lbxXhf+NjrAaOtG2ds603OCNiENtkMk
Y97mxaqKx8JwMR+X8SQYfzR8mcYZBw+4f499KZfPk06Sk1+q1xmPmvmkUeLbTAZI7MbQe/XD4gcl
+Hp2zSavxTv0PmdsWcVHT7TaQKUsBLqoFW4Tb9cqIXZ1wnChTcLn4JtBDcukBPDBK0IqTXiVxvfx
2gHJgjVvxTkb358LTSYA1KE3kA8j6f6/a3wvGm8Bf1m2v4xLVeRgmmOYq3SKRR/4S6QiVJ4xLjdN
Dc3mEKsBH0SdfrDRrwXewiO4KDvTc11rNPKOHCI8Ie4xqrTTrW52z+nrrHYwvYjLu+gJzW1Up6n4
/F0uEJE4aM5aro5xZxl+Z3gLR4xpsK8+W+5Oqw4vR5wxJMRinaF+lHNmvVQLFUK3Sbml1vs0u3Lr
4MSN+EQ4Yj+zLNSk0ABwU0IdM5FdxSlkCIXoeqATRlMoX3p1SzYiMWsIbOW9JWkGBgSBG/ww0hou
u8hkWv1AAtvvyi7UejdGbg5leNviNyFzlI5p1xmtNy19bLWty6dmfOsjr1BddfRRPUytyw4kTY6Y
BHqDYNiDXsdwCBwaK+6A6wXo9qv5BCDp7lSpN/sqx3SASvANVkH7hr6v9T1c+PQY/3/3DVRHg5sh
eoF74dA0MnIBda8AhZdYo5gGVQJnou/RIilUCtSUSNYRLdEo5r91MMk74AhW59W8sIyAjqyQnkQu
XwCSUYzwcVQYGoD7kMl3xD89EQ5aESbeUfWYHBPtAlCj9Z+cN1PMxuAK830EhYP+nOXoq4znP2ZM
/iXwbK9+1ijWE4rDVOPwlJ2RTKrziI6SnxWIBW+j/Gmptw0wlwCBeXrVyk9lgSD+xy/xJIBVMt2A
jcz1yZSuBUFS0MTSdYE8sIC2x6jCOZAci/W9sHxeHwSFcn1oOIsqcqQE5c0ihJnJbHAQPjznH5EM
QoIqgLVIkIYfhcI2dwJmDjmI0cwDQZ7VJKBHQNOOBcGqDKf9AYtdPl8RR81LYNIcWH6Ui8+qAbJV
ifs68WbDlvWwmt6qJ0GAs2sOuzlU5VNiPAbrohiORo/IX/o/mLpdAZl69KiXK0m139kz56ixp5HN
6Bl7EcNc4wpRAcUPVsbqFiiiT2hLNLpl3xAO90ovsJX6uN0rLcjADxp3nHD8fhcaNcJeTg06mgiW
Wri6+qzqH4ryq+vsl18JmRMC8QZHsCltxTz12pcsGPsBZapld6q3mFfOPVG5i82rboTodbGsljk/
0lu90optJ02QZA9BJEXGQ9CsM0AtgRh5U+Ig1t/YHgmSBzUA39O5Yh0+v1L0pyhQM39Z3pk31yHk
e2AtlBamjOMqs+qc2A5EKZg3P42PcwlUY1PBaaH9rWIXCw3GI97PvaywaZyz2R84gUXtGFn7nii6
ag94SgdOvZokvxPOOtMuhp5JbpFWHuQxtHoPqrcfw+R5JdtQ2rqEnM8p6SLpvK7zetZipjbQGIXd
NlDlq9lcJso1Jtp2nph0ErladzSHb7MFpe03X1kSVI9+sRxAtC5dexyl5+VrXmv50fOl+sAw3EW4
ZlCzhgmhpaWnDWpIaa89vOpcen3rjMa7Np9S68ChOmLhE17TKRzbE/MH+54ancQc32w4EXCZ7jLm
OeovJM9ZxqAU7J4S4flQRMisXeydNehKl2z+BLbMLA8mk+vbT16Zb4MMlysVafBHJAxUgW9ljUZj
IJ6W6UMgQmyDGkahsLbOZP7t2xCCBqWuRGjXGioGuVvUcBxKtNHRW6OdY27E+oacYZYdq7GRwqzT
tVxc/k+cXRpKBfv7MnNsc6RY+cNSz2N8T1GrJX8RrM7TcSk/phnGgG2dXlBkPUbnrqmna85zreq8
wToDH6IhmJprFjHlcTZDblbytjfUWz1+zbgEFHsSXFMmTdzb0tOs/tGNq1j5i3SoYo94w5VdWucs
ZjW0Ucmlv+2yuqLFDpsP3/JXJLsDCexjWA4/a+FJwhlmCFFAPT/lQobpzMO5UJhrAj3ydAuOt35t
efozxwG+VSJ2DsI73UVFq8XJ4faFp8Vu/z/QkSW2hiyHZUgIO8SUW/XKnDOkBzn+NNQ9fhgSD095
954wbWgXRQ+fkoKsRuOMnpJ3TXwGzgyX3NhC/BbSRqQNwnf9lOB9MI5WHHbJYeuPU39tMl7L8mWA
S9TSG1MhWzzWC5GrL/nMcQlHEwhz8jvBAAJ7yMphLdysPcfUewzfmkZLdPxcMJnLisjdhL2+utn6
d5w/tfwh8SE9URLhwMKyFdc1DjTUQWD+VbiKB6sEMr/Ekbcs5yqidGNfdU4LvSpRXAZSv+/049QG
TxVY48Im5ulRJ1KJg3lb3zfrVevthMgwu+LdKf8N6auc3w3Uw9H8hwSFaj48NYfA7VEYiw3tsuS5
qETo9PrLvjC9DrEMYiHBTgkuQq2k8g+DIblla197IT+OpnjZkGorQSTYhngacy4oPi0CgLkvlqdl
IafmG74uc9Gr87ccbk9UgW47zeOLC5w2gV4EkIp1cqwre0SiQAoYQNH/UkxM3BFfqm0ZoVqU7d64
nKT8nwStNliHNEGGmB4061OvoVHS3E5AtQ3YG6uQvTh6M/KrIb3WwlPaVG1/sqHm4IlgAzQWCwMZ
RijrnjL8rYyrOZyT3JGXfaU/W+jgqqP/Yaw1NNq7geathHJTin/RDI+Zhkl6FuNAnz8XqmTEe9Z6
z9K+7W9KpB8ZJXjRiEQWQ3T2DC7zLwAKJKbC+ItdUz80YUsQ6ibh8ifZaP4fF/FKKkBnGH/RH8dX
mbSyvWrQGeXhGNZJN5LNlczBXiRgltSfVJJZrGC7C6wgAM7lfMtYlyT9K0Zm2KcBXP6Yu0PHmHsY
67CTICIhAhID0B5gF311ii4u55Mmkv1oNEcDk+eA0qZCCybZUGa7Rr1nK6bvwMKNhUetP7fDaQBT
KrnTfMtw69LWeBQJNbJ28w0QMF2OsRXiPuhnG5VjWfjwJH3vlFSZrPYWsRHuxWdzmnjVWh5xspMb
Ev24/BXs6981yrGIbLqaiycqv5kFK/Omd38TeDd2M7CKbXJThrkyLOh86n6j/o351hhRFH0AEiVq
2DTnuj4MQ3AUMLwzOjl16vddWFRhS0Bd7+UjKc14V4yPpuuCen2uhPHw6C1AH1SR5HhqAzbYc1R4
vUUtwEci3tHBSsKrGeM+CTWk4e17NZzUyRczt1B9UTngPSiE85C/6tHJIPBtDEGq1vhhmN6moM09
rNTnyp6+4D56rH0gbce59TBb8kQzwGKNYwyyaujzsCF1R2PPPbZbIFnIJz0z8TTCJ/X3UXmyJaBw
A+9OggkcDzRRSBjQ0KMFqXlXZW9JMc96ax2071N06/mXNa2DNXo0YJggPCvBxNfJ4EzxYg8dQjfA
J+wH04tErzUREgObXCQ8s912UsltiMD/fybmgnQMdZSImzOtVKa5eexAUoHtA2vyoiAQRS3XJj6S
U2CYVvK3Z/KgG0WnmgWmoNTORkAMULDNb7N6ao0QG2RV+YbiS+mZX0FoDwkl6W6GlovHNP+aIgb+
42jtBOhiBEN+vOKs9hhmuhgQ9IkALzMTTlCjfs68jN1aDrgk8hY3HYgdqVBOX/OsOEN5RVVaT3a+
uHoVitkBz0lSHfs/EbB877K3w0xGq5/W+9l0RvG7z6i4CiUjjE0nTRwg446sfS780U0hV5f9MFOw
7KORVeIDPKCBIAKGEzOprxjeunmFHCar0/VgjG7ZOSJpZ8AGEc5LZ1sPs3oVATMn9HgLLpiDIhyX
J/rgRlTIPX9eXsWaRkgRJYwvWu0MzwZyu1quVUV0B0D1VYXF4eNrN8XP9oL2B18XLASdOGP0Vv6B
eOfVwrNmJS5TWWYxtLEqchPDnp5bWozN66z/sTKXZsd5PFFlQzQzCY2DWB2rimZd3mlxDKGhxuJJ
2a5FUG3ONrrIr6CW1sAc9s12E7qDQgKxPh6lypOWUEW7O2JmecFqRyOobYwuoq94O3OPxM1fhQ2n
nV+n5EuXr1H7Rs3jonFOBFN8YFRKdUcaP9Cutc1J1hy010l84KcDzpOkPPNhQ7MV4U4luOx5Xl9T
rnvypRXUqE5a2GhDIgxffDvCiwNBCk2a6cdee88aL50/TeK4I9oJKk9MWdEOUheKBMmtf/LlLrQO
qwH7hUbAQcIWcLWelOcZ/57C+Y/TjtDVdl+nbMqe0Hhqcm/qj7n7ItOjYRceHCdSr+biQwFAzPAU
A5lK20HLQ2cz4Q/sBpmG6OYjUr3xUYFvTBXBmfKF3k0klBoq1mShGyKV46+4myevmR95FmEzWNkW
KNGcKvOYkle52Rwv2eawUrFJ6euu/Ccr+auSny3Ndxb5lnM2k5aSusL0XKCLv+PbvvvJ+fhpVyGX
2QjH8aSopz0B0ZHCrZlxYrZAHmUu88rM0qs6YeGqDTRBayX9K0wfUQndOW12nC2wGQepjqXuUM4D
WSFVNDHAAtCuIJp2ve4VsvnjfW2dhvY41FwV+0g8zpQjbndmP4QsE5KV+NDFJwKFBJ4s3QEc1eJT
NXp8/TXxkcOPgLOzMysOUgl9cFrF5WFCm8N6kReeOoRzdB+bU2e5A/g6MtI3fFyp4mDsSK1w1U6Z
xYhxkyeEvC51BVirkW3O8wGpcy6HjXaA1vWmFTPEaZNRUqSXJXuIGT0l/3BOmvLzD27oeuX7FjDk
/hT631V5zBvKV9BaX2mP3QL54yIOUkzOVpcXbSK88guWGAtBlez3C3ZqYnFo1KXgsXEz/AuvCuqd
RBiDbN4VGatV0Cq+qfLuUyEABoXAXxPRlCKBUEqTmXSuQ8n8wVwB2a8AGywbqoRQXCGsPpaOAx5Q
3XIsZJgCCMoez1ZFG0Cm/avHUEWjoP1KxBYay4GMl5a6Hwhe6iSecfYYNEnq343qUVTOOW9udzDG
Y7nti2UnGkFVsIjzTlA1Xf8FeTb6nboCFLjIUorigfmNyY3tE4rDMpCAwP0G+ubxmXP5NkoIgIKk
z+qvEfp5lj3ClfHtMmFne8S7BJtTnFADC2N3Mh0jdSGyRRX7UsjjBjKnqk7d8WkGQr/PeSvQVwAC
UlAQ8w8EzI+AQwr/enAPL+xAaPKeEwYqDktHtOuI6lPO8hQL0wfyPORUf4u9JuZO3AwbHkRffkbT
GYxv1YzCSmVTpL/LYLFTeLqy9qr21mcxtkw/qHdF6rZtQJg+9bfRM2b3mm4kP3HhArwNTNcu0L6E
tpW7OETxleHQwS74FBHZ0Qm50fxvqiw0i7GMHA9UaiPbutS/tgXO7soIBQKZCc4E7yQEKk2zWH1I
f10/hoyTMNj0SwFyRRnE1rZ+QyMWmzKToS2ZDn4KnVQDANknIPjS/UW8ln/FJawU6wPfK8mpfgcI
owg/I8UGZJiiH/0LjrZgKW6wQ+uByCJH5PpTPqj1x3X81qWj2iBHRIVf1/ZCmuu277Id0cVyjFxl
9PHtYFjD0kmYkYMgEMnnEt+KAjkBqIjH+KTKx2Ghmjx2iuWCpUVAN1tcR+kDdenyjbmHrFesi7Qg
FOzKseVJ3c9IYxDIwOphStcrOi/OS3Z+urlSwGwiGFygPFSTkHy2Ib/xeaCTsD5iWsOBPaWjIl6E
CJXaNS088qzSjeJg0Fz2T2SRmN4HhL2UaYap5JVoPRH5oa//0Yu91pLQsS+tvVntExm14VHhhM2f
rDYsF/ZZ/R+6H4E6crotG3vDTyUdaJTRg0o6WI+ZSGyFzGzefnUj6ou6RK8pQ0OGZSDI9wD32CEg
ELxsgdRmIDk15MsrMqDPUanP7FgSiTfEBTO6/mXXpQPpBaSsXvGLhJtIlZRNLLzZ2mSHk4WvfxNh
2r0SAL8il4BNUbuLODgitgX4JWArUjpiZyxsdsI8xxOYEKzjZS2+V1cpjsMa1hTzEWXfH1DkUb8J
2ICNr/cZE2ClTFRVONlkd1JCrhh+3vJXf+Wl12pvgrbPIUnh8Sggp4n4hZEvFl3Yh6xyMuXCVGqm
v41+NhWnG3yGYBxy9Vuf4B2ESNnNCzwmZyGEJukj1A349XYWBzJF39YKJcAJGDShm3BAvO6npd19
kFNqNQwP6r9oVQgVQ5gKGmI+TMqAzZDFCpk2QCDvvxLbqMOIMeS34GgA69I6PyWxGr573242lghK
0J4IF1PYC0QW/i5Ytkm1kYLl5m4BwM7o+As11PPSxVrvJj2ruDPkvU5u8EdBUSQZB1UGePOEdhUt
HLWrVbyW657zGRSHyELW8g71b46TksAtf8bXT3C7tDPezV/uSx1tBR5BYqNZ33TMxDuF+m3aRBoe
eOp5gyw7jHowsPeTOTESh4l4n8Ak9ZbWxQUKgByFPYrUfDtjAEHRYe469qVk1/ZOCzvMA83yAtlP
QApehJ2iQ7NJO6jDC6JUwvLyzdPLQ4PFkryXYt/nAbtmFx/mW7342RbqKAuI25AdhfBdZPACNm7q
DCC1fHaBjRmXuxsNXAnv57ayr7LhGYzLZ4jNqXsw7WXCWab5yLL8bnPE5mSttKraBqeb4emSC2ED
VSGae1StsO26vi+ICjkxwMdY/dDei3bGvbw4aVpc51hyhqdtM3ph7EZ4K/ZO8sntaYpU43pTfAJk
tk3sHjp3EqOFjyCkgrGpfDFxhqe5EB3PmdBXFKGuAciB0kxx+B/nUp0ep/LPfhjAk50EyB0ZGy5x
3mUoR2G/MO9lzlb7OcATVmMmfmN1uJYEw0UOEAFk4sVBy/SxtXzvpEqjvXZ3cn9X5IORI2ele7GD
ukegLUf6vmECjMgS87Xc4TPj2SDAuObKpUPhmAKvELqIILAjweewkR/X29yaaI6Snt9KyM8e2IAB
vFp5sh2TfRrAVfRr0UtEyl4dBIs45KtqJ9FG0+yRBNb3Ys1Oog1Uj4jRpAeRaIC0wKgXGJOTEqaS
2kyQrEOuzoFKgjWSCSrO6YbKvWoIYgGK9PnH07fksu+l8YfevnVqWNIhNzgmNx0cgYG72QP/N1/1
Rf0ZutYv0j/JQhFeSFwA1PtMzgM5jxi+VsfaLhpFlPqBUFU0GvT6QmsUSOdgUrlBSg2YBwyagQbB
jE4RNFJxHGUW8SuPkXcbtDA/dsppP0sYp4Q1w4UhEFWNmRMnEqFTonZBIAnqxI+sn/eohHPJfkKV
hJBrOLwJh8+jmMsV3MvKgDpb629fz7/PuK5xWB9zIH9lI/cXKIWrEwSOsIG6NMFZUv5tdyvRtyJS
4BeEqdzxaum2NGiILF17+mR01ZeacBXIWgaXExmYyG/S/VVxmxIL8a0dvtmBGRnXJ+T9wysFlI2a
aS7wfCLQp5biZJKYOf3yJVV0r80jUznddzHn/DLEBQ1aCL9F0R7T4TAn607aWNjUJa8csiwXosaK
H8bxErEeYkw+Awm7h+JVdyCorATNdrndeB+S8inDdWIcM0TILeEmeCRp3ojC/IL5BZgDRSIPZTRt
lMyL70Av8fFgNJp+gJlklvjxBTJN/4WUSTQfGq27Wwc8o+pbfXo+lJS+Y+l6mlspUH2Z3smI8UqP
hdKJv5T7AsvIxEELF97kycn1I9OZnDoruTrMhCBYAo0QTHU7FsuFADNcAdtewTnc71pvuVgiCt0X
RNqwe51DluVBjHXakvrYXbHJsqFzzu5lMRDLQ4Sk0/BHnmycYZh7MNGQJ34kdeFQfwuedudvUefi
79j4nnHkPYV9w9/sEx6CnxHvH04mqFKl85/2q7v0CZO9vMbSy51carBE/kdTh4SrlXwLRLeAv5GK
vL5W0ALqQ77HdQFZvR363fhnZhd+6e7MaelheIxveN1+Wi9j1uCkffbUseurE6ZTHPO5056qCwBG
QQoEXFkYXbXYnm09QOvhCKdIYj55yd3UVf6QjIS+tvkmbQnJm8G48ULrZ4jDwKl+1ptCdMbP0x+G
OvlzkxzGGJBcwjW4Z/PhlnNrsF+YbnQs31SMD5ipEIl5dMPJdtQ4oCPHyhtBXD7Xz+Q8v5r8IQdC
pyiUuMrHivSlXW1bZ+PHuiP4Sf8lrnFJHciO6P/+PTr6ZNNhKHnZqEx/qd/24OeoIsBS2YXZluh3
+CC45Nj/ohZhZ19UD8Fh4+Re/wUGMgbbJUesT1bVp7nuewM3wE7yx4kyOKn0MYl7KX709sZzp74N
6Ee8/JqdSYDPWPsojcZP/9K809wc+Uw8pCWUaFoWf/1C0bTnI3xXL+hGLTu1rQMiIASeo93trcoB
OyBrHm0Vzn5kE7b8D1B8GoNq3x4JH0IDaxyKS/4G5B0dKdzB6/DCYNJpR8Vr/sLwxsQLNS/TRX51
eANsRgcvP0YXjluncWJbvZABfEkJK36Zf5Mf8RWjAJPE9/iLgwkX5TNeEu/gFZuNk3qyTc2hjXVr
/qyzFyDJsDvUruT17nwEfvnOzlS4+VQkH+vXkV9pj8qN+EwnOlPQc0n91AXGcqc7D/df7addXyDV
H9f2OxJ3Gq/k/2VS2mU5r7fym1x3TG9o+UENPkwblRzLx2/0XngDNUnKZ/LK28RPht9Ye/gQtY/h
olKKyjcrHtMDKEm4b3xUfPvxIL8LvhBaD/00Hmb+m99XLzox9bMYbSnhL3d8dGc+NK/x41t+khw6
2YL0Sp6fo+zHU3zYMAQitbhln+2p84/CmXcxuiJMuCz/G5PaU3vqT7wlI79ZuEPMo7KL/kSv0eub
qFt4ep5jcpRfc49PiJCX9heHBQ/gxsjLLa7ZaB4i1maCUxxeDf2ZYvYAO1nkXda7yUxKGolz4Ek+
TjLs+yaps9Ju/oq/WGfr9fljIuKWMZf+s5rnRXLYQc3WnQR2Ti6cMuVaI5pCsyB+ApMrEQdD9KbE
IQdWVp5RPP1ZkW/gJyd9ocbL60xwLQ2JnliQ4CRx4JMiANzHNM+vxRAXs41dSnhHrIXcUDugniqv
1R2tCspu9WICJ/Eo1eQZrjT6vAEg4StaenvpfEwcS2ZTYmh8xu/4KmBZZykYkhu0sEEvAFc05Rxy
iFAVo2HIHVeRGFS/ONsHjk4kG2+s++yumxUkhBIZL9qDiBvc9ab8Zq0I5Kt4I5rCeLpmSiWcGTJ1
EHsj6VB0UQaaf0+KOjt5V9KeJ2DmXBocEEr23ks7EpexBeRkbFAceyNv0bMO+QHVkV35I8KPl+gf
9lgEt0iMjshjPZyBHtklHhb3w3qS38S34m99m7+4S4/rtXyHWaBvbX7e9S/Fr4Z5O36afZ5NalB4
YKukZjh062r1cQiLhxgMH/Nwiw896V635JGE+q065ujteqEmeQAgz0wf9ayUnizN92EcP5S81u0k
hZ5MW+HexJR5pRy2n8OdJDTOt+6RHxBIcaQtewh0zjFR8UxUmshVN6TEh4ERz1d+tr+WYSduE86n
p0zgWYYePWDBOb2ItUEL1972HM/DD2MyUEUfUDxxxmhEpIXxXQYcD29CdEZjllm4H14GTG22+Ykv
1UUrd1s+JArHsZ2lQMY76zx8RH/W1cYN8kw/QWO3scH6xaMJK7z+GGzX/fiNJOfP+m8JRyD1Fxwj
zRnv/ssmUYpKI+4edBrNWPIK/8uVSlFe3AQCCvxfwvPeW2/4SMJWkwmEMcmUmT7p2oJKl194L78O
TzvxjvWq/4qOfYAdApOmV9/VkEgsf22jPc7Ik/w7+ZJDidH3/F4dxXfk3T+xauLj5jEq9e2egoiQ
gUih9Ix7Y90W4JmUDzlaiNeQJNJ+RTWwOooPkv8IO48d2dE1u75K445FiN4Iag0iggwGw7t0EyIt
vfd8ei2WRlcC1JNCoU6dzDDkz8/svXb63ZchIBwd32GhJ8HJrypWak1CEOjTzIRjqTeSE0TiK1Oq
RHq21UdlvjcFsZCcAOtYIqbZRpI6cMPQdvE7gKsg997yhTLqybX1WNsRwanfubXCMxRPDGOhpHja
MtM4xRW2bOTY6OMgi3pG+ASMzqJNiZDznzvOWTjvuIDMDcvtBBViSKTbmrUL16u4H7D6aEsIMWxl
02aA1hMACcQwPzBehK4rifuSOkKFMrdHrzGyKkvZiU1ZWJ64nVvhrWLIWRS55cbSHh4TKFWLR4nU
WJ81dg+MvoqysUoZtQbtQxEquKlQr/rS4JWa9koVNBQXvFE9F4exptxSJ56Q6370qu6CP44MxRZ/
8Y+4INHWV1UG/RTW+deE4IxKbpr14UTZBlUCy88FDyYiIvjfhDxdjeyD7Uc93UXlEaiPvN+OvO0Z
l5joFssIkfrazgiMtRnpYNLScYjFh0DfSyVmWe3GB42pZZkllC9RAp7yju6kDLYC9iB6Imu8j/OJ
sZBfXJr5SJOlAU7R1n3MJ7UtODaJPYJzzQW+PPiZAbDpLn03oY7MXq3B63OHKAoU8n1yagdb1GmZ
Vs15holTrBvLmdBszDeuknJDE9iTKsrxxZn/jZ/GVw6l7mCp0NVDkh2EcIe/u49clIVMjBTjoDJP
6o6sPgX8oUwFtNxpcFlWPDdsH7bmkh5r+2vrp3otXkMyytRN4G/gILCm1Ru2nOdAozHsdwz7Oi4L
geOCc0N2RdmVodF1KnXsmRZIh22gHeGBYY7zUjKtgdUvOo8NeZUXVX4G1kO03k0qp8lLIhQiKwi8
KyamYf+uKK9KfOrwpObFgRaVFS7luyW4M+Y07TR1e2s8+uJBIrFr2dTDzHIa1X1254D8mgHH/BXR
JgSpiakerFn9wLwVpqPKDlDDBsIcAvQLrjaO5V2mXVhm/XXNrmqOuer16S5V0IlviY6rHo2JB/Fs
Ke9xdRH0/ZhvR4B2mZ2DEEyOCR45ctFBCLL4+4YKEGPWe42w5HEJMnU27nyySQwO7TD3Vx5a4U+t
3Fn4woqUn1p8icxr1bN2cLXka+wfRsRQ8tK1J5MSOPghYsPoHoTGsB2nz05UF9R1n+xF9vuk91G5
0hBNpD8fKvkkZKwlXYWD+BT8oP1cmuWNGmxM5oHwsazxrAiHqHw0+TmBQNLcSLZZUryZPQewvv7x
dsYX9ohcnrhJV5jey9LzoQlyHzvBCEFsDzGrLfajcKmAxhAvuGOeOqNfYEEHa4ipH7HxGFtf2yPj
XOOonjMcd+ZvE2DPfZGLowAsCH1btgWHa+TgD7YJASvSQROZQW8Ggm0gT3lR7jYTIjyn0fa0+poM
naKhciEt5xCcGrJLkuXEwu7PMUaTRk1XrCunKs98PQT39cYexWxrkiW/12dHnZ36ZPZLJtrEI8CB
C7epj+GvdBGTYxyduvyli3Zm+9RBoHG5Fh4fN4E75njw9Wv6THsbDY95qnAuLWltMHaX1D9SFjLH
Z7xkj0fhnbtm6F/a/JPOoYZ0BnpqSV1dtUd25ye4ChXG9XFPXvtfUq6INSp1ODeIVglb4qJJynP5
aZo7+EHm27DL7gBmThMnMSfWm34sbKCBK5q7FcCGE1Fyof4PT5pB4890H58NnWqxMYh8WJfbkdMV
fHLg9JRvNK7cu4qNk81gqAutbbCNBJKxXaKVSZCCrpZgpxnZ1ZQcs0YvHJW4mWYiFwuoB2bjdfOY
UBEhImG0yjM+H1aVq21GvlnOXgrDG8I5T6FzpfBF8wt7F+66fBGFkCGhNcSbeVB+0qNeCYItFXA1
FfHUchqTqtfYDAVSHAvKbazf5vLaoVEV6Cbp1EkyhHWEMmR2c2YI2nckX3H9VHRcK0Z/DIZqelkk
wnj0SK8GSr1mXYmYh8qR4dPCRQjX/VtNQpK8ln3KQm5LplDDIkun1GU8nCIOVZ1MxayE/saGvpVF
x6w6WdYW6TbTR+pugbxfbnKwnlvgo2oBusxTQcQwJK+3+PFYvmYuoojpD/AgwgYkC4Z0kSYcS4t1
z/xcsAPnmb4MeaIDeU+lgvd4sO5lDbi6U0As8hfnACOHDWVfzGgPlRsVI3RuV1qIsRqFcBbAPfD8
qyLjAqWiqb+nfsNgW3CZPfiqw8IKOS3/5H1QPVOzN596tlE9Nown496/8dZZeeVwMsnTReOMyvZg
/CjvyMbgxq5I6h7UtfQMr8k9Pio7YmdRZ3O800fR6OKIXWFGz4erWCIoOnO6NwapOSea7XrchtAe
oLiAmLkMks3OQkVB6u8rpNjWRroo/3jcab9K5pOozFfBW0RSmLrXzZWPoIjeiMnLB/qjYTc/5a/k
LnMXbasz2ZgCJxzhqUsmqPrFU/A4nopLehP+uMyqXUI7j2OPy6J1ueH5CTOCtNGxCnRJa2KHLdkh
jNkomEaBh9yMwX16TXJk9uuOB9IrBTkPEDdhvXUrXjXY0QxmC493u+zxQNv1LBMX670xoKj7VQjn
pjvlxRXLY9yVkWSCMvTXDGTVf8p7RJo8KYV4zy8R3uvBRnWeezD+aYra1T3+oC0QdvCa1a/2dwkj
/sDEaONovPOQV1766/hJZT+RE/pHBOgN9qlkbridC+zCkIaYAfC7mCuhIHGadi8EYIJgqto5bmaY
j8lm6B1eev7Bz7+2v2QUcQjxLqNXHzoReQuoXqtdNLu0n4PBTv0wsamm8oixVDNL4R/lW/6t3cVr
/k2NyehtaW//sAwy9KZSaTxtF24bNn3LTw6HXdgt1IL4yUc14EEAsmdthB9uMIRAEpG2a5SyHCQU
sOjM6d9pg5aLC1YEuAO0Uv7GMOAzMi3m23H1CpavHVPO8F9oYn6yfXgYrsmL9B1jV79yYaNh1zRE
D3ZgQCNZWavywcRMh/QM4Yf6CxkgK5AVFzwY0LhEhPhDdUndygtiAU2zzPZ7A3mZiGWSmJcw5f6I
fweo0FdlOhRWVGtMq1gUcPyKuLw4Wn8qRng8a0w4uRQ1YAcfJh55mtNt9KpBhEMsepZLhvQnLNZK
Z0tcV+Qp8mJQNn2LH3Vw49bkYzSPwYt8mi/8FBs7lj3t0lN6C28tg8LJKTekRCLhJr6IqAGwWTAf
10m9AXaGuSS95V7+a6EGWGlPNdwYIT38iadnqS3MzJAnIppPeE10K9+MMnW0b8vazZ547IGmrLe1
SZLlyv9ariMIm9Sh6Efwv4bI0zylPUvxaRy3wmW4x3v4RoDXirdOcDC6G38kqdbQOn+5FbnQCmE9
HjkzsmmPSYInQ1hdcP9bMrmwbgQBhARJrhiu227Yj+Ev5Xrjsn5XImSn9mA4CbM9AdPEkSNQLb/l
BSm3wp7HEED5Duvr7JQBxhbhwuJ70URDHcamzJO42uYqqxZcPtfO3zMS8FuH/ZVMKh3ZZua2Mpgo
470GtuQg3LLYNuZQRddkFiOzt/7CYkvbB15nZb4WbBaRILTpNi3yDUE/ZL/RLs+ktdQYM5EE7TT4
B8hNePKm4LRAFe8FJjIkfSU/BCERcUwGCJewyhgkcyfZ7Y2XCD479xS4rs5JlF3W/UoNhTPj0i3B
Kz0LdJ/ftZW4eMRN9U6D/x0y8ePBpq6YSev5rhpe6oTyYK2bToD6Vd21pFNzjAFz7W3u8JQsKagn
70wadJRZEcZcxDAHv/D4E352wHNLpruwZejHw65WX5vwXffXf8g7VSwolkP56ZuPYr6Z/n4CmR9v
VZRKnVPoXqB7U0PK3d6I91V2VPVjUuyYM/C1jzKf6a5o137vpMHO73D/rYjzrgC8vcA/Rk8pxB5x
V0a+gYcAwh2sLdBUhFKsSpgtiBKQGdoB0BCbAqcQyZQVdyr5BQfKVApRK1nlL8X7/Jz/+TDYusBm
m6CqCMsjagS5wNM6BFTB7BqpCzv9JZU9ESj3kC8fZPEQW/ZyjcIQRz4Ep7EHOrKejZPxS84ezUZS
eEbnot2uqMuzm6Wc/LJebXIu+fRY0tS254EAgWTvm5goXQP4CiLu0g4UxGYO/R/qEtpnIAzIh0cG
UVcsS3WF25AZwAaBu4yujkIECoq+sRgMtCsqeUZCPxjxWA40hhP5ezyqXC3RjATWTbfh5IUoX0ev
JbyaVg8yxZJGuVGBniW2r7ht71oC8p9d3B8x/0rRt8kjx8/YJWM9tvn6GA+YxSYsHCy5lbrlIuEB
ww9iVTP0LCxXnA9DuyXvln1UEdgm2wdaT6ATMGEKl1k3C6e5xve1Y5XB+Qmehcqyk2HtIDB61YUN
dD9p3qbz1rcco7jJKJ64QYBpCEyeNqNld0CCkxOdHZov9F4qpHZA8MKe65zPXhyRUUCeuRIeKaM9
jfcl/oIC+TlSuHMtbEk0LLAISBsKvz56CsFNqulI+Mm0uFBXaOPxa+zQ7BQqrglPoRHtTgZdIspw
8J1UVoD+sy3zc1bs3IBL/QEL+592jPpHZy0ELkGmTdmyu0056PnE4m3UO9zs9ZFSRJq8pvTorGl6
U5QwyZ7PX2esF4Z46a8agHL9mOnncrpCpybwvDFXQ8nk4NDCcizcRqNHOkTmI+1Bdh8CKpulprAj
bjFa5Tk/lNGlMB2euBUOLAh3Atd8cZQnl4lZH7Ls8Vp4FvkzI3Ej2scIOQJvJgGi3TQcIeYjsR6x
zKV6LTr689dK4ITfi8ABfQAs7X4yPEG/CBMJCWtCf+TCS9JjjfGSJYEBf/aS0XpG8L0WpDRA3Q0f
onXhMR5qmzg95dNDgd7Yx3+VIP743AJtgDqmYxw3ilwNfBDcl4zPrOsAJ2LCACc7Q/4m60c1AP5n
HrTxKoJECHmY26K4mREpfid44O05Yvppxt1VLpBumiphtLodc5ekLpomVvUq834mknD2JVf/ZyaF
jGAYNvnkYLdFd6Ai35hsK7CnfM9G1Jc8IT4wfqFMmpyp2GMCSjtPwTJEGdzYMbMc3a1h5jckQCCS
wu5ADPyWqwtxEh8/22cZl7LhxkzmMz4BIHtMqg9QcubQDgkyR7dB32NucBskxR8WkC7fWwnikzVi
CabuYQfYW75bIjl+NmmdQmTLEIDwg8L5CeziT8H8B2CI7am6/F1xsQdS9dhs3Yzc+SmIj6FRy9nU
NPtcu+gqupS1gZ0/5ajaKSbhCMx3arri01gcA9I+6mhvMvWWiiOhXu0737GaHg24J3YBKjC2y8Cl
sGIKzRdVxoxhtqw3AbNSumyUd2PHAiY8Vq9sQN32yeGQsc61+6dIgzmOzExW1OCsH1CODCNQ6Bkf
WYGKc2ww8rWl2m7nOfhQ6sDLtwwLSULkFyLWp2ryT4Obne8Z2i7Wlpwt85oKnWlp9ZAd0+lP6n58
jsiJOOOeYUDvGew69mREtdCQMB6Tw/cmcpovHlcW6SjTQdggpbAeQXZMMWsC+9j0+iVDCMQG8QOM
Bz3Ea/uhItNekXjb2YzAwOl+tywUmNV/jGCDPF6Fpa/gTzm0HpCUS1cGH8ddBaHDwWcIp1Ts0V86
Ku0IP0AlDoIh7gpj+ZbHmQnHdjG/8MwpWm9ZHQiXiYsDwRraE3PeSKlXYYetNwYmehFnHDyJy9w6
Q82WdsW7pCOIq396CTJj+NjSE1VDGWFE3Fi/ab6poVwlrlI7LTORASnj0+9siy+GD45kqc5bslQT
8Hm5QPVGfVlMOGtr9TSjfvYRX1i/Omlcq2yqvHlW91pf7MEWHJpA+PbjFn1HY2uS4fhF/4MAt9yp
evQRxdbLT6RwLJxllTjIZ9e/WN2RKgB7PulK7G1NuCCgqQsW3NF5Jt8Ao00v7SsAB8YiS6PLyyLc
VRR0ZM2TnOHJhNlApylcnmWyhgzyc45/qhkJ2NagE9PutRqsx/GRJ5SsJ5XjJFnXp4kaXtzK8smo
yUK/kPBEmBKvGS45daVENAlBcjM7Dw5kRwdpwDeUPS2k+hVC/kNg0F9BD2fcRU0QrpZBDQI8dWN1
O9SIovQJkqT3oT+2F6HbKUwustVEj6vseMMYF6R+l7PXCClPmXKQEoVcdQu6HQkqO4ZkXQhMVpxI
3yUag6ejBuoLHYHAHb20ERR+iwgUI+lCHdippkMA8+B2hidOP37hVgE2/WtqHWToPc22Zo8auX3k
cTSGwJ5qj5XrwJT5PEBtwTXHxzUu8REMcohcwVEIC8mVQ2JDWq8tTmL5MBnj5y+T5Un1HkdDEbjY
TyuQxYf5t1acjk2oLGyM6BgNy+y4Hh+zKB+AkJBLC5aesoBaxy6jUxM9hupu9i8RSHYUUmlxYPYl
Z7tWvQwAUAX9gF5DiL4rleAoJqcHBY4tfizx1qSPNP+KkMoxSt1RWpcs0FHRWNeqfW0hegyXngSF
2Svrtcb60j8l/lNkyIo5Ao//d1HbQ/dqytEtMYejVLevowAKsQ4YUdM8hnjJYz78n1Qsww3DN1gn
JEYobkbIjSDtcXFxrAmAXdcd66Fxk/kw7DSbLPNx29x56hL6N1u3MPscYWJgDad5a4nA4+WSVUO4
ynwQVZyuu6xyxfmFHU8/HkPgT+h5sr265NYxpGWTZ6ySe/RGlSSHtq7ZnCRJg/BjId8DNWDkco5j
jc4ObvSca5Cz7kGSveiEZqXivZzHAcZ89i5ESGEr1XQVC4KMluKApxVs8tcgC6ka/ZoDQRGoDkO0
Y0VN9IBKSyOoKERqFo9cS9lbaR5wwcUlI0dO09GZqjdRn9iku+kLvdc3Ks+pu1iBN27rU/RTCAhd
7J5uCmTh3kBBo1FZI76oyUDxahCVYqKuYsRzY/nTjfcKoiRaWPLQUttCgoAnFUZ7E9iLRYq0BGMf
Zq6oEZ3ybiF8X7LsjHnatKBkWJejoOMBKzl4QpD4ohTOCXiiBBBcRFlEzciPOHnFTkiBD5tbz84a
0lA2W+48Piv1RSwFbnrXgIDU33IEDkm54Fs9gXEzUjPUSe2LBpEljzYzDHDu8kC/Rf65qB5kdBuS
VySHNDqasDSIha+LLXlfFts+Hv2oeTFiC7xS5srC1hjtciZLbic/5Ggb+Tch21U8wIdvtVmy3nFd
07n2P6NxjahPNSKC5lutfVT0r6O3YBaClX5Idvo/H0GzsRiVKqD+aLrTJYKivI3xMWFddmgOY4ZM
yU3kP+Y4GlxWHyr9fsRewA3IEjs9aNNqApzLC4u2cMq5qvIOYSCpfSQq1napn6bh0oLFSfcagis7
/TMVO0CuSsOfCB8wAqPXmAEpKOgM+jy7UoqQ2K4qUpnoDrroErYnsjyseq8pZ7VAcqRMj74V75Iy
6Nsq4h6bJIJVovlF79gStp5lZucKzDDFI1huZgiEvqFZRpNWuzmY0ff4eGX4w9hpAeUlJ6Y0851t
VSSvDZ1Np91Y4OqRrOHhc7PsXJqv7cLk2Xa1l1qQ7mwx2kgW4CwCIRkW0S94PFqnFFbEis1NAyxD
R7q5Uq6aN+ym+4SaLN0GvtN+ND/BD8jjAdpdyEDjgJPR7xjaslVgMvORwrIwXQv7brEVQFkRCrJh
R7UN4M0gOdKfDL1KptURC6BjFT/6noPysw08VqoR5Ssr/y9uNQLcWLbQcGI1zg+R4vIglPprxIXU
0fGtRpSC6I0t+NrrvCRm7MRBhCSLCpehY8SMndlSSRm2UYojhqwc9d8301ROIGPJ5WHY5tAt6bAc
fqraDjD4IJ8E34Xhl2hr5RSPHltTHPBM3zPslOA32rsFkEvfyjwNZlR2Vx0PjS5to3Z+mVQSFAbw
JTIRxglW/UAr4ZRY6K+GFvacbNLf6XO6muSBbVUK5Nys86dUUc5LYguCDdE9c0yGucdxtlkhMbgp
3q15bWKAGDfx5GrVoShpp4miwX6xF62t3rh87tO9RS9okZ+0ndLDZ1CdNVxV077CxZcidLXJcIkY
hJcXK98O7EiRIvHMQ9rGUzDE0Mds5F1J3tL2NMj3VqfSWTIYOnXDXcadoTO6L+l5ji3sIK5pjXRx
xL24S67zV2PaJOxkx2S8csbg7Sb1Bmplw45xXm4ENGqSuo9MAAGMubxEpixfK+USs9jiv4P1AYQT
lWPimWg6TExVjJFxfK85arwRYYzhasUlkA8mcd0iemN23mv+GhELeX4hRTJXSBvw5uaihI+s8RJy
qYD8nMdsS6qjwMpG50zbSvKupNKej74JkszrcXdoKPrtQl6CYDiftaeAzIvPOYfOSUe5rOIExVVQ
kBqMPkHoGmaMiFDFRKNg2ZbWmXSpZiesTuw6YQ5B8Ix3UcJi/15kTvdjIOXDqddTTm8k5Lb+sQXF
55+UJWN85497MwSYgRFkzalr0ITGB7+hcjyKvkfUoyZ6BdQLuFD9seJpkmNEOJEiRKoaSKTS8GYN
gzzf3MYibqB7J/JU/A7BTDWg/73SYHDIoMCRWRZlTo6HnsUQFw+6EIQnkluX+xJW7OywjcsuFpJj
JvmNq/Ak43rmGpEUp0i0d72l8egj6Ni9vwBpTcsLJDzao29GdhPyI8dnWLGGXWEPH5heTkSsu9q0
7T8kgJSEnac2AYs2/nH2wywqeLpT4EGspCYC+ChM25boRrQ4yDxAFkWoQ9dMW0kMAu7eWJA2oSZx
5MlTCla840bOLmaqSdsqYDES91gMe6E55YGIzMqAMjQv7FBVCr6tCgpt6ONc0+iQdBn3dM1HGpdD
se5qn+8d0OPciH9GMTlxaiEU7PU/JRFyrx5VlGK4VQoysJ26PLVy+QokE19Eo2EkpOCJ2qmBbdv8
lkM/s0GDd530k+BEcguYqdnXMqNQn5kPe19P1wjKeCkQ5+ocU8jPW+wFSJt5x7KE14Q7r9APCrQF
9mZce/qMV7sUbYtsvgklRKlyfYHoLyqmR8IstscBw+Xc4C5oMyGh+ZYOYTYPl2gyMcm1e6snPDkV
f00ilwCCRdGNqikmuFnWXhLlkhUfdftk3WRidnsUZCFo4TGvvzv5RR3YN1bHyj8ak038BymfRJXC
INH0R6LcBQtSNqNscW8QyNJsJEaVHObtTaAjkst3Ub8Nw73A9kj1N3S7wbqV5Qv3iaxzdW6Tgxrc
ZImB32Kc6DDp4FSPv+II+jC32CR4fPeqftNzFmT+p1qwp9yFykMFLdcoDDXdwXxa2n6cd4RRtTkA
0xdCdeUOyMReZUgxGkK0Z0FCExLSYFTDW1xuTeJU/sqY6PO1T1VnSQ+lOfQ4sPKfApZfgLvZt2zm
zwww1nWgIaeTPY5OhE6/IwlWkRl8taVl8bcHTAK++qmWrEb8DKC8CcWRBnNgZp/VQP06Otcgkxsm
f1/0vARhwauRg59BALs4KYtrlGY0IpNCT/jrcRgj5KNOSixU07IIh4QEBkEoTZbEdJ9yuDfmjyID
so8akTBjph76ByjNqXZlgyo6mS1tMw33kbQF8pGtqGSaon9pAYdQmSJJCS3iH2Vs/l+N9aRimU+9
+CgRUIj+X0SRLw0/cmyH2U4JX4f4IlovEmGuDZFl4YUvOG1ugnXRalwip7K+c7qTJ1aEXgPIB31j
V3ULeZ0eV6/oOzzT4IHa72tkewHbOvNdoPQBvyMPTlyZdA0aWWEW4XyRjIJj30N/abnmKf9+rVzg
94owgoTFOsF61IDMchKLJwPrdqIgvcaIWYZrLUOGFglr1EFysWwq20uGaWj8qAFlcPb3WDHAF70N
GH75CKMAUtJwbeJtopyi8Dv0LyYPFqn4qQTMHCdBcXg2R+FPpJ0U9LRDwf/+6OoPgnJL8UteMl8U
duECbE1UELr51VO/T1itnRydcS4+KlZUWfvOEKMqH1rlyANf4dwC1LMT7ZIrT5HbNgr/sFIVZlav
2NBHRf4aSm3n1ibbwDBkCy4AXvGnV18TjkEzAl9tzu/zX1u9lDFSIk7TEsuDJr9XIGIlcEfCN04D
Fpw+eRH1XtAfk8GkfwO3TYfiGIrPTNIvY51wth6b92E69eVpLn9pihTuAegITGZYdIfZthu2bclj
0Injx9A/qrnHLfGX5oSUxPu83stIA63m08pOOaQB9ThQFNQZ4e/GymcbiaW6JBiawzQ+tponRQ/5
kuS3Umndjp+7JMf38xc8SkvvVpr0qXdnBW6NgcDhLZQ/LdlNBi9vDh0wv3oPWSFEKcXOopP2Jn8/
rUYiSFrWMRD70nlVGu8ZYiKInCpM+oGFxdNPoidxjKMQ3XWiZbVHltxG6Shl90Zm9PwZ+c8EeVkb
vOXs+kCCtY+Q7wFpyvyRnwLEgLFLdPZ8Sh4lpuOBX6geUB8tbO0MA0+9kzype3I78LnJwJWh5kzB
J/woo7vVijdGd1QdZUkK6zo/sXrTzWcPcQm1cVZSPDBHdRaYk3XLki/qLQS7VC4tJ2ec3NPiO/Gj
EGJw6hn5QCKaAGVY4U5m1cvKmesRrqMpXcL8PkvHLNjTSGdA4BR2I+kykmP/M/nyuuV+9Ju9oF06
qiwO0lG4S+U+Rbk9smhDYIrPsTyGaKb18qhGT3WgCFlJmqeR+IWkXnHTfGdGX+SbqtmBVHZtQdvu
xjX9Tppt5Z9oOKbNa66dc7zxGnvwZi/Cx57B/rxNEmqaTmbd3/WgAHxgdcRfKH8lsvYORiNfkazc
hN8gsPFWi/uVDgkwNh8GX/YweMEAoXNCNMNzNH/P4g8dMnbCZJnNzyGmTe9fJ+Um545W7TVkbtpF
7jAyx1shOpvyXcux1VVOk72P066l6mm7p2K+pt2nLjpJBGz6yVMuaqqdRAhE6TMx6utbZm6LdFgM
uSUqUCkU1yYAzcq3LZmKRwxNEjfQXkQTK9qc6VaTgwcxc+keKtYtkUDCiQLfkJxbnhChOOvFCtXr
u1SPHGI5bjG53QW4sChP8VxGYvvW6s4Q7KneFfC52T2JPlPlOo6fcnpIMIcZ9M0DeFOQMJl8oVOU
po9iAp3saB+cW3Xx3UUs+YELQyxTD2K5a42Lrh+FWmOIeuVZgs4idK36maBwkjh2fPEW188eY4Ga
PuoQ4NlGSd1APaQU44egYUGJGCLfcC0wAazLdS0/2AIWyrcqXKfwUn9VhhOwBIKTzzZvSyBioW1A
krQ6lLs3aUasrkqYlF+t6Uuq7kkNhmv41oz3ZEAB4zAj7Cw3l49R+1D9ZcpQxLc2OM76vgQ0J251
1mus6Xlali8GCEIte1X9XdbvlerQAbIvf4f0Y5pPRvWSNNB5v/LcM+YtRZeRMtwAsQDtBkbhX8dy
ukuZiaFtoB/uWPjoboc3MHTIjzSMU8wu3RwvnHDksCH7Vf6C7NBxTyecO4js0fKw1CyDdczLKNBH
UDjShREZfmjRliPqlj1ZtQle9H0X2D+hr8liiqVN9qsPTT4TbmjCpNcvpfKJotHKPW59I/8NofD5
lzZDLOFW0YcPeyaN+bfDvK18L/xKStISZZGiqIlsVTjKNfUXseDhZ19/Nwb1lfHWZ5usPkbqQfPv
vvrTZn8GVvn4VTSfMTrdmvp6Ye3tAgbVpHFlnpbr4AWuPqRzLMKMIQRUG92B98DsSWgOBcbRFCNB
NSNVZiY/ZLJbF5budDp4TqGPUGDKh38u5SFj85ZSzQQIfI36Qs8Sisdx7FaphsBD92/Q9tNyz3i4
oaMQPIk8OwZlOpoXoSZR2H9ngT3Xz6E4Dv62rWCooxQhCIkCh/gQuBnzIUnOwibPviT1LmZX5KUx
T09CSCy+ZFDZfwO8mvDKpNlsKuiWF/0wyhxCXhpf+wYKvfbFIySqjq9Ww9CnC2nnTdmnToJrzlZv
8tCqyqbbHHj6Iso0qeG1OoBf+tcRwzmUO7N8l/HpEeNgW8ni/nH94iyNTx28YtNslfG9nresVhvt
2QgPxuYFVS2nRL2RprMmYDIIexbUVxHjrvIbqGv+cJBOInK8fMObqYK9CEoYzm3PKB7+Ccp8uxog
hF3qgRQx/JCEvDBJqUkI5JT4p0cei5d0hjH1VsBwLC7ZTm7eOOtW1uwa1slANBQgiJdOc+VwGevD
PdC+e3xkg0la5nrUN9HgqcqlUE4ha1DUbnEHdVuE+7ZWqyV2VMDSKVzS9JU0QRMZi38JgNjFxqYv
0MB6iE1z4dJFSAbgfyjekDmx5NIgWp+8yFoXgGjsEY+KJrzwcLWc4Fr8rnf9pYkNLzmz1W7BR2B+
RhTMvG44FeEJyKgV4zm+YQAsk5e+5AGsnVLMddHcM0R+L7vztKyEWCq1u0wkjRR65C4PkLlBcMVn
bXOppTXU7LWYP9TK1seL6l+pkXLlTWYvpp96QBF/fDd8oKns9co1ZiT4O0/vc81t1lFp5kcZTx3e
n9ALEjaah4yzjFSURPsok0tlog8B/UHVHXnj7MUz09/rJH73BB+4U0XKJrrFZYAmW25qrNtrNh8m
lPbEGuGwb9cq2VG0ubzWpMSvC1PpwIXPAKfHkETA1GyPPSuMVVrd5IwS8qWuOhmnxhtzFwkBKF/C
8EmfGyrv7P+YbppM06o1b0nQHP52YdwmTBVvjQrUZDuTxxQRi2CvQO9GLYlgLMSBjfzrP/77//qf
3+P/CH6LS5FOQZH/R95lzE3ytvnPf6nyv/6j/D//effzn//SdE02VEtRdUNVRVVSDYU///68RXnA
/y39N9NoTWWsJ5LbEqc0wQWspz88JyayqZQwHPIGQfY5MEmSHLO8BLqtnmDerhj6SwQmq8gULuyg
5tBVtXNDmkP+Vk7b5h9Qhxide2Tv4lrJYUf+F69c1v7tlZuSqYiiKQM6F1XdUmVD//dX7g/akBg+
+/4krCrwektyuNZdLW1hpPQCaweEJX4YwJLrtYMvwHOTZ0l5E4moKJTa/xoshUXDMNP115aAFMlg
cyW2N4M32MX1uU9M49LqKso88PMbUwmsbdP75///NyAb//4++Nh1ug1J1RRJ1AxdN/+v92GSgFJm
RCfVIY5usYToFanoYOQw6y+DgYkoaJATyGmhXium/WI9XDola46WbAinyvQt6rzyq0pG4RSajsYK
4pDq0T02zcmzmoBCVREr3Cb9gObDck1pEO6GnvsnacrZBoSt8V98NZr1/74l2bIUWZENTTcUXf33
tzQwVPIL3YJ1rSO36RT9Vmd6jzBYjfaBn4qvYqBuB2Xs7lVDvlgedPPJDJtrOdXpbzRUwAkMhKBZ
8r+pO6/muo1s33+VKb/DF6EBNKrunAfuzJxESnpBkRKFnDM+/f1Btseb4K69jzxP94SZsml5sRsd
Vq/1D9e+emb0mrj5+z/SKEalNwg/FXb8YMW1c/nzP8ZGsy79+7RC+zHuRXvjosO0rOrOI8PA5q7I
csqDNjD3tkUgtEsCiD9VX22zvMKDM6lvSxVkuIDZthyzBj2IOoTBZ9NqM5Uhfspt1k8rgDZROyMf
bfKL0Jhg7hq149j3ekxn+Es7zVQKefG508Y0YxKU3BPYMD//KjbxPvu5eP7Pu/1b/dzP3zJGH3h+
PfvL/3nMEv7v/05/5j//zPs/8T9Xwbcyq7If9dF/avOWXb8kb9X8H3r3byb6n7/d8qV+efcXq7Sm
RnbXvJXD/VvVxPVf59D0T/5vf/ivt5//lschf/v3bxgtpvX0b/N4Pf/254+mc0vXOKf+c85N//4/
fzgN4N+/PQRvZfnyr8u3LH378MfeXqr6378pmvq7buuq7kjbslXpSBYpEgE/f2T8ztli2Y6uWlJI
tuZv/0qzsvb//Zvzu8P/cN5IXeiatPlJlTXTT6zfHV0DEyBNdrNjOPyhv8b/5zn8x4c7fC5rmphO
3r9PZqk6Kr+YFEI3TWGZH05m225qT5SIE4sx+FLKUP/uOBBpQpFFFNH6lmZKPBn99pOEWGVzA9tG
/tkr0Bp37cxcNb5PJUW0r0OFlcPYoHLhRhPoIAwnCewKJV8be2hNjLtS0ze1UiEuMPqI/rowJLEc
9uISBEHRxSs4QzpAacipbTypd8VFjfPAZNpbqzSxfEDjRtC+UqECA5MgYxQXybOWOSZaYu2LY6uv
iuGCs05AvKmZqS+0ZgIks9+SHjRN6Jqfmo6moiarOy8M7tRGp37dCpSwkghVCBOVtwJqkRPCiHLB
7mtCBT1YaE9B5T5ECA9krmuuejXTn1tVdTeqlMgPNvoI5Ftx0EkfCx2rHTOS+JskoCuMJoRsEmip
XYAVGGjMUYJG/VL30RlRtK3te5RipZk7L54RhHgm+DoIxsgum1tV5uLHmEX01bRkOC9UH/f0xPGv
TZ+i8mCiRVJ4Dl2ceqi/qKpOI32UgFVk5DYY5OkWiZDm1xPUT++ABg/6N1toSQiVOkJSr6gc39h4
/tht0rA3JgveWNUWpV1lj4PVm/eWqMfXImjh8FJwRrlXqNh1ZGYf35PXF0DYHA2bXQ1R0tJVMrKp
PrbQxsS6IGmGHNRN0KJjLBWwFnXTOTfeWMfIVDs+WEtdAWjZGUOEhD3onLqhSZgGPh5Ciek6iFDa
I+QhMjtqLFXiIlMSaPn30DNaZJZSSgSNnuSruvLie8sYXNjOWqsDZIiTnUAidVVEULFMzxlosCT6
s50I46HLI2enw/j84qjcKmelUmv3YWybTx3GWVeK2uWgQ4rsLHBp+jlRYr+xd1CnKrCZLgWftxBo
T4lChQwg+kq5R10VEdrYQ8Eya0FTJBJ2PAYlkZlhvu3TTKlShW6NnbSPnEBTW0eGUL402qRD3IH2
zUnd6Dfw5FDM8VNioglVFrI7D5XAXKva0KwbMQDVD2wFrKA7orZrxN8Cu0/WIjS4vEapBvSFg854
jWK1faszB5G/Ssm/a0VbAgooI/sskMCChjyEw2nFNumWiHXeGXmjAvmxU4oaheuBIrPJDHqJWExT
UI/IrCy5jVXKT21EkyFOsHkzyqC4KUeZbEQ/AMVxTZSzY94O0ISaZdGqCtC5CikWT0FnxjTAScVx
TiWx1cYH10f7aRgmCaMAIG9ZoiWW86t/92NgNrFQywvXzdFnV1VjZVeefmP5dv4sBggadmCbS03o
eAXGtUBF3AAkbIW95L0gO5Pi3mD/yJu0eEs0/HI0323WlmxAHwDsWNLB8F5Hx/UwRaUB0pZOdt5b
rfOdZKkDUVtGAKbqdNhopV5ehMLx7qLMBKfQTQz1MNJp/4Q2zgNeOZzHutlibNT0920YPLZp+CWy
o0Vc6TFomEiudLvloeYAK0VpRF1VWYqWeRgi81yMZfsYDmBv/dwF1qBRetCNbRWFGu/gDONsd7CK
oD+LhBbcDYH8Lgofp6qkbay7UWSZcTX6nUIPM3TUTR0WMV+k7VkGMrUBxiSqvfEcPYL7GanAFkc7
OB+M3rkNUtm/ZuRnCPqgXNlxtvPGTEtA2qIV/SbXrOQBuhfPfWdsf/hqhJJGpA7UyTKBf1mdGude
QynBH5wCF/RafU6TWtzJtCtppqWTKnKTIPOv9DR/Vb04z2Q+0F5RululICnPUtKhs9rqUBO2NLi1
lgl+dOiD/toxK0jp5ljYn1XJQVfFmv5apE14YTggQlPDCNB3wpDPSNFM9fPMXnQuWt9G1+Lba6uA
hnxFWChIGdpNkfC34du4zmvsVAibjzpCP3aIcnoYB/WNIZHArgvkx4Nct3GSKbxb2576CnbmwPox
cz85Z50M1CxaJ38ck0xD2FbzoZylEj0tXRbO9F6ywvPCSsR9m6cpJn9xDFvd9EFEpu6IVqUsLYhV
Rmze1brgJgqMlL5nI/3SW5UlrT8MGsZ+sugM1VvKReqrFznKFZssuEjDPH4hkYTi0XEpL8nVoZ23
ZEI42lCB8GqAxXqc+pdBqEI7cJowp8ZdUjqJwx9NgOu0K+iqJ9p5m0RbpRPAaNJtUg87S+1v2qp7
9ZET7Sa2dvCQqcV50gJOk5QuPKphaHv4/VUDty9Ei9ccrSuX3DXNYDcDLIiCTasX92PT0qoAcJ0b
wZuVUtOqEITt/KeSzqBbY/NSfOkSSOhDjYx5yxJRgUg1GSj22DsrNfw9IlyQB/fZAxLmYuKWIYgx
pKgh1J6DnkKIxRFMczMy+PhAm7k7JcpzTV1e1kBbbAXbkqpY6o5B3RJjo25Cc+AIb+loz/FraV9d
AN45D+zQpO1YZueNqZ8nCThZPrYZP7tQjRIK4gNJyajRl2igy4FSiKkKhPCuNUo3tLnopuLgVlZr
fUKXYw9W+hEqX58iCPlFO9L1Q2y1yFAUeOswdckkPgcKwk2KvHR0dDsEkjgVbm6TChgEt5T+bBl8
CkucsAfD+M5RsYtRgFMCUNsRyEioQokXQjSR1FI60DHgwzRQ9wPY3uZHpNK40x/lWFNNDs81Lf/W
1uZD6xd3SUBPvcJaNsREjgY55jzgWHqcqoObKiSLC18NfbgI8Jqqh9uAwlGlqbsKcpewvzocuIlC
/6gAomlRI/BBehUy3hUqDEilGuy17XCTjb29S+hl8XS5scpYo3rGXU39JjRt/GSbH8qATgG1ENvr
Fzbfv/Tp7lBiK1ECZzzA6qpdY7H60wqxPQ9dDVIn0yl/8CwuzvSAtGoZNSjuGgZ86NYNitdeyRCJ
1nPUQ4s8vHLyRP+WRhTrEvIomFplcmvKunEoKLkWrgyPwaan/4SNko3zNqZJRgUcBRRmEiNp2YKy
j0FJhx38BopWpf9YSP1CeDAnwDU1kGwMWwd5YMB4h42YDg5JLQ0XT9cedOAvuA0hc8+nVpV4mwyI
sBj3XlWuUvxke1bmUNLqs7yX0n7JBfp7NPiXasrdoEOVLZWH6YzQ8hCA+7D0AQV0rMOU2lyGkwCC
DxZaDREahVFSfGqSGqoqCzqwntqmepJ1ta6KRC5yduaZD78irQqxTOwU1HqxVuq3lMJcB/4hYjOp
mJ92ZrzUE+d8kEhD5z/SPt7pcG06+64DUF6Aei7lc0GjvwAp52Fvz+NyIZqcQrm9tnBURcUusSTb
TJ5xlgN1LBC2UID92wi90aIT+WIU7W3p9eVCybPvirwVibVqOvWqEMa9QD0MWERHT8krp+bD9wBk
YIBesHOpoaIDgFiDumeBOTehJwV8KFTIi2ralvfSRNRag6bDDNVusU7RndGpoSyboLwoDbSCpHXT
9wHFocpBYBmsOFrlWfysdTkCnZDi6wjVRQ1fX/htk7m0jmtEJT61EpGaxF36JQgDGuqhh5FBh1I1
UB+b5mCN6oDsSdb612gEVOwMywCOViXbq9JK7jydBw+kROE9+wjFUdha8Mi60TsPEIKx9RRxW3tP
La2rxniItKvYeBhAJftqveq0+C4yGKH5RTGQysqbRxejEepL1IIZuxV+7tJuo5oKv3DPeNBzTKCd
Wco6EkgMwywweVv1QoH19uijqwy4nJIgRT492hZl/KxmFfgq+Jlc8JwIty0Er1w4wObih8BiNGUI
nx1rooXSPxlTk8LKn8AQXMsB09iwWioFfLzU/WzomAo6FEz97NKW/veugdedgQEcG2wHNd0En2kp
YqUrFSY+CnrntaoV163IzO+Bm9CO7RYs2m7tjwbs7syUn6qih2yNWIRRmShGYEkpE/G1tmR5IUaV
nL5EWNDs/RrDmwjl3xxRdhpsn32v0a/NwbwHCOAtsqnJNYwg8eIKItOo1ZBJAzhDeefcjuBsECXr
nIexg6ul9zwmM9sFFYuNg5vRthj70MafRJhXgWapeDUVd+OISiWfSNlVTmFuQnRQaLmW8qLtivpc
lS4kMZ/mjwXExRMkzgHvGaihOlLi9PqbEEKiD9ckjNG5HYUjH/RCA1iqodWt16x7HpwJz+jga+5o
1xL7otoecN9r6/XYw0wrulDfhE0CZr/YpojkAzMul5XWPmpd9KhGBazh4Zt0LX89hvTNjVg9CxDI
0FApazCaQgJNYi5R8xAQ1aSPgVYdUqpkB8Cr7xX6dA7PX7ui40rWtTBbHxMgv7w1MvXWcQLlQVcH
fyttBaRsXCNyijdTWmIl6g2fHRGjvzmIwL8PStPa6aPrgFVpswdzQPiybRE5MVmPuNFxDKUm8LrQ
g0XQ9iqaI77LDYew4BiPNUJz5pun6PSnJGAaXU1/aMbwbEfWS+sUL50JK3yMzHOO6DfTbJi2prP6
ZVuw3bqyRf2N96hZ8wpWPe421iXddrO959DtwI8aNwNo9jzBh6CH82qO2XPHXoKunG/GGPq74VEf
t81urcj0qh6zZR7BV+k6kjMR0tOfzM8aSZ6BsmytU08co09eaV9TSEBrLzMfa728dFPjiQcmz1oA
AWyltUJtxEZt2MC4KQ0z9GfFNul6MH0g3OFdpKAz0/JKDLxjoTi5HtonbB2YOIi7vPYuflyUTmPv
S9bCGkHRMcR+JTfG9jFXzHir5x1i7P254tJjKFteMnDiKTTVtAiGXSPRa7UNeWNS1+AdiVF9NT0S
Sj9UgHO/ZhCINBcyatzBWUCDGRyt2VlrVfnWt82uLcGZ1QzM+exmErMQGuuG2eFXMonflhFMCujj
plctQmlByG1BvetBad0bKcJN5sQEmdCrfutfxk7TL6tERSsgsHfm2F/lerRR4+RRH23kuqLhLBvB
lCommIQfXV5cxAF9J713PiU6tdC2RmI5Fy88cxGMuR9N/45SyroOmsdRGS+1wYp5GDdPdpltZR99
1lRr15cN2L+spps24LMAZzNS+DX7yAfub8DwoWpfwvc3L9NGv/eFhef5c+m4Z1X5eQhHc5G1+QNC
XahToTPjIKszCLqrYa7SelIB8gsO7coA8VpDmzblVErI002DSk4Gz7QVAz33elTPfDbKWVFk3wMZ
38ah+mkYixeTFYI6onwx0vA5jxFJbJQWSYlGAQUFhTfH66CGn6Zn+JGBQRv9O9dV1573RZBtNki3
Z3G+yDR7Y+cD6QCtMrt5Sly0JPrSRgYEPzh6OqYXWujbxYZxPrahvZaWbd3VAc09X2CVVMFNwAPJ
5pGWw+kdUEjVPbfFmTV1PoceVz6JbSNpYqpmAANL88tqShWESIFMhz2EqDTSk/Mkt5SNU7TONyPB
XMSzE40NGdRC3u1VUA90irRZv4V6pGMKCpzCMIRjmuasU2RlWpsKGW4nIcVxWS1aJAO7N9QRd+0K
EDWkM9hECBFcH487tT/el0Hfh531Eij3YUMImkf4oAq1pEJBxVGQzMytb3HShJ+avKJ5U3Z9uDke
eOofHQs8zcdeZ4z3Ze0qrLsoiNG4rpp6XTkttiY9FLiA/kF9djzeNJAP8SzdoHisGwbF5Pfx5Oi1
noJzn6krl3WC3PPgfj0e4dAXNKlb65bkv/iY7yNQigpsAVc3A9NpFR1KRs1b5AQnPtipKLO+nLDb
pim8dCuSCxNp7NRB2FU5MVeHvs3UL3OkVFVNl7O5cqmXj5kDb8aCzuE6w6NCBmkruACPmL4enzXt
cDCbMrUtbKlqUwNvbyGE1Ch5KaGPvCDPXsZw9Z1FCbPxvlr69y5W94BskBKBJkaScXs8+KnYs+Zg
6Igg7US0DSC7xpS9cpBcObYSkMaPBzr41Vh7fw1yauntDTIwI3gLNqtP8AbTXB/B9jqgwRvIf3SQ
mH+H0tX3ocreVZKSrDj/huURruGIWqCnGl/EE+x+zfN6O2zjSZrv+AhPTOV8fxWx7qujEW1HSvGB
f+egP1IhKGWU5YkFc2Iq9anlvjeVZh9EbQjzNCnMrz0NroXmkNl7lTROjGjWOf55IptCSKFbnJH2
/ET280gID5a3CwuMNGM0offCqR4kNIkxPHH+Hzqe9oPNzuESQHWW4twOCebJMj2gT4YMFsc/0cGZ
2xvQ9PO9mfM9jUa/H28jGS+p765kGwA/6dPsv4wzLZW9OCZ3SsrDY6tBZ/ABK2fFld3+0Zp915nd
R1ZoByeMg8iUpiGFY83OqNEujTEZY+qv2IkguvnQa6gTtwASERIskS9KJx7s8Qk8FXO29OiWUYMf
YsRBuldND+DPWydO91MRZllAOfqNbWvgDWuDt/bOyH4cH8HBXbo3a7Nlloy132vMmuJHFwGuRh67
tdYAlkX/5GTdCzRba4FV0SBoSeQrfFrUoL5FVzRCJyzXznrtH20em2tdFdLSLGd2hdDkEBn2LZR8
ofRSuL8eYbH++sQBJDEtXbN1YDGzD9PpWua2ebaNVJQDQJYmhvNDCbxdUMqn45EO7VJLtw3Vokdu
srzf7x7dMHVVI/vTo/zapG64GIrEWhR2fuILHYxj2AzKkSxUObuSMrLcokZONhkU87KsY/jBNS/b
Boe/ExicQ4va+juSM7uRZGSKiC7Otgkh5GnltdPXz/9gzgRQJcADugPO5/2cDVngmXqRb4ce/oLp
Y7pkVRnaiiBNjwc6OBRbo9dvg+wyrNmkDX7qe9xwW4vCHw9P+3HwiqtfD2FLaTuWNPjvefLV5IlW
KHUOfEBeUgZEZFiBGXg8xqFvvx9jdpBR6YxZE7ir18HGitS7EQttG8mQ/y7KbM9EBTWQxkZzSoPR
MOCIkcQe2Dcz/Xw8zqFDbX80s0NNwZMh7xpAg171XGflvaG0F1nSPAjqyP8gkqODvJIa54CYfX4h
HcsoswI+//hqp/2zbQDUCye30ylrPR7r4Df6O5Y52zWcQ2mnlMU2GPIfsibFcRttUajIqh2Pc2hJ
S1tqBvga2xLzMY31QNHJT7dl0d4H44AFK9Kw/1WI+VCqivfDYCfbyAhoeNU+rgCe353YN4fma28c
5iwhcDMtVUWSbkd6Xl3jfjW8dqc06ff/biiznRNZbpH1kEs5W0rqLrSCbKPdHI9xaiSzfRNoRltK
M9kCRvgCSOoyVepvgAnWx6Mc/O5SMy0+vQYMa3ZmVmle9LqXkd5aV7aboWhbnB+PcHAcEoyVqtqO
9qGkYaZZASYl2w4DZFwLdEuj0+Fx8vjE/v/5q87f9kDDbMFzVbWs+fEfN17fJA7eUD1qQ9Yqx8P4
Tk2ucrAWKcYRCkZqcI105H07HnmFjRs5ec9YVHeSqqDdn/h+B5+0+7/P7Fkpcl+aSos+wgp0Nr57
6leZbhS51eUFDNu1vRigESOnlp/BTjwR3JhWx7HJmJ1RFNvcPmGFqmOV3PUCewwk94MH4RpvQx1C
v6x0PBPzXleR3g0iqHi2QOX9DMpLi0hnRafprImMcfJb7rEd0aoxeS00LH/PuJoGGDORH2EI0un1
fWOEFL4LNzRWhUpb3/a8SaDATD+VPFHlqkxiGyUO2M5FIUR0TZcKyjD9JxupvaG2jLMswZxeL6h/
H1970xS/mwVNMwUXKCUMWwXkN1vdRtS3FoCBrY+/Y9VTKuQvoQ2Wq0RgqhH17oay7omTVJs2/zyo
KRxw04CZMRybTf3oWlESShVdbLLrIb5v0SoPrRqJUOTzzBbJKG/hOPGFITE2d41FPKonvr42nXIf
fgULCCXYbcsQ83HHslLwt9a3odyNzqNECMYd9GULk7Qv0VbDHlwpaWaIVYGpz/Ep/7DdmXLTNjRD
aI6qyZ+I8r1nX5q6pjq4aKA1g31hprID3xA5z9B9kk/HI3248H9GYp+rmiVUzZkdkMZI880sJjYL
uJ/uJsoQxfrpMXQiRf6Z1X+YTcewTZBXhs7/M9t7Q5KiMrtMUE4Gan3W7oJztCQu7Q36I9Faro4P
6uMpNo3KsTVpcV6qjOt9MEiAozP6Ytuu7c/QKMpHyAH5d7Hqt/ijQrHBb3eFysrSWzYnvpw25RIf
x/l36NmtNuaqbcQ2QpEawpUa/GM6rueV5z1qWbYch52RIhEZ5gAgTH97fNjTRpyF5pkjecizXrm/
p1W1N8UxYIF2pGLfA0JB8BvmE3wDqn4GGmaIL3mUBk9N9IebT9PoBkgKB+pUPJi/fIqhckHIYy8C
KsuHvF4gI5Y/NlBvQvUBOVlaJEP+lMLqDtvvyrgLUI88PugDC9iyeUeSZJukePNd6noOkD2JYito
0AoSZXCbmhcy/vVtAsqaU0AFhK3K+eot+3wASGpuTSccdtJJ7OtBqcLnMLN0/BXUvj6RgekfDl16
GA6IW2k4tjDV+QlgRN2QFUi1VitcTLxFUV6X0BJu07WkC/jTYfIeQuyD/2DQbroq9WvAz/EaJYGz
ERFtbvALVZ4py3BxfLa1U7/X9Dn21lhqqGNaT2JcS8gyqHk95Z+Nz94WiehzjKwXNjy7s1o8iu3k
V3Ii9nREvFvfszmZXUSm4o81CJGf5W3Mu6ftjLnzCnJhgnDHJ4y4TtxC04b5ENCgem/bBvglYxaw
zesaTlK2DUvli2ujj5r7tPlKHZvo40M7FWia9b1ZdasBIHzLs0uP4KN2zX3XjzeDcE99vsNxqCVB
49G5zaef78WBa6kBMEasNEweBfoVFQ61UGtOnEMHorBH2JSWSQlJzmtIqWmX1WgVyDK/Wt2usl/b
7svx+fpw7KiORUtFNSjBcpnMz3fN5QnmEcFMvOHcCp38XAcIdKpGeWgcGptd6FCfbDhP72fLdZLc
jvIKNZMY5ZnqVRrupoit1fGxnIoy21GhJyxXWuXWL/utM2IzZsvnxM5//bltgajBK4N6GK3R2VhS
JFwGPsvWdWvk2LOwwQXL5YZyBw/Rlw6ixIm98+Fc5hNR5IP7BqGW+ZsncLUv1Dyu6QehAJ8Wd34C
diUXt7nVffoHEyiJwI1n6h/O5kRtzdHxm21vQbeujMTa6p0v36wAv4lfjMRtJ6mNTXedyfBm54EM
k1hYubUFjJ+th1b5ojQ4PphO+w+SpXeBZueBIoH3idraqhu5sdcZTqLL/g5ZrgWuJ1swquqJWvnH
FgA1GEeoUz2U8qJhz0YG79ZVYmTXAFwts/voAl/ddbSokJhR3TPEC5bFr65HzLBU9pS0KTKbxrzn
oCVu7PipuzVEC+VWu9RLgaFADULWUv2745/tw1KcxZqlZD5w/lFr3G0cfi3HB7v+UeqgYGp5IvX7
sJEJQzmbsilLn6f6bMXzd3plEM62St6CGP3JyfsZvZ3jYzmU2hJFciqpgkRvnuQFdd0UYetucfxS
F/1l/b24i5fKCgNNXGGSpXEODWBbX4Fx6k8cuocWybvQs5NK15xC00p3K4s1shI77SLa0C+H6z0u
7HOdRQLw9fuJ4R74do4O75RcaGoXzLdcY/V+2Bh8O5yPEQy4ppRzFZyL2/a8+dwt7fPsVjzHb/JU
qjEtiXc3vwbhToMgR8+S0vT8WTR2VkkZhkoOGt/4Z5FaoWC/LZ8QZKm36rY6sRu0aW0cizddeHsX
c+C7IuiJFz2Fj/53UOrGNlyrXzAm9KF9ORtECVfODuQNhg/XWIj8cqYzjde0DCo+OgmnOlu7cREB
r9PzXQD5LS9wtx4fpbROXAnTIOaDNKgrWbAPbfmhtmQqqWmWcb2rQAn7FaRt7/LEavmQITIMoXEP
0POZXn6zW67n3WeNbbmzH1BKXGmYNcYXFY4a2qrcKEvzxHgOvGnfh5ttiCpueZAQbjo1MYCmvXQW
fXV3kNPWSLB2q+pXEyuGZ6q8oS243A4PnverRPeaoez7DMffygWbFsINQqSs/zKOoX1qBxyaSq4D
x7BM9gFvkPexCrsf7MrPd/03795eD5+8c3cdJst+1W6AmbEKj3+6Q2tjP9xsKoVmtlrk5bgep/El
gEuYFErtPh0P8vEwYf72xjS75dLMsuqAMdlNhfBdUrzqZoVXXZuiAuQ8H4/18Tag6qcZhkneSMlj
DnlIMjcLq7Ta9QLvkeHWVV481J+Oxzg0Hu5Pm0xe58E/B4qQprQFj5Rdg9zciB5Xg16LjRem+OUm
FwtvP9B0XO4dT4Xp+Nx41c7SH3tE14H+nSXixJP3wM1GEN1WHUF6anwoeqkAY4e6qDGRtjbo/y2w
JqZZu0g27rpaDktQ8OfxV7DBp1b6wVncizv9fG9wQUH6Pc2ie1VcK8/RHVJnyady+y3BqHxy57mD
nU/usDr+7X5+nPlpKCm6GSrvJI0F/j6sqrQWndV+p2686wS93B+4Dn8Bs3WGhOSD+4hsyTq/r9oz
9zPGkVt5Hbwe/wU+LlCTigZJrEPdZspZ3scP+lT30CDY9Y7afC0aTcVyWzg3LjpTn45H+jjBROJE
5jo16CmL2bZzKWwjS9vtXDDESYQBnAi7G7isX7SsPLWIDoyKZ6EmLApC2pTOvh+VLmzLdOKeqxL7
PfCf6grlSW+VkMt2S0RTgL0vzd0vj4/nB8HYiRbo2Oko3VtAg8t1VKT9zkwacRa77jeEMl7NrkIU
DlbA8VgHxwc0Y5IRmUqbs/GlLlIQBarl9YCIbRmuLVR0fSNZH49y4Isxor+jzPZ7K7TOTFGP8BXE
99nt51LB1K1NcL9qMv/EBjw4JGaPY4wq+4fcI9X7uMwwCWkt6rI4Cremdama49PxIR2MMkE0VJN1
iPjB+4805n2Xxu2wG2Hy6OGbn5a4tMUnhnLgDKP+KjUSdJIPioWzKHFg+IaCnbe6CV40xByvs3Mq
3ffxc7VGeR1mwmX5Nb2S18qJD/bx+qT4aQqLt5Rtiw+bOe+NOjGR4PLV8t4ZgfQrpex/fekRQ3Kf
MYMUWmfbOKtLHlGjxD9BoDGnGWmNNj3kji9uZA1/7ONfkgv532mB3ORvKSLTb2/11Uv+/4UgCJvt
iCBIlrzEwct7LRD+xB9aIKb2OxeFylcmjQZoMJWF/5ACEervYI94gpHBo5REYew/SiCaxo/4h9Xp
NUP52uEP/SkFomi/Wxz9PHDIInQSPWn/khbItLz/vtNIS6cWIeURqqWgOqz5ExiCo6CkqMLdhcK5
CC+tO29rbPFsX4dPhr8YV/WdvzrV7Xm/9v8MivSJ5OXCTTrPgvQs1WovQ9iusmFIoOzln0p/Zon+
nyH45elI6oI392zp2/CIq/SPceFYfhsvEQ74jgLxAj1aXHS0L3uf/PaPCdtHZE7lnQ/TuBduVv6x
QtmWw8A0eimo0lBB7R7fJBrIWCQves9E60z7pafFnyMkWaXJS70OZt7749HrgoD8kpCN+yy8RwOy
UdGeyPFnzfwPQYwZDscv8lYXI3TgetnhjNQuoy16cmh7nLkPGJ0skWN/CNan3rY/M6kP0/n32IzZ
nRnDZCvaHq8qrOwxydoY2/LZXaNnt1RvrDPU3Fbu/almxcGdsBdzdoOqUjESB2EBxEgmIceVz39h
GnB8ncy6MR8ndJZ5GEGQZuP01aYJ7f1NhDZvskSSq3kRT8XCX0JHRpf6sz0usEJI1qcepAe33t4o
p5/vZT7V8NcomybDiRB/EgTojo9xWnjHPt400XshaupCRmqxZuyoxuJGOn4NQWxUn+McMvbohyp/
r8Y/rq58RIyr/kRN4fAQJa0/EmVKQbOtj8z8oNfGNMX1Z89+jpG2PD7AGdThr4/4d4TZbo8LOcoG
Bdiz9ptzI8+bTbRBvzS59Lf6hbe07o+HOzWe2UYHoZza9FLZ6IXA0gTYFdotSIvgzns80Kxc+Me4
HNNSSbZooHGovP9y5ZiWAWk/wr/0MOtb8RZbG3+NESP3QKcuccvwTvcnDw2PzikcA248CyDe+6C1
2xZKXxAUmeMX6Cf1bird5RfaBgew+3A8w+DhxNF5MCTvGkroCGDxFH8fsrPgXQU9IcNOWaPAdubQ
sD0+l4dOkwmO+1eI2VQqbt1Vwuh1nNjhAmALnyEtwb44gfQ5EAa+FdfoT+TNh4dMZdWqUw6MBI2R
K73CjEYbqSRHp1YG+ct8T7+LM83o3p7uC7OwLf3nysAwyFsnqGvqMGYXwQqL2dWwlN61E+/wHdEv
ToG6Di1LislSpdhJ95B06H1wWcm8QAYeHdzL7JoiIdacqNeuq0sXQ17MTJaniskHZnU/oD279YxG
+MB50OoRGkR6C8/cH0n0S7jwn3vtXYzZsvf9rC3zqEdtCE/UQX9Gq/b4CjywyN8FmC3y1NITWQXM
mtDD8xjwU1trq+MhDt1m72LMVrmpVmMYmUxUellfBkgcfrJfTVwi7qZOQ7euXzDBKL6Av8I4JTw/
lUYeSvJo8msT8J3nG9p47xdGF2WxEocMUd+ANZRLtKfPxTJ/wqGEvb1KF6cizkpAf361vYizkx/v
QODpFRGxRgCphNWpOMc4naKXsrIukRHrf4w/Bv3sGne1xSLmf0/M+DSjs8v13ZDneyG20SCbfgFl
69655+gKL5SFehO/YLXD6Xyq1T1Dtfw1YGRcQWfRjFang2Fv4wuz9kr4zlO+QsW8WIiFwO/5R3BN
Ilgug/tgS9EP0/ZFs0alGZkEjN2Aa+tneIw/jk86VpXp4lR+eHBpwxT+65eaffex7TQUs5gEmafN
KtDQ1wnMendiqqd/y8ep/jvK7FuHCbJcpcbirotlv+aoQ1Jwm94oyc/8195AjM84eLf1Jro5deYd
PIH2Rjj7zLqfaREkd+58OBAxch6TKH4u0n9wrrOc/jPGn9i4vc+LZYCCVhAz2WtL/bxfFvfGFqUX
ezJ8tu8yEm6MWxbdAomU47N78BPyMFO5uUgI51Ux9P6sIpncaF0UFxTqR3pqnghxcA73QswOQNNp
1KGbQnRIw7j61WgOSyU5cQEfeiE5FPX+M5DZEZjWaVYHKVFMj7obRWEXGQVUb+hkod6EZMU1Ig5m
uqpuy01zIo+ZVsGHFboXe3Yr52qZMERiiw1eT+t2262rHRY5m+Pf6vAxT7lU8HAQULP+H2df1tw2
smT9ixCDfZmYuA9YSUqkREmWZb8gZMnCvu/49d8peqYFFvGx5H640d3h252sQmVWVubJc6jTmBeD
mDfkOdY4UL/ZRg9FZoPfS/1ocP9DBg9ZPZhPQH6tmpLTMpe5Huc/7dOnVO6HpjFOX3In76CugHCr
3ytAztWvtRUxE26qt/u/QW9hj7qbpxx0fPHp+Wkbd8lBP4LZ+Mg/E7ucBfHg2gSHO6grLcwOMle7
7hkoSoMIFnm9RoUdNZrRScyw2bX8GxSMFc/IC9ZeLzixnwaor+kXfFipZDfVY3GQncIDsaUpfUDA
0f5Cr2bdC/+xplO5FODindS2sDbO8QNmVMwYZaUKvF9GlNp68hEMtV3KPCRIQOYlxgcMBoLFaquB
iwswZ9b1uRrTP9dOz5eNA+i26gK/BoJaADUrTpXZFQRzcI4NB+Kcb+1shaoJvrLe+oIjkYNz6bCf
m0GFpGnGlxVPBxnz/ugCev0Ggtpmdg/MOsNpGcdIp+JS6A/gbCIrVSAOISWPvcE6R+TLXSxGAX4G
VWyBNALw54u7AzyHzZjVsIDXNjgUoZfZhzYHzStfeMSsk6NCME6OQS4Z3/+beLSwTCUlGUiB47yH
ZdkL35W78D1/j98BEHLl7RvQrKBcbTEG/QCCfIv1dFyP9wvb5IQtVj32eG/xCWxDzgdcyT4Y+q2i
sBJ40eRKDliQyp8+FGW80GGlPeueu7BNhYYyBJCi7GC7dfMt7+RugYKR/FRsCzv8ycp1Vw/QwhgV
JmpfEKaMbLIAR21zaPIkD9e/I8MCPRmXy7lkBCQ0FGIPaSCoxMmM+uWqu3+ugR6LiwouBm0iLPDD
vO/SZ864ASkpXAI6oeBgvr6c9WtqYY3y7pTXfE7n8KSbgC4p70feTl3VHtzovXlHTxqdfpthcTW4
LixSTh6FsRYX5BvFt/ktd5feKy54m+zM6q1ExOiT6ZvsyCKufjcdHQgUN0BGTiPd/QF5sRKdigHZ
oeM3/A70hd9TnEj1NzSK66c/rxKi9QXqYVfLvfkZ417qho1uJyeejkEAe/MGxp8lAUPw594ogdEv
hBwzSgNCayXZd80I3KR5EaEVE42V7UuMV7tEvuGFQXQjUdoBvx9Gjc4NlrkyK5h/JhcIVEGRinA3
4m5yoFi6a+3JEZ3mYwSFUeK0vyJUcvPDdD8C8a66xhF0ykfRLXc86DoZwX716GEu//9+Fl2xmFot
nxuAaM3R9b0cjL9ufTO8NbeQKOowVECI0BlXKaUt8SdJEkB+iel58A6gS3++E1osNi24IMhTWPW4
l/jeuKtvw/eE3/S4Ctz6cb7JLNlsP/rn5j499B+SB6pwaOlJVvICmUXnui+sHUqU80izEy0Rhcb/
idMkFeD0RWwMZjMx7lTl9bqB9T1eWCC/YBH5GwPjSxGxIO+rj3qbu7GdYHxC8iCJZvEbpnOvrkgH
oRLQlCBgoRs8SRYJbdXgDUiqG/IHZEttYeNvybESIZuG/OTf7KEInD5G6PCkuZAFkJRWTPwAFlPg
4iBFZbDgXKt7CM9R0JFGgRnI7PM9DJUuUTkFezhYUHeVTPLaBHRy54OZHZl8apX29a8mrVQuDQB2
DHRhgb296LOj32LEqkC+mqfqFoQKpMjk3rINVAfE1OR3vJPeptvkIdtoj4ODz3pfPiWK+ae0AlEC
qwbn5Xa40yCzXILe1iEcMuI9uyi9ujeLX0q/coIRWw+aWnQVXpBZoLtQ7X27RSFlni2gEKx0z2p5
rT7slibpz2E0w8iTz4FECkpPYNrG1N2TX5vRDWTKbIiNHsF8HILZ0BIjUgpgOO36xwF+XQOfIuCl
VDLV9pI/SuTj8BgFiWIBswYYCJNUKwWp/vWDQAIzHbgxnom5VJxrTAhRN0XUN1yunrzXQ+K9b/FW
Vl35hpkfsuxQUSIY8s6PS/jQYCWvIuplY74vvMhrAMRUrHHfPkuv6QGi3h4Y/pNf1xe5FjKWi6RS
8sRPc94g+UAm+C+9ETwlSb69bmI1CV3aoOJ+Vup9nhVkgbtyC1Z/zHRBlOE5/tLzcfWALL4adUC4
GfB1g2S8gipuAg1VV2iRZXxlpQnjCl3dOhmjnhiCQkWKBgxE9ZBkHHnzG11lBmBLFwvGYWdZoLJ3
MKpM4gzSVVPpYtAEtzF0rjtGfrIeRBbLoPITcRzSKhJhpHerV4gb25yVoH+HkuyfD8Sanr1YFLqE
GJwgKlNELYsnf764FMOuBtIiMeDB8WBhvmuC+NvfHjhiAg1CDFVKpARNHepuQokrUDUURCAzZ2qu
sClvoq1uTrdYEht7sLqihTnqfOt6CWklYq5xBmfOLNTzwCLtnYTGW7Bi41GZ/2bdvJeRmFokddBT
rWnEpIHV/HZ4jqDXqVugZD1mx/YXaF+3ZWU5bWQ1RBAOi2ZGLRL9zqIjMQ8EJtIntNkA6zv/jHyZ
c+VQ62SP89vgAVyhnm77G/5ldir3CwAPlj3q2PATWIDFCvYGkISjiTDs0dOzfDcAW/4DeifMli85
JJcLVEFujd72Zb1ZVbVsrmbsb2KUt9FQgi5at/WZURNZPTtAHGAkA2Xti0IpmIuGIM/hDaUCscog
A4XrkeENFy+e05f6xwSdJWRTIcUzcbjqY/pIuT0/O3xm91tho9sg/pesHpoUuQedYTIuzy7oMZZ4
4mBYOHxdSEoVR7DftSn4gndD+Ld3GBYILh7kvdCtwqAo5QkDiLmbMgJpMQjkD2pZ7/yeVbO/eMRR
JqhI3E+B1BoxTIBBfis788a/xcvEiTcYiXJZzeTL5zJljQrJwpTqSRfAGpnAnvVNcBjvVa99Ml54
DAvFZgq0s2Ylt6Plm37rhMA8WFWP+qjFs3vpjKXTBJlo5mWaGBJK6Lvwft4Gu/SGAKoEQKoil5Vf
Xtze5yunoR0C5LGEMoOxPoq2UEVM4nepuQUDGsPtKBAv3qKUIbLqxaHsAyXVA98neWz3HIx2Obv1
O0FTqTYEiTQ71u38YXh6/UJJlxxHOrAoZDQKzyZM99FrHBq/zQbIZOC66J6hTYvBsxKVkMHTf3Tu
EJmTrT2XR9JFux4I1vxwaZdacg6hEWHwYVcUOkhq3ufdz+sGWAujrgS1DMoyyDGjGIyvUvOjxNC+
wklWBabsWmRM051KRtd2kboPig6y9XkAY7LHvfX30NMuHrjelCEmgsarZo4b1dZRShts35QqkHzj
sQh682/i7I6VW35jFVQusnhyoID2wxSNpEsXOUdT1Xo+k90NG/U7D+a+WnfT+RbTC7YWgKE6ghIT
E1e2+kkhmAomJ4JHp2tL0JLjRKWD0Uqtt3rHH5DO1+b1r4pB+JUDCwgx4MPAFoN/g2rI+AmkdEAQ
jnAE8t/ZG9UpmCMrK2NRG8CXP6OVN88Nt8Ok+LRV/L5vvoMuWcCisyEHCUpX1yoiJ3z7NRnEZJtp
fViCHLwuJ4szgh7F8CAAS1hjympn3LURb8RQ5uPm1J2MQfyRBWEXeXVRConhKWkIFnOLkxsuEK0G
TYsYejhhl+HVLUZRAJEhI0hEaYQCYdjIJaSROXwym/BOQC6k3yrQhhp4J551qCuIeD5WjV2I8dzy
rlEPuVC54QBIG5gm6nkUFKtqWj0ebaUXoRxkQXJdUgdL4kRpgMbxbEz4SyvIMd7B0BDTasEi9ZJc
AI0VKNN/i43cTS9Dj5avYcatrLcaxrcSTWk2Jc9P+gtyjJGHbkymYobGhPAj19ZWEdfgkTIDwhgB
Xb0wMtTa9PUJzCRgBfNDPL0xjVbgKwyVMuJsj1IU8FDJFXOxQoccUmQhJtIG7gbQkynZBD10FB4E
sNiLsw0m/Vm8UUup1O801IO7X3VSR6ozgnQZ9VdNz9TyoMfzpP3yk7nit9WYpd1DNkWJAt7noC14
aKaVEOLtBvIm6TgIUgBeIhtxhxWAMrf9WQXxwG+7QhYJCYEmJDUmwCsiUlOX1Z1eBoKyAdu9oOKT
Q9rGgiIY5OGFIssMBweqqr9LYa+WD7EGzdb3aIoVAUPIKoSfqghFAbtvWigfT0FWfRjpXIsfGbjs
5B8l5FTbH8OgzpKTTrrSWjPfGRhyb3R++MaHKsbfpVEtlGPXjZV82+hVM+0xoRWjQVuqM+aWYn6M
gFIrBi1X3/GIGcNtkI++spkGvqyehwnqd6hTBzyEzcygCH3IbSG5e4VAofbRGhxXm+2IYb3bvAA9
4CGWZG48BImSyS5UCo3qXs+Scdq1g9/IqlXkZaJt4SAIHuakKcEomb0uV6krCXOmHjSu5/zjpEjT
kFsZF0NXLsmLPE3NrC5nSGMrPKfxlmyUYoP2sloYvcsh3VN+SbE8QMck8gddcoy4avsnucx48Snz
Nb44VpzeFWCDEiQvx0BlAvmaBPSf8zz7vhO1ta+2LlAyiXioSlEPtpLixxFEgmS9fMEQZxjtiyqM
nqRuMu4HfdAtHcOJied3AzptkIhAGeFQaGMw7uqhnjcVRGDABT2W0gT9iiaUdcWW1KrJJ6sTYr/s
wA6KLNwsewPiMsBvZZkbZSrkrpq5mQVLjjtN37STIAd3eSXhrIixBlShrE9Zm5qdYoxdcCNnUzUr
YLoIC8UtBXAO/lDzIQrw6ssgtIk6gIHjeYxrWeB+81wFigwz7NLkZ6HEIL8UwMAZvrXGGPs/JwHK
nvGWE5H5G7dS0jd840GrGLHl2M0pUCLQRtJSBTKEoEiry8fJaKXIOCBmgIfJmush4rujgQFXHmzL
ihg2ogM6Ya2Sn1oN5c5522K6qH7qykLmpkewJMp4qUUS4pYKSYtQvkN5QZZbiJIEU1zu/HwaJ/Se
QQz7nmQgi+vQ+y7CJLdnGYSCJebeZrV56mStFfbgXRABuhcnHT7u+bnB11ACE7tafpybkuNSiBIl
vYanU69GYtHeVVEs+v4+zKsMNUVsoBZ2jOzj8jmFli+hj8L8CeY4VOoSmeNS86FtFULWCUXD7qbl
PbVnZc6X9yExogESrBMicrrP1M1ICjQfRoJWLFKzCXjtmI4z716/Ei+nDQgxyMIO9eJXeVBbh4ZE
SnaFuSdNHah4kBkHzeNvRROY1ofrFi/z4nOD1BMHsbgKJRkGc2AhonIEUfx3NRocTJEwvtNltY6s
DXOHAFeDSOaiLdL0Dfx+hikybyCgL0Xwgtqedwt32Eis2iDJCc/TuHNrVBoXaFHUZIlCkLrQ7gEp
QuIEjmoLEAMDexvUwtjw8dW9XCyQqg7VQaEiJcUCIUZVVFZ8P+zHDbg1UPACDwMeVfOHZEEuy2OK
arAsU8emzDMjBQgCzVdoCglKZoGPBaEts/SA9b5hmaIOjB7UoVSE8AQ/dRQJSMzkEG2iI+f4KhTs
8MaptgRwWjKhX6suuNhd6qWcKcYwB2R3JRQzouyNU0bWCV03AdpE8FWiYkLzyoA0B5XFlDjD5MbN
1oBcJJkhtwwrfuZUFKCAsXRYjYd1n1c/rVLPpxiaz2iAYUcHS6yB2hO/EVD5m/xoHOvX6TGxjW3D
KjtcvqiId3zaJN6zeKWq0wCBz+Rks74dMwu0imruaDfzBgSVVltZoKBoTEW3+Kd/8xaHcfTcQEVu
CLIsUa45CSlUuE5fUvbNMHnlhne1nSwxZVWg184qQAEYRQZcUL3g4Oogpj0hmYdbRAg62gvEx8J7
Alapv3PPQEiDkRPUeBZekwxY0OWdBFpVQSNVIw2ocLpOXLVN1IYdigBcWZpFPSONhviR/+t67L6s
sONpuDRDuX3ExWUftjCjCaaeOZPTHToPXDMu4k2QucQPNVZcJafxPK7CJhI3DcC9tcasJvc9ZhJI
r71zwDYDnDukPO3+ed5H7JB66ZHn1qijEvO9WGg8rDUO1J/BYghMCRDeo4XCFFqhT7WVe9WGsa2X
znFulIrjVWKAvbiB0daG4hpGcn6NKEJrN8Uedc0d5FtrHgj39He9/1fF7+XuUl+UaM4CK3xabwex
M6dC7XvcoQiHoPqVO2utuAD+dB5zweByuGiCS50fRKkBe3g4bDOnR/8s+UJDebXwuLRDxbi867Si
0mEHnRlPg6qfg7cZSiuYOfRHG6MtM6oqENgCJeOD/zLnHgTrtWf5pbjPd2ye1Uv3BLUgspBTIwdx
kOo1S3OEaRQJcR6FNG8ac6tHK0M0nq6fo8uzSwgMQaeqgoYT0ijUTSnk5dAkCqxonZD9zOOwcSM+
E1lBbi3RWZqh7kW/M8IMj0HSLym3eOMMB4K60izNq0HFBAwU8ya+BB7ialyaJKdqcXvgNZvgxYSV
KXftVnsDSa7sRDvOejP2gqWGuCbJKBSrv3cqB52HnqVZEOOcmxU4fu6nCFkOqV5D47BQzRBBfDc4
4nNjNrJpAAND6KeAm3V9U4CI2ndWNW7tSvlcOrzm/Df0EFdGUxu7HaD+kHfImZvAim9GgTW1txLc
z1dLuYyMefjgpAGvg1LmlXeSG+HGcICkQuHLyWzkr97fn1cMIJLmGxQcUWk8X5oGxM0YZ/iqnEzE
mQ+qznCI9UwHVwfyf8KFS1+LBRQ4RYMDnKRxjDtUvmY3t8dNBccfIdxtkxAXgAfu+rKYVqmYKjSp
kYBInVTkJ+xbaokf+GyOb8sQXHSKzIXWmPVvulPIchaLpdy/bHSMdZYwiyZnDgFtDCZWAYs2cC3G
AHKIZykm/iFqRuVxQQjaSoOsDdNBhSNBQxF/V/y+voOX9yFWAjFatEgg3KfTMxexHKFmQVZSi7Gr
Tz9CVFr6b31lDVrsXje1up5PU3RLUcjEOqrJepIKnaBGQA2QUd9fc2AI3IHPwoCe2EWTBBycAkZI
YQF/9joqW43j71UI+E0pqz16mSlh2xRkSYBn8qhwU1FSwmuiCrtTuNK9QnVLt9ijrupmvqn6XyEu
X928z0oIjRsRs6ohIFl0CrZIHrTIzBx8L7uz09fgXUJU5pgkx+vOtbBJ3T5dPXHQlodN3oM33/eP
qe3HpnHQLP0OsvOo0dvBHQvwuRobFzUfhdpaoc+iCrc7ufOK10S3myNG4YzERJNLsLp3aMnmHouY
eM0LDFlFHxgsQ7KsUllhx0mdqvoIXvEsaZ7Y9EnqKdLwpIoxBBp74aaIwUDJ8IfVq3ZplQpeGaqp
uY/aIiSUgeVGqnRbdyam0j0ZUdOorOIJ4GrQUjG3eM1Ploap8MXPXTYJqPab7cvsgjgShIgEgtg7
EKrf7l7JhCeTEpFcnvQFv7RJHSZBKqdSimFTTUzSDfe3xmwC7QL+Suh2sCoZa/4JujhNQgCWVqh/
s7iHkjM+aGvPLuRkCSV4b/Y7aZe8sCcm1pxzaY38+SJnQtGizqIR1oyIt9TsFvBT83rsXP9in+uh
DqgKLiwwgcIC346oDfdZaQY4m0OdZI2ddRzjXj21ky+/1qc96mgW8gBSoBn2+pfpA0VRdJKU2obW
OkHSgiJFBOS/fdALs8PARgQCBdltrS8AeNay+eXOUidV7IVaxUA5+R2o9OkfU2Nqm+aQOKHdEBRP
1zqIFO035mNtPSJ8bgB1XLlMnqSe4CvjLf9MJthItSjYJfvSwcjxffBDd/E+3f+bWjSoMU5KAmgu
0r1ZgeuGIg/hJZBAMwfIwfglozy0epJAcqDySCqAfaFOUhwXSaoQ3+fQF+vDQ8eNzmRscoFxF6/6
xMIOdYIyLqjULIOdjKg7G07bBO51n1i9n0BgBcw6tgpdZipf95tUzCViIvkoQQxAOICTHbjSLfVR
rO1hGzugdt0yjK49yZZGqdQdvZlQaEPkGPoeMBtbwah2CIB+7YSbCKHlXx2IxRqpJHBoKhXEgWBl
qfR8o+T3Au/bjBWt+tjCBBW9WkUsJJFsY7yV3ow3OQfFZuxqDrcfP9DD5na9NzHHDlhGqWMopnGT
ZAG20deEG4EPalMehFuocxeMyLmaT2BmQkdDC6i8C36/XpGaQiZ3OwFaBoD/83ggEKDlYIun6MFv
mGXf1UOysEkdfoMr5w5oVnL9YACz3XQz7nXOAtTK7QsPlVG2JtW6NyxsUqGySiYlr8kDrLb9Y3XQ
E5sDzswhgw9QJebvyFf0rZFVoljxc6KzIGqEdxgYFuqAhvMkDHWN0wMhrtAWgQG2Agf0ymb6WgAe
ZZ5es9bfH9kzo9SRFQoR/YISRrvdZGWvuOCnwwA8taMdKlt+qSPM/uS/maMyK58VZqH4ADY9DMvQ
ICwhbPsGus8kCW+eiwfC9gaxom35igFt3H4s319LEGEPQZpQsSo8/coIusFP43kg2aEgIUEMbgav
+R19i6zwUD1Vd+Jt77FFktZqMUAYgfNPwjsJmGjqJHFdU8RahWXyO67zQlCkvtaIbHtMGz7lWDN5
XfucO/PbaLr5o5bEetivnqrFT6CuX70HrmUiOw0YamzmYXtMs95mnKKVlPRsndRLIw3iTBmhqY3i
QfVq3PjbFho5IMAg2GtWAWYtDC2N0a3sSGgaNf7jJ2MBsvjb6ZnMUEaechS1jSra7AnKS0YjDOpB
JUyGwi30ri40vGLoeAB+ipBgPOLRiCHKA8pM0OVzFE9CPUZuUBqR/ro9cm6Tck0gmzo11cnh4aFL
BxyIxQeib3aEu+L691u5QggXP+h8Ie2howd0nnUPQaEVYIvG1VhDHGLcjMkMlScWvcfqSVxYoe57
VYpxRCLsoZQBShEqVsM9XV8HywIVQUdAEnopwjrwkrH9/A6HkrFTa+35s62iPkrZB32fkYMgH0cQ
0qf2/CvyAEiysh88sz0vroZJwClw60KQEryj5x+m1ftJbAH/RYpUbpuNdKekLsEEENbBALzVd1Jq
+tv0kXOCARcFrgy33g+/ssL+Fxu7+B3ULdwP0DqqSRyL0gFIC8hQ9oAkMvaW/EeolxLST0ykaCKE
PEAufb7Yrm47VJKRoCnRN63cxTlvTvp9zDM7V2vHHS6sgt0fQ2wXDWxlEirM7WE1A0gdkof4R7WL
AVatAFcVwBBSdQCVs8IwJXVIEM8qaN8wyIZ+Lv6eHnyW50SZ/tTsQnl+76v4Xp97G5i84mYc9Hnv
l0Vr9oPq9VO/DVU++TUlXeP8/XcEsoRIfRAOoVNoXTyvi7RpIOYGNKg6+7cQs9uIE0vRaTU8o2nO
A7GKWdgLVSLJaNWoizC4kT1HcBGn8QiqOzzwoq38ywEHCJB/GqQr8qiHgLCSGOz9X1IO2uT47x9g
MAAZMqI/i3YudYvrYTEGXQ4DcZpZs5yYjTiyXmBrnr60QV3TPaf2OJSwAbEtpHp4eVkhWrit43ee
4PAoSrJO5JoXYBgc8GUQdosXUoYGhldR84BFTNpY/Pik9N909fX6eVtLpcnE+T9GqMDBtZqWJ2Tr
tM4cQwcvIlk1u+N8A8SjrU1mqr+EN5kduMwq2dpdsLRMfTT0MuQ8I/NZzYfgAruB9MvtzdIpCMK/
PIB08cjMallbSn3EbhIHTq+JTQcQ4WAzJGadm9J3EHp7+WswmPIvSDtETPpDkVyddOhcLpYKnY1Q
5GpEvqV8rF6bA2bBYrOLoSBrQkbCt0EIWpsYNJrN7i50oGhSgB5pvNfuWfVQxgYYVHNMiEMeVWf8
jnR8VKtbf7yfmMnK+oeFvB7uAhmJLXXJc6VetS2HGMZVgZWjANoxXwssE+TPF2FSkFM9LQOynR6X
uiEUeE83rv6YgmP+IDnJ49+qs/y5H8Ar/8+yyNYubIJesqimEDbbQnyf2mHb57V33RvXv86nCcoZ
Q1/khkDDzrUnLbzmCTDZn7GYOdfNrCbLy6VQrlfqMdfNZPumHahaFdC3gOLHhTAsKfj1XnEPgNiO
5Xz/Hx/4XB3lfByAWhmGfoC7PQIg1tvtdnxCkaKEnhSQ+ZUl3Armab7opcaMpOGB9FHS7Rmaliwv
YG4A5Y61kYMrz8dPkR57lM9EjxBBGFbjpq9aCabJr4z5rQyk4hqEIAcaaUDgXuhpcYkmZ+OERpr6
E2VmPOT7J+UF9CYeafpY0nEeQKYuPQN1f4dR9u31b756tBbGKY9JsnAWUsz/mbJkbDsJwtFj4igZ
K/1eMwO1MLzfwc4P0Ajl+ymvd3rG42SBE8xS5SMvvkcqywiVwZCmJ7mxQFEjov0uYor53BXL2o/r
MlB51Jz0Y9CY0YYA/sCeHkIjh1RhWFcx1SQ4WYSyHch58D+QHdDr6st6DqsBPDOQuTqpsOWh3WKQ
S7cFO0LsaU0Vc0yW/xRtJze6BwoAkJXSY/nQqXH8eY+cfgdGg8BPhNYvWngnnr1FEMJDUE9mUIpg
an+2+ULMTWSthgnOYjuUBuQlVVaZIcdbfjt68SgzXgDnn/ePeaSlROsYJEUXoZ1v6jYuZk0H35Nk
zlxk1dxgzhITInNerri0Q53WVkr70Zgg3IxKW2TOdm4nIxKuykq+8d8iR3tQH2crgGyrGT36Tj9i
LohJiUq9JP/8CMQjCEYAAakYOhWN60Ctx4LvMILjSa6gmzjQPxSH2IVAbeQaJWNzqaj0xyDm/tFk
J/oWF4l5nWOGQ2pwyPS97v0fKWPnpgekKsBAslmZz6/Rk0GEJLzmiNqlBJPnfjS3VVqPCISm3Lem
gKEyP2FpEZ2nzTChgmBAUCDJgr8gHyAnanFgtaRKILDUccBZ9mBxajCbC8ViDxQswOaGOyZe/mJJ
6GzLID+BQhy+mky/4kRjLlMM0SgoDZfb6gCFRnDp1hDAw8PxSb/5Alz+coXQGpFFEDaJEjQ/aOxK
0XRGGkH/zAxeNf+uBFVXbBvOvJuh54BOITCA9vVQTgcBoFZP0oHgFgDvIfReqYs0bAq/5eW8xMFs
t9JNaPdmtlXdeMes5FH+fmGJuifnrNPVkG/AnfM2oKqG0r6NxVlx5mW3xpGMcuFcht943mEs8Txf
JtBR7CR0pLBAFNsvpFEbreBjKfHLU1dBsDMnciC06RFePv4Xa5lUFRjWMHIjE/IxwMUI0xV1SGVB
bFHI40tUgeP3IDCBkwULtHFINTPFFHv4LHxg+JLQKWn2DFLalsn9RRGkor4OhA06GrjMIDQI3jXq
J4QY2hTjJoZckjPaiHp2j4OEGd2tbCe/ZRuIkMDizeTOuFehP8WKPFS8vbBOhbqpT0dVbjGjkzwD
hQgQZODxL6Ruyr5K6bB6YYtKPqdYLgE0gpYprqt+vGnBs9BupKPE73nc3flfjnVf7izlLclc5kM4
wl43iJYW71ucZMZppULAnyVBagHtC1D44YI8D3JKUiac1shE5QG1Ac2tPANd0gmRm2ABv/CcXP1e
C4PU/TjmMZfmcYTOU2Q2N607OShI4Mx6+WPQoZgjm9VtGCGZTDfY0n31nduyzgzFY/6/+7r4DdSJ
VUS15tUcv2Gw/GMN1swPvjaNt+QBaNLeFkI7mkF6pdwQht/0O79NthggiEIPfHVtsqkf+ldsDhvU
u/4tcNdoMrSXME13/i0CXo56VVLQ2HgR3mqAwTMPD23tG7fnPEiY2zyrnkZi4CIl+/PxIRkEWTXo
fFyQymVxg65ghY9PKKMbCJcMrux+YWF0SESEQHUVBTvURBUVw57nC5PbqAGJDhZGlFb7LeYXMwzU
jSD/6+6mTch4itIZL1kWzIHaC+ERCp4StY9SAiJ4VKaAgbY10JKg7bDLMHqWClbaWME+3wRP8wGg
pslESN5AilWTzKo1WWggqkB1OmZnv4O6gnIlbtGiO/0O30MK6Pk4b3Z+o3iTXbmS1XqGnbDK6STe
Ud90afQ08b/IWpQsqzill/AALXXfKRSgbTldxlSTIW+h3puyrjsqa6E3Wyb+vrA3Bsis5xb2ere3
h3QjIUnCBJNigu5cf+mPie3/pfbln40limfAMCOthCjluc0Zs/OQ88K5VUojuu2LXr7Rix6y1r7U
P14PkBQZxaUtKkCWST2C+l8EdHPTfUDd9NF4kXfKG2Z5AVDQHvrvrdk6wY8R9Qf5sdrGG0Afgxe0
mRkbvfZdl2um4ubU9bIf9lhzXuhW5Et4IsW7AX2MVGfB8tY+6dIUFR67GE0GcBoR/wmfBAA8Me13
DJzyBnBtd7rVgdd2WInM2t2KQY3Pb0rd46Hc1D1qGyQWhe8ECIh3KSGtjU+TDKwyCgkBtJcsrVE3
easYk68lWOLYbJoxBUlS78jazxkV3ErWzdhoGEGJfvif/GRpkQpKiZxgRmTG9xus2c1AtT5CVq+6
HR2Sh35BSWnlMjnbTyr4NAEGKXsk/9jPWAWpVuqCldpJGmiEm7wN2AmzNCUyjijNOxslEWTaAnzC
SLcSzqlfys4SGpA+mPNTAkUgSwcjTu6SmnGHg2TXhqWgdjzvxckNX0eHEC6xQD4s/9Wo+BSldYKH
HoJwA15eGTPIxqFzZ3veor164o4bbPLWSVySvjW7zuHt2mKXEInPXDlwGhWywEcgVkmHAyfm3A0G
Il80FSVzcVBZSJ+VOx3UphidJZq9KqLjeWzsIYZS5j4MNU7s3xElCFLiGQQ7SN3eRw0ALCabbgO+
rq42j18QaFq77GX0zAC9F6HRROP9tKhpqgH6UTjoo61B8wUg4uluxmU/j1/BvxNXpXcW7w9olKHQ
DQlL6qBzOniZ+xr2BKgzDK+5HWL4Ska/ekZIhuotZs0JVJqVZawGLExAoVAIdjdkHJRD63PAlRFg
eWYrjs6sYL613NaRlwvfFe1ZklprlCVPTTmHa77V4bS5fi+txWhUCoC6hQoHqWhRn7nLUiVLcC2p
SfrKCeJDAvjGdRNrG6ugKKCfUJsAN52bMOYMDDQCPEeUVW9soBuVpRicECoFwmIgIE6b9+sG13xk
aZC64pRK6TM5gEGQfB/zuL8biub7HMXP182w1kVtHShKxHgAF5JZz41XROjqjkrq8Hq17zXxmzKy
hLFW4+JyXdTV1nXiAOYRGCSySV2FqRD+59g6aXVXN+D4uBWB9kGuL9vZVkD10xH6XxoHppZNj1dH
A95y0AeCUJUdsdduweUPIzu1yN2GKknjquDxw5LyMVCL2zDEQ7qNxc2gaF46YtDWKDrn+vavBail
UcpvIhnbMclIGKPkYxbfx9wwJWi258NH4gs/i9p/RlhjRMVVbxEgL0KUxUlh73yh/gTVbZWboQPG
/cwjCFNAzfn6qla3cmGBchY5KyalEnVsZSdgbiqPirui4DxZ6+8lqYh3XTqhMyO3b9fNrp7lhVnK
ZXwpBvtOjCDEz3ei/xsuZCY+wCaxYmWpwFjjCYxAh1qEG/DhYpofIZwKtX6ijIVfkZBnCy7Jf4cB
aM52I4OXGkCCjbaVzNwK96zS6OoqT/rA6JsoICo7/3ypEEaT2OCcAimho2gvHBqF28vNvAW9kZcW
rNi+Goh0DGPjacyLKAOf2+v9pJP7Ak28MOwjd+owWqoH070v17+ufz4KO/rndaEsLNGhoREiBTxn
5LKMDkFu192Of/5TqQQDpGQhDmRP4AJj07uvle2g7om5cxRiSWeIqqCDmSKZNe1k2s8cwY3ibZZs
fK90icpnaDxCvQ6oZGVySDUtclkp+JpPLu1TiZk8BO1sgEnN1OoK7FOJ3fbqX5bwT0n30gbl930t
DWVUw0b/wkPS6Jmo7BDSfL3eTAADf2Eaj/g57SJLi1Qc0NtITlsBuyp7MzApoBNNALQRC9N/IVVQ
dgxfO6sg1kDFCG21yxmqMMhjgJ0HvAs76RgIxdbQem/M++31k7qW2y/NUIEmambwa81wiUk8ZhMy
5aE2Q/C0jdnDdUOs9VC+FytlzE0KDGUBZKHkvQBKtnJmNaxWD99i1yi/U2NUINscVgIFvBYy5yoy
M1qybFC3q5q0XF+NsEGggATOmfwME0u3e6TgvF243RcmsdYi5fIzUZfrhMFJsBfiNJCRhvJ+OvDp
TfpG9KwUL7sXXkeUN78VjyLaAN7177YaypamqSBdtsAH9CByJg+PJ9mq72Y8rkHdQ8YpJCcOLAkz
8+yH7uoui8j+EacJAp/aZW2IEyGayHlpclvm/W/twLOmU1YP/8IGtatgVhS0sSc+lnU/G10xlSF/
BKWH2RuTddrG/3ob/zv4Xdz/CRXNf/4H//xWlFMdBWFL/eN/9tFbXTTFR/s/5F/75/92/i/95+7/
cXcty20jS/ZXGN7cOxEDXbyIx6JvhPnQm7JsynZ3bxiQiMb7VXgRmJhfmJ+Y1SxmN8vZ9Y/NKVJw
s0Bako2aa93WoqMl0oVCVlVmVubJk6kdLwti28XCSvvfZP4hxn98/swqLOaXeVx4RfO+tEnzwc7L
sNg+BDOl33zphyN7O8pdk9o/vXlIyrigozleEr95/Ohi/dMbhH/3dhQd//HDGyvCv5vntYXeiN7B
P7GtvPjpjSKfSICVmmhHIksKcmtQ5bW9/UQ8ATQFVfEoHkIaDHeiNyNwaRbuT2/AkHqioxks0mKI
L6MnkIbdkyfl7jP9REF1ONxBFeXuMIPym+7lmWX6Y9lGcRnd4kJQ5D+9kURW86NhhSiaNOWOyUiy
iVJ91mlQHARd081KAI0TAImZjBvTeSsjATtB5VZ8IZCqnoCSMphkVVTKE8MBq99UiktnUgrS6n5V
ZOZv4tivzsZC7UeXSmxqM69ug4s6anN8XY7nxRhtvhHcDSZlW9wHZdVMtdTdTMrSkK9zJ0CnyZVZ
TDVSmGBRbZzbpsqXxJXlaSO6iXaRgQPG/CQlYhrc+ZG8WhNPwhn1VDBuLrXE9eTrBJSzi3HY+hNR
GDso26nFDI4JYJwbjxS3ImkB/2sdfxy/q5w0Muqp4ERitJCRb/XWQPonySXd9ChZEMCYOQHDlTBG
WXhlrsgM0DNpkbhSdl1oK6GciYHiKb80heM7Z14gU02fOmI8j/zAcNF+ZFwvWpCYKhOSKvVqpozb
RDhvJTMrb2SvzZV5ldfxrUny+kOkav7pqgTbGsm1MfB7K1xVwQwyESsd4Q9RyM/1Jikv47Y9TTZh
Osvi9FZIiHmhZi6BA6vLiDTK0XKDHijv60xXrxRFuGi1Am3IXXmuV217BqYeAGdB7H7q4df3SmIi
uqIqkT/ZmIEJ3RZpcjwroIXTKQB3RPpsEMGMPoIaVvTBhSJApDdCrCpZ8B1q459PIeAI/a07cwcK
4VcruvcsVh3gHzyqA+UEOCroA2S9ATtB4rtTB7J8IqL6CzkQREXg1qo48p06ME4AdwD6Cj8KAjdo
3/SHOpCME6TtZbQ8QEkEjMlY+xZ1oJrUtfzDEUSWC/2IVap20M4WBGT9YGiRNkIpqCgxJ2Gl5ueu
onjhaenWrRKjnY8xbp2JrgniWpKrRBVBlVqolTIzYkleXfpG7GSXZiSKGwmdhnXZydB5yIncmyLS
QnUak2BlfPTMlZGHs0pvveg3z4zG6bWq5GZyTiK/ac6rGuSroFb2ZBA661mIZGsqR9IsrRTdnYM7
yEHo20jC1dxwwihrUQKsauAzqBXQ2s4cZLrJVVyJrn8qrjBpcG7FiRkt8zDOzXtU9SUYXCNRPl/l
ZhUv6gI8/ZM4cLzPm1KRq1lTikJ8keRqUp2ScoUm8XJFjPp9PY50MiVl3YCjWAo3aCVk+GKB02GI
XnXVpsSPo/dNQiiX+appI/J+pVdBjna6UIlZfBaEdQW8syS7hlqcmkFdgiEMIP3xPS0cqM+BPM/C
m3isCdnc0Mp0Nd9oeu5OtZZQImJTHcMzEUVXfOdkAUEgGkzRE1P2i2biO0iyTAQMmM1w/VUWdeaH
xnnWphm5Qtap/NVHzfb7Vo1jfSr4qDC+qFqxMiZpXAUGXNYg+EV2y0Q6lUoiRjdaVistNHOWeJdy
7gX6teqhY9m566cGuawSmLVp3UbJL3rrqmI5AVtxXqPFcwtM9SpOgN5KG4M2AKhLeUqaMFTO9UTy
xBl2fwyKQI1IRj0pxbKuZ7Gri780Rr4C57UjRfpF3vii815zU2SkAqlKyGWcRL77sTHSlX9TalG7
mipESB0UqzRqIZ8WguqkUwlFfe2NUxb1p1rxqjG4r8sgmqjSSoseVh7V20kkVvk0lA00afJUOSbz
1K214NwUohR3VqhC9Q5SNdAKiKBUZrKp69K/lNCyurjxV2aZL4gpOs40CgTT1g1wIU78uImQfA/C
VAddX6inF2MlDTbzSPeKDfjP/STGto9NWM5Uaj1zYmpxESFXr6bJQktzvbgM3HEoT31nY4YBPDR5
gyxVmBpXiSbEM5BXjj8kZe1K4P+XZHnueE7oTVdavEJbOjHelBfSGBDpebHxfefUhRuSZpM6qjZk
0lZAHPs4tUIhTORVYwK3l0XK5jTV82b8Ua9SV0afBtfTThuYnOAsV8JQvoxWdQjG8rqWyM/ySnaa
s6QKWshTg4mxcjBkC6fuKnE3Z6kXJ+UM3XNQF1ePBQWdojaRMQ8av1YuTFIAhiqTyABOQtMyHSz4
UQOGBx/+CMjcnCwl91kg1xH64YRSmd1UrRePq4Vg1qDJM40IaAY3kDYFGpQajTF3zRp++pnoVmV2
O8aZCGf1mCjmPEiTILnVHdPbgAy8kDa457WBq7WfQb2rbKZB5YfFvQs68nISe2qdTo1QSJHgweuq
M9VVS7giQolF2BSYGuYs+e3lBuLL30mryAcdWOUoOZJDiC21V2qiJfUUxPJCPmnzIKkWhiMJ1amD
vLkwk+rcK+d1gV9OHaGJInR92sj5eTM2kaRTkrFsF56zEidlWofOmQSUK0BdbbOq3AVMdClOsygR
hKlQ5yXYvA1xFf+KqiQRHMh+IFaAKYO+vZpnRp00c0nKxfuodE0cQW8jbyaBIEhrsXCFcKGXIHd9
F+h+E8ylQGvBXw/sBroXFmXoZQ22Y+GDpnBDNveGmGjl3SaMq3CmporpO5PQTSvxHJjj6J1ai+At
lnxdvlyFRevPGzKOo6sIJNrvW11roA8y87wxI9eb+8kKSyy5KAF1fXGipYLczGMxLwGdEKO4fIfq
lzyPfkGyJaVupdqgv6WJoT5kwPank3xlrvKpVMstdqzmO/rMGbubu6B2FXGS4UKDHvaRWyEMqrjy
OD9FL+LxL5VfCmh9Ag/YnyqOHqN3jJAm4rnUgmB/6lY+2K830bj0Prim09hBvhqjAkX0wXOEduGG
8uBmaaJPPbCstADKbPzkVtVbFaT3eWCIwIS5nqieerUUpYsSTTqM28BVURUaqg4odVaN0ApTuaml
ZBaTrAnPs3HTZpONkwTe2g2IG7xziV7f6r60AQV+5Eef0Llp82s4Jp56JTlgCr8ihggwwIbSHF8L
qb65S7JI25zCf1DaC1S9FuGZ0SA6Pd3krSzPNpksJVc5bOqSRC3694KdPEB/eEHQcmSfa2N1mSmp
rmIfai5aMG1ktT4zET0Gp7yP3NtsXJjOBGrBSKeC3ja/OgGN6uOS4EOppKv2QiU1NvNmlUKywQbL
NEEMx6guxEpJYVJED52HCnflOXM5HSvKXI/S7DrMxVBZwNajtWhiwPm1hEodk5vWqFfqrdCAsBxs
/IoCVKMTNal5qcmgT5/5zUaLTqU2icpFKZu5duEJuQFseY2OFQssECGXQpFJ9c8FjKNtokOcdJH6
jldOW1eLNteRJlJnW6gKH/ThGrZr5rVCMJNEE4hxD1boVneTfDyt6zifZyj2UyfqOPHIfb5pZXUu
B9EYptBIF6kbpMVN4tdePTVXpaLdYa9vQG2wQoXNbFUmYKRpcGtpYEXG4IATMizNonaUBi1BQRfX
Tgxc4+TzCG0oyQJNIiMUbEItNJONhAT9fIVLv3qRZa2JhlxoKyPPq3FSILNtOAn6z4qKr8/cTRNI
5y2CjDr89VjCnhRkGQ0pDABfr1WhgPII4zj9eYPQwgqNFdNxYwlN6m/OhEDN4a2pZjY+V0rVdc5U
V/HTT6GpCuq6DJNKvy+aVa5cBeisEM21sbTKUJSekWQSKZlROZMGTVl0RPxlZRUjTuDPccwDaGi1
wnSQ16v8iRpu8vAuwMpuAijnKCkRbFVF2Jz8FJMHfZCL5jXjGjY103OhvA7CKreDoFkJN0II/Mc5
KSQIctWELlCWcganV5sIYRRXy9R1AmFG/NRtP6+IOE5bdN91gQolidiiKa1RR6B4MvAF5Z3fVKUT
wNGEtTwrmxIGV8oyw5xoieol2geJqBnQPbIcyvMN4o3qJ0XcaKhdcJxQ/eiA8h+NijKdrFdEITnY
1dCLAjRgnijcO5Kj/BzBlPunZRLIElB/qStO4AMQ/Spvjdw9zyojXN0GdVWRmyYHa6EzWSlK83ls
BHX+c6SqRXTauE0qX7atAFWie/UGhm5VZqe1Sk0RSTeb+q7xWtefbso0z5aNh64cv7mOUmdzJWvL
8uKfLUizF885iNLswkmPMZxtvOIu+b4v7d/NDgd6WdiH1h4wl7ztQNuI01MDhAgGFeUagSFJOUFo
G547AkjbHyQKwgS9hnYfC9L4BABoIOcpQB9P2hPN4ZwPg1zf952npr6LhtGQF2C1A19ekMwTVNDK
Ci6ux95eUU8ogTegHrsnvaKXV7FOwxZ+fAJgKiqIaR9C+sMuPCRDo3aAnGN3PH78upYf8MShIjiB
zUcggdnxCIWiYZMGjwwhR/qzC6O8oqUH8c7QF0e4l74ZTr65+2FEIEjY9/gcCb5Xd+hVhKIG7XsV
2x44aazx46vjaO8pPOhDVK+hRlFDquOVbfih6s48oVEVqHIQKm1/sI/2Xh0bfwz6DtxrHz/eqZhX
tPOhqAeuvnGiG9jY4IJ4fEec7j0RSFB6KMIFLOHViuDRDu8yXjSs+80WHyFc8AUC280qPkE60QwD
oVu0Btn9vLr1p9CUQYcfUWjEp2ke//HwI3y9t/wQgbjdHuars/fQ1wPfXUImD16ejKLO3kvjA8pa
RzN5nTV4XZpPovRrgxZe0k6oI6MgLfFlb+8vPHQfLB5cCmyIV/butG502LvrJzraw6B0kll3uL5I
66Ikv/t5dccdKaSBr26eUF2Gl+9MGisC/YTud5rDfpTBq1t9ZMwGigC+nIqqZ1SNs9aeOnkq/AHQ
3nee0Mu3/gt8gi/35KnrhevtDdmz8z0sxLNf6O7HhwM83g+3uAegAb6kErffpECJ3di7qyL9/e8M
bmJ7id37kMJF9n5lvpsffPnx3feftf8n5k2PvkL3x3PPJhZ5cBFapjCRx5fa4TXe/ua4VuzlhcWg
PGiG9utokC9a4smRW5vcW57PDoxzMXhgEtkxm1KG1h466sSKndBa27nbjbVddQ6CWDRWHFmEGZbH
hN2yv2jQKoPFQMrY9rpxqAgoFGvoqFOAAJI1u2b0Vj103CXxRtdWHFjdUHTCKnz3oQPj0MXsoBw2
7jnCXaMr+p/l2w/dHOmMgWDsfj2KvnrRebuI10ls56yQUR3GZeT+qByOxaWVsqoB6drhc71qiNO0
fXUGbMnwoW8oGg3rR2xmZ0gKBxEvKZrt2NgcNsaV1VqBeygSDuf62kryTrDbjUzjl0PP3sJ6sJKD
IzLmIOUFzl4S9vbymIOIF1a49iqblQWlYh0ui9Bq+meaRoyGDnxjp1bYDbNdOp3D0t1axHqww9FF
HlrxmhWHwWX84MBVAVNp9x7frzxv4Tt6KQAa7BoCVTp87CVqz6wUaqMbioobIc/u1++f9Z1reVTQ
3UjbgWUOu+PO8lHm21cZuNF3TxowZ8tD9WY3znbGPDyMuxJ4MLiFB3PmoZE+tvf2EXGoHCT9ybOL
2IoYefBQde/ygiTV6KIoSZnujy4BKs1h3o/jX5UxIE4e49xS3hMO/sEyJVYRNsd0CRDgPPyahbde
h/ZoDmT6voRQ9fzk6FBrL3LIHkW0dL0g6XnquAgD04og41A1DsNjNdboCqCy8C95QP//jDTWmvFQ
EHQDoB238qFPu/OihAjXwOszukynVJI0fTV0/KUNVz4ouyX/28yzEuAULG/0vozXVtI9gWoN0J3r
Mg1ZDX3oLAnWyehvozsrwOXPixjRIUQPPiwOC3VllR7xgm669A0ksNOivJ+D+3FrCaEnPLieJeR5
eeQZHNZ+ifvxkZE5qJJrKy3cnjOyE82z5uZYPOQLdGD6lXhQFxb59s8f99pu8VChgizG4JDQ/itQ
q4qI0v6f5jQK08Wzjs68++OTsRhS3jP7moNb8xYzc0prBP9jNLHIfckqHQ53ubexU3phyE6cg9tE
Z2utezeXZ/faLhH2lJTvXBuScK3IgonYqaWtf8NBFFOriay4U4z7o/NwQqa93YGiCQ5qNUIZ2AOz
eDzcAqDSt+PGow92Wt6H3kM3VyprHneuM2LHPQtqcjgvZyWii2FSpoztpBCLoRbs3IKK6IbZKScO
dvES+7i3fhJtRz50tguL0ALBrGTkALI3DkMnKOqzCfzGbqytNCi4ZOisb1FbWSSjD94D44Wg0cvw
sZcWihFHV15R5FttemNXHqtBeHjsu6dclw9s/AMtOIa/wR3Biq6t9Xb6d8m95bBSotQLQ1eA3vB2
8pliXyb5MWWI9inDH7QT1CcvfsCUt29UQLHvtMJBgEDlIL0JwfnN3dEnjzjeUSUv8zgdH5dPPoHD
Rp4kseX14hy0wnfo0oPDisYEu4G2RpWH67+0WK8I6MzuGd8f4EC4pxjNSwQiCq9kjzFNMw+VxW53
woUp3N//K7SjphuSSmVMs7iDn0BfYGHhCTYTp6GAHQ7u/u4FdlZg9NdTYuGc/Us3a/oStMqSg1X8
/T9wt1/bo9Aa3ViVlec2Lnm7/7MedcforzMvT8vChuJCVH/0cflWOH97cXfBzAdQNQ3NlE3UoqIo
3NyRczwt5GMe/BN+PQtnHnQvkQGvkQZfSl5fnnpq9X0yHuETKHU77kdQKUPa08v7/FVgYW96ngKg
vsOH3Z2dW+Tzib21TAvqRwFf1A29VY08Ts/H2KPHYgkt1guJ00rsoeKZYgBihaO3kU16PqaMaNVT
JgMa9UXRt6lFvPt7mw01A9y2u7V//Q124/+4A0wJ/F8WVcD9O4YcD3Aj7OFNHiCDZ77zOoAo/Z0A
+HB/pz2+8gu3ACIUgL0UvQ1G8dgDx+0l5EA7OnDEeUkS9l4oiaAqGjbNXb762BHb2ojeEfhG0cK/
wQHuXSVwdAcKYpcHPzJnNLw5vCp/25zf0ZPAzlhDIxnVQC/JMZpCoaWMZh44ON/2jFvgpJ2k/xQV
zd9B6wVCemBfTRmFPv2VLf8g23mpgsOesXobEWwVBu2KCa4KGc2C0IjkwOH8ttdZ2HmCppJWxIpN
R10D2iuhMyZcIgr5pOywX7UJL32hheW4xL7vRqKmDI2OUBeEpdGxMsBPPp2PfemDvpiG0Y2Nqx05
yFUDrGqi/ys4RmT4oiASoR3knnm/H2cxdvmqLgy89R4fA8msJWC0/IFF2J///1scGtFRgmBHJ0y6
xJSd8quifaGinzYpYa9aPFI2Z8DNwAEiHps/5RHxucCtp3vtrRAoDdtQKVzkxLJZTAcP4WKuWTe5
7Vzlpw77C1fsMiHrnggo3+5QEVyVNWKh3Tjb2Sochr22762YdbJhjrrHfH+o4B1i+t0o28lSYrOh
MngPE0S6YbajHhq18g9z88IFW1rl2hu9JVafzOnQxHzH4CDQs/anLPOAAj5eYeicR/PIQ1S4d5Ph
Ec3+jGQ4kj4xk9mFeeze5vs3xy828CzdMHQd0eCr+/X7Rz1LYO1G5/aWsHC0LO/XgMzA82YODer2
eCjQuzK+PxalRdobzXF45FTe3pejRZkze+dx9IO7w7dvy3/7MF/OP3yaz/59RJfZJvFo2d+pcIXA
Uob2YCCF1kA1/LRvtz1s+5Z2Dn+Mpnf/QcGh7d36n8NTsEOvtbv9vt3+HHTjNEFYliZxmB3DAwE6
D0dLK6yQVmZ0L4/oNxKHhR0B6LMvjcM77Lfvb+DR1/QSsT8uTk/36/crmRsImFgAB3RDbc3Qk2Gd
F5qhW4QBWYQOArLdU7424R934LaxhqHn7Qkv/kcVDR0NrKD26xWvxDae8idcihCuKes8PbsKz4ev
36KWBGn0bjnp8eWQ53xLg0bsXGkHWpvawOZrh/f5yU7sENxWLIRW4jBskkOw2yj7uU1a20mqXk0Q
j6w2Jm/17q6HwcRvV+2TMnQQAGdWUOHglM5sWsrGOLs8vNILAjGwOHbKuTN0Z8zzoh+LowSuQ4ed
tvYDsJbdQPR08MjsnnoHqSidQ3Dk1CKJfcwNfzJo90J7vEvf7kvC4HCiz7x7BJd711geZR5nQPHE
ud3sT/h5/+F5FXRmE1zl2WF5yAHpyQfGCaZ8EYO3L0kATWC2L1rPDB/3vESdC2GEAEbB4eNeoKKo
pxzQx5vDuIUVsrPlAYW6tElvg4H9d/hkL3FrX1gNGxHYNmkeuh2uraLq7QYepbnXXuGWfdcEHP3D
RbEEL6MV9KfMQcbXHvQ6QC+46vdi1JQLZ7Ccy42NKuiSON1Y21sRD/zuIgnXkAkz7vjZa9Hzag31
khaLd5Qo1/pQSaBopWAnywMY/JVcjqRz8IeRSq0tVlfwMM1oUNFXbDyiYrcoVC6dXkUFD1TLhwRW
jj144K8aviHoie5TOiCpzmHgrdYEOJXFDvK4dSzTXiILqUIOE64sXOjIuhuJqghZ5iHi2l6zxkPm
kcdZ1l4Bno/+NgbTZfcG33+v+xjQXCHj/iCxzWHcHbTpCmW564S9Nh4iTspvzpR8gnP1gH03xaW2
m+x2GZ9MIr/Q34ZGhoGyHcJuaB63mqVN+rkdnYO0UQpuj5Lf4LwwyQxpjEbynXi+f4/sMC5gDLBB
fsFqJrBX8vDnrtDCqWKkbYKqdduf9mk7+OOijhQ49WeMdDkACzJ+A4crFmrMYIS7jUjPKYcbyyQp
0AaLJZChjRuf3jDP+2MTGEnmFPEoyJ+gQjxee93sqAh41MxPXYuxYjw0d1fxRfUJrcmYUj6P/Ymr
HMzOzI6SBySLvYcvFWZffx6HHQhuJJskLLrgSYDYC03FNEGxNlvkyKOK5At09zeK1zxehccj/T21
Unv0ySZrxgGg/IxDT9HM93ANYyvmaCvhoePOnSYtumHoMeJRLTHPkP1LoPfC0VkJb4hRVRoHnTJH
8VGP0YiH2Z8XrpekrLrWOZxOWmN7dtBSjLLTD12+M+uePYSUvnTwoCDXY5bsECBbfrOHebgRtqSt
Q+c6/f1/ClTM/OWiQqsP5tRJPIzXlR03jCiOoKa/XRbX3n3fK0Bn6+ELB5KLpHAZ4wKvj8O43n1P
CjwqCBeoV3asHFn3boZU/0g8zAiCjknB8n2At7x7zPd77pS5pGa8DnQB4DJsb1AOp3gBQ/rQD4Rx
0L0Lq4T27YdUJB7GaJG0VEv2q6x5ZNVuPDji3Upt9xkPxb4dlbUXW1reoVptpyyFCVpoWSUz68N6
gm9XPx/g5vd4L3hwOS7t5sG1w7AHWOSRpXmssNh6b/vikHmkakDgY/cCj1ti4aGLuKQVb9bo2gbD
JTNpiYMmWiKq2a9k4YHHXoIRhb2t8TCjdwl75dm2Khgs39//MxndJdHv/7XFO9yS3/87fvDYiiRZ
4SBrQEK9XtGKrHC4RN1ZcdvXozIPiPZH5+CA88iO4dIdAE0yOrVyxseQeWSawOzs9UN5XDCOX+3t
PRDB87UewUOH9aJ7675mNQYPiP1Ohx6ebx6pprf3Dcu/jF4KBvhrTRWlY4AZI1X/rOfx40KP6Hdy
UOo2NBS5/zbU33wKLP2Pw1H/KcngKUCvbwt55OEQpv8tCYNHFNK+BUdLRRk8aqamIapubJuDdB9/
7W6xvx/m/1D8/K4Ideh+Rpz3D3vNNgz4UXhe4tAZsZGKJzkwXxiDnIBtuQcu4ZH1mRCr9ZhKN9qv
6Q+h/vSGqXV84WRp5SRjK3jc96dJmOAexgQ+ePC7zh9AJ8bWGvAgmDgF99mDS0ONvbgVD9N2aoUB
zRQfAyPqzxq159MjaGramzUoNofviyUu6ag6YLaGxAM8SdmyUSTRdFPc3qVps6yhO/nWJmU3ym5Q
DkGQj6TsT1bmcUI+4c7YgsSEOSKove5e4PWZgWOsAX9Co7DjZkHNmxUlzOLwAF9OgJjtM4bygLlQ
dZsc5VDj0QJikpSVXRxxY3hUGU8Tymr31ysbpW+x8y/HtCSPWPEWMkFrGUHBRbX8sefwAA9Ok6Rz
+PLuLFNlxANBeGkRUCQeWQcet7tTz/f2J8yjMcIp0Fe0ALljVNoiYrwHctixBZTCg/X/oxUHvLA5
6AjDowpvAqpsckT6BocI0ePct1dsukupv/CFyIc2+2HbSvAwlyiwZGBgPOrlz22g+B5FtH2HxcMM
aNqw+xtzJED2M3zRz5N6z7nqxtuafx70oR1JJdoMQWuMtmQ6ozuEZT2kp1kXhge88jJxgcOGJn9b
JCHj6ks8GlxQ8B+wrEB42L8xouJxkbgC0/s9ACTswBzOxtQlqNYHvfSRsyfxKO+6tcKoQaD9UOg8
WN926a4eKaakcVB4N3Y9mlrhERAgD2TkjdfjKuYBkPhkxUB2sG46D/rRG+QU2VF5WBQq4F9tpGzZ
Ij2Jh8a/9YoH0MYeddpAYtWdoq/dA56/F95aKXjq6SscQU7w6b8Q9nOLHBQ6/LMcfRGOd1PiUf+/
Y5M8t0Pwnf/r6G0OvuPcg8qlJheMzrSVzmhtjaZl7DL+P7jFhi/KXRLgzsfsVJmHi34HTCA7Wx79
2e5KAPN7k+WwMz9jeeHHUoGflgV66XRypWYb9Grdr9+/9z/DVTtiLdCAffjYBxdDmQdrDLryoNbm
cc6Mm4SSEB7Qnint9EXZ3DuN00liezsB4Zuug/0NLarBhaGOn6/z+XHx6GN8f3++QMSZnYAXnTka
PHrJfSjzfiaaRw+ju9//F6ndxt7fVCBl7n792kn+cZvoGJnj0E20/zb0jX98yu4Yk+Sf7y2PEVe+
srfc3xrzx+wd26ybfuMhxP357/8HAAD//w==</cx:binary>
              </cx:geoCache>
            </cx:geography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497">
  <cs:axisTitle>
    <cs:lnRef idx="0"/>
    <cs:fillRef idx="0"/>
    <cs:effectRef idx="0"/>
    <cs:fontRef idx="minor">
      <a:schemeClr val="lt1">
        <a:lumMod val="95000"/>
      </a:schemeClr>
    </cs:fontRef>
    <cs:defRPr sz="900"/>
  </cs:axisTitle>
  <cs:category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dk1"/>
    </cs:fontRef>
    <cs:spPr>
      <a:solidFill>
        <a:schemeClr val="dk1"/>
      </a:solidFill>
    </cs:spPr>
    <cs:defRPr sz="1000"/>
  </cs:chartArea>
  <cs:dataLabel>
    <cs:lnRef idx="0"/>
    <cs:fillRef idx="0"/>
    <cs:effectRef idx="0"/>
    <cs:fontRef idx="minor">
      <a:schemeClr val="lt1">
        <a:lumMod val="9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3175">
        <a:solidFill>
          <a:schemeClr val="dk1"/>
        </a:solidFill>
      </a:ln>
    </cs:spPr>
  </cs:dataPoint>
  <cs:dataPoint3D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</cs:spPr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lt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lt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9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3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30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95000"/>
      </a:schemeClr>
    </cs:fontRef>
    <cs:defRPr sz="9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9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lt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lt1">
        <a:lumMod val="9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95000"/>
      </a:schemeClr>
    </cs:fontRef>
    <cs:defRPr sz="9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3/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2326" indent="-28166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26655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77317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27979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78641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9303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9965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0627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15212E8B-A4EC-412D-8B9B-2DB6F4206A75}" type="slidenum">
              <a:rPr lang="fr-FR" altLang="en-US">
                <a:solidFill>
                  <a:prstClr val="black"/>
                </a:solidFill>
              </a:rPr>
              <a:pPr/>
              <a:t>1</a:t>
            </a:fld>
            <a:endParaRPr lang="fr-F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79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1" descr="img_coverAR2017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3" y="-1010867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"/>
          <p:cNvSpPr>
            <a:spLocks/>
          </p:cNvSpPr>
          <p:nvPr/>
        </p:nvSpPr>
        <p:spPr bwMode="auto">
          <a:xfrm>
            <a:off x="-22627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/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50" dirty="0"/>
              <a:t>    </a:t>
            </a:r>
          </a:p>
        </p:txBody>
      </p:sp>
      <p:pic>
        <p:nvPicPr>
          <p:cNvPr id="19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9" y="5894476"/>
            <a:ext cx="2760687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18644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microsoft.com/office/2014/relationships/chartEx" Target="../charts/chartEx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microsoft.com/office/2014/relationships/chartEx" Target="../charts/chartEx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microsoft.com/office/2014/relationships/chartEx" Target="../charts/chartEx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microsoft.com/office/2014/relationships/chartEx" Target="../charts/chartEx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microsoft.com/office/2014/relationships/chartEx" Target="../charts/chartEx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4/relationships/chartEx" Target="../charts/chartEx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microsoft.com/office/2014/relationships/chartEx" Target="../charts/chartEx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microsoft.com/office/2014/relationships/chartEx" Target="../charts/chartEx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microsoft.com/office/2014/relationships/chartEx" Target="../charts/chartEx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ZoneTexte 1"/>
          <p:cNvSpPr txBox="1">
            <a:spLocks noChangeArrowheads="1"/>
          </p:cNvSpPr>
          <p:nvPr/>
        </p:nvSpPr>
        <p:spPr bwMode="auto">
          <a:xfrm>
            <a:off x="438161" y="725530"/>
            <a:ext cx="4542211" cy="52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4" tIns="45717" rIns="91434" bIns="45717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r>
              <a:rPr lang="en-GB" altLang="en-US" sz="2800" dirty="0">
                <a:solidFill>
                  <a:schemeClr val="bg1"/>
                </a:solidFill>
              </a:rPr>
              <a:t>SMC 2022 overview</a:t>
            </a:r>
          </a:p>
        </p:txBody>
      </p:sp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415441" y="2531821"/>
            <a:ext cx="4318552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SMC Alliance Annual Meeting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Feb 28 to Mar 02, 2023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onakry, Guinea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endParaRPr lang="en-GB" altLang="en-US" sz="2000" b="0" dirty="0">
              <a:solidFill>
                <a:prstClr val="white"/>
              </a:solidFill>
            </a:endParaRP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éline Audibert</a:t>
            </a:r>
          </a:p>
          <a:p>
            <a:pPr defTabSz="685800">
              <a:buClr>
                <a:srgbClr val="B30076"/>
              </a:buClr>
              <a:buNone/>
            </a:pPr>
            <a:r>
              <a:rPr lang="en-GB" altLang="en-US" sz="2000" dirty="0">
                <a:solidFill>
                  <a:schemeClr val="bg1"/>
                </a:solidFill>
              </a:rPr>
              <a:t>Director market research, APM</a:t>
            </a:r>
          </a:p>
        </p:txBody>
      </p:sp>
      <p:sp>
        <p:nvSpPr>
          <p:cNvPr id="9221" name="Sous-titre 2"/>
          <p:cNvSpPr txBox="1">
            <a:spLocks/>
          </p:cNvSpPr>
          <p:nvPr/>
        </p:nvSpPr>
        <p:spPr bwMode="auto">
          <a:xfrm>
            <a:off x="262105" y="6380171"/>
            <a:ext cx="39687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defTabSz="457170" fontAlgn="base">
              <a:spcAft>
                <a:spcPct val="0"/>
              </a:spcAft>
              <a:buNone/>
            </a:pPr>
            <a:r>
              <a:rPr lang="en-GB" altLang="en-US" sz="2000" dirty="0">
                <a:solidFill>
                  <a:srgbClr val="A7005F"/>
                </a:solidFill>
              </a:rPr>
              <a:t>Defeating Malaria Together</a:t>
            </a:r>
          </a:p>
        </p:txBody>
      </p:sp>
    </p:spTree>
    <p:extLst>
      <p:ext uri="{BB962C8B-B14F-4D97-AF65-F5344CB8AC3E}">
        <p14:creationId xmlns:p14="http://schemas.microsoft.com/office/powerpoint/2010/main" val="11145801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5F7B4EB3-57F3-4B6C-A315-64DFB14A384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89598533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5F7B4EB3-57F3-4B6C-A315-64DFB14A384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63A7FAD7-5C8A-FB4C-9D99-7FC0EAB3FF9E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16F15C9-1627-B5BF-9DB1-BBB820179C74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910065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0E4CF3B1-A471-4F50-9106-AE571C8F300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185599017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8" name="Chart 7">
                <a:extLst>
                  <a:ext uri="{FF2B5EF4-FFF2-40B4-BE49-F238E27FC236}">
                    <a16:creationId xmlns:a16="http://schemas.microsoft.com/office/drawing/2014/main" id="{0E4CF3B1-A471-4F50-9106-AE571C8F300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31B4D9DE-261A-D82F-3B8E-3ED730BEA826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2C3FC90-DFCD-7D0F-2915-DF6D32BD17B9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39221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9" name="Chart 8">
                <a:extLst>
                  <a:ext uri="{FF2B5EF4-FFF2-40B4-BE49-F238E27FC236}">
                    <a16:creationId xmlns:a16="http://schemas.microsoft.com/office/drawing/2014/main" id="{4E238077-495C-4AFE-AC09-3AE67D3F4A8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90952368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9" name="Chart 8">
                <a:extLst>
                  <a:ext uri="{FF2B5EF4-FFF2-40B4-BE49-F238E27FC236}">
                    <a16:creationId xmlns:a16="http://schemas.microsoft.com/office/drawing/2014/main" id="{4E238077-495C-4AFE-AC09-3AE67D3F4A8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FE1FC55F-9A3A-7C3E-2BF1-EE814D4D563A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48601B0-1B9D-B9AB-03BC-C9874E872F11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1224878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0" name="Chart 9">
                <a:extLst>
                  <a:ext uri="{FF2B5EF4-FFF2-40B4-BE49-F238E27FC236}">
                    <a16:creationId xmlns:a16="http://schemas.microsoft.com/office/drawing/2014/main" id="{7CCA606B-6BDC-490A-B052-DAC5E1C5A10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37093367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0" name="Chart 9">
                <a:extLst>
                  <a:ext uri="{FF2B5EF4-FFF2-40B4-BE49-F238E27FC236}">
                    <a16:creationId xmlns:a16="http://schemas.microsoft.com/office/drawing/2014/main" id="{7CCA606B-6BDC-490A-B052-DAC5E1C5A10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D09F891A-007E-1DC8-3EC8-A4CA4076FFBC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0D70849-352E-3759-80B1-EADCF9F89A0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706593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1" name="Chart 10">
                <a:extLst>
                  <a:ext uri="{FF2B5EF4-FFF2-40B4-BE49-F238E27FC236}">
                    <a16:creationId xmlns:a16="http://schemas.microsoft.com/office/drawing/2014/main" id="{1C1AACA7-9F49-4880-B12D-01DD3C03CB2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06941504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1" name="Chart 10">
                <a:extLst>
                  <a:ext uri="{FF2B5EF4-FFF2-40B4-BE49-F238E27FC236}">
                    <a16:creationId xmlns:a16="http://schemas.microsoft.com/office/drawing/2014/main" id="{1C1AACA7-9F49-4880-B12D-01DD3C03CB2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1B8327A8-3297-42C3-8B95-CF8E144AECC3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4B785B6-4D0E-CA13-E6F4-3A0C884026B5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412127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2" name="Chart 11">
                <a:extLst>
                  <a:ext uri="{FF2B5EF4-FFF2-40B4-BE49-F238E27FC236}">
                    <a16:creationId xmlns:a16="http://schemas.microsoft.com/office/drawing/2014/main" id="{C11E757A-91DF-4905-93DD-34373976327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349635964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2" name="Chart 11">
                <a:extLst>
                  <a:ext uri="{FF2B5EF4-FFF2-40B4-BE49-F238E27FC236}">
                    <a16:creationId xmlns:a16="http://schemas.microsoft.com/office/drawing/2014/main" id="{C11E757A-91DF-4905-93DD-34373976327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51EEEDBB-FC64-D891-4888-B657578FF71D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8777DEF-02D0-9913-859F-8E7644D57C55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791484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MC geographical expansion: number of districts providing SMC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618C5B24-5B0E-FB5F-D519-0F406E1A77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30968"/>
              </p:ext>
            </p:extLst>
          </p:nvPr>
        </p:nvGraphicFramePr>
        <p:xfrm>
          <a:off x="1363851" y="1278610"/>
          <a:ext cx="8446575" cy="4982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771762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Number of children covered at each cyc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85F84F1-8558-7F50-71A6-6AF23F4C8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7397104"/>
              </p:ext>
            </p:extLst>
          </p:nvPr>
        </p:nvGraphicFramePr>
        <p:xfrm>
          <a:off x="984142" y="1170122"/>
          <a:ext cx="9585702" cy="5184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00148009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Number of children covered per age grou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B00DD98-7F3F-BA34-5FDA-BD27C42466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0177689"/>
              </p:ext>
            </p:extLst>
          </p:nvPr>
        </p:nvGraphicFramePr>
        <p:xfrm>
          <a:off x="1108129" y="1154624"/>
          <a:ext cx="8710047" cy="5122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85585562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!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79733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832m treatments delivered since 2012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2022 data are provisional</a:t>
            </a:r>
            <a:endParaRPr lang="fr-CH" sz="1400" i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6309A8A-2A87-035F-6758-167DB021E0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555270"/>
              </p:ext>
            </p:extLst>
          </p:nvPr>
        </p:nvGraphicFramePr>
        <p:xfrm>
          <a:off x="1588575" y="1208868"/>
          <a:ext cx="8702299" cy="5083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7088459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47.9m children covered on average in 2022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2022 data are provisional</a:t>
            </a:r>
            <a:endParaRPr lang="fr-CH" sz="1400" i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F24E12D-C78B-2461-77D8-5E76948432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0257035"/>
              </p:ext>
            </p:extLst>
          </p:nvPr>
        </p:nvGraphicFramePr>
        <p:xfrm>
          <a:off x="1720312" y="1084882"/>
          <a:ext cx="9143999" cy="5075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642395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9CD342C-D1E1-E18B-D66B-6B12450CF8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316994"/>
              </p:ext>
            </p:extLst>
          </p:nvPr>
        </p:nvGraphicFramePr>
        <p:xfrm>
          <a:off x="6331058" y="1405854"/>
          <a:ext cx="5613292" cy="4730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MC 2022: total number of treatments achieved versus targe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AE410AB-C102-4485-BE1A-FEFFD59DF8BE}"/>
              </a:ext>
            </a:extLst>
          </p:cNvPr>
          <p:cNvCxnSpPr>
            <a:cxnSpLocks/>
          </p:cNvCxnSpPr>
          <p:nvPr/>
        </p:nvCxnSpPr>
        <p:spPr>
          <a:xfrm>
            <a:off x="6888996" y="2849063"/>
            <a:ext cx="481997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069EDEC-B375-39D9-7F84-088AFBA61C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5763138"/>
              </p:ext>
            </p:extLst>
          </p:nvPr>
        </p:nvGraphicFramePr>
        <p:xfrm>
          <a:off x="247650" y="1405855"/>
          <a:ext cx="5686425" cy="473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39836243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3" name="Chart 12">
                <a:extLst>
                  <a:ext uri="{FF2B5EF4-FFF2-40B4-BE49-F238E27FC236}">
                    <a16:creationId xmlns:a16="http://schemas.microsoft.com/office/drawing/2014/main" id="{D9940DE6-10C9-4657-A5A4-06C5BC65BE9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880751032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3" name="Chart 12">
                <a:extLst>
                  <a:ext uri="{FF2B5EF4-FFF2-40B4-BE49-F238E27FC236}">
                    <a16:creationId xmlns:a16="http://schemas.microsoft.com/office/drawing/2014/main" id="{D9940DE6-10C9-4657-A5A4-06C5BC65BE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33D84DD5-3014-0F0B-F4B8-1A92D02058C0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6B1595D-F02B-FE22-E2B3-29A4E2A101FA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6069794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4" name="Chart 13">
                <a:extLst>
                  <a:ext uri="{FF2B5EF4-FFF2-40B4-BE49-F238E27FC236}">
                    <a16:creationId xmlns:a16="http://schemas.microsoft.com/office/drawing/2014/main" id="{5AD3DC61-0165-44B8-8411-852A37CF4DC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61333156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4" name="Chart 13">
                <a:extLst>
                  <a:ext uri="{FF2B5EF4-FFF2-40B4-BE49-F238E27FC236}">
                    <a16:creationId xmlns:a16="http://schemas.microsoft.com/office/drawing/2014/main" id="{5AD3DC61-0165-44B8-8411-852A37CF4DC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D7B13DE9-79C3-95CF-52BC-E0A5EB876963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CC13262-1952-C274-6923-7AC394380AD9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5282385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95480CFD-55FC-067C-4E9E-EF5B5B48535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074033946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95480CFD-55FC-067C-4E9E-EF5B5B48535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629FF246-3B80-D6C6-6620-D10D8E99B354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74B235E-8AF9-17EB-AD6D-AE603EED482B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4956278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506BC9E8-39DA-4A79-B0F6-A53C5D2434CA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11426030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506BC9E8-39DA-4A79-B0F6-A53C5D2434C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5DB0C1A0-C8EC-198C-3712-84A11864830D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55B963-9317-8478-314E-75F085F467D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098856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A44BCC70-C1D5-4BC3-9C14-7B1CB0A0CE4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38251338"/>
                  </p:ext>
                </p:extLst>
              </p:nvPr>
            </p:nvGraphicFramePr>
            <p:xfrm>
              <a:off x="1981200" y="1154430"/>
              <a:ext cx="8229600" cy="454914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A44BCC70-C1D5-4BC3-9C14-7B1CB0A0CE4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981200" y="1154430"/>
                <a:ext cx="8229600" cy="454914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itle 1">
            <a:extLst>
              <a:ext uri="{FF2B5EF4-FFF2-40B4-BE49-F238E27FC236}">
                <a16:creationId xmlns:a16="http://schemas.microsoft.com/office/drawing/2014/main" id="{D897DD45-5DC1-3D58-19CD-6BD2A7DA3E12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ountries performing SM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BA6E18-1E85-511F-7996-6DBD7A07654B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601992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31</TotalTime>
  <Words>156</Words>
  <Application>Microsoft Office PowerPoint</Application>
  <PresentationFormat>Widescreen</PresentationFormat>
  <Paragraphs>46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Calibri</vt:lpstr>
      <vt:lpstr>Courier New</vt:lpstr>
      <vt:lpstr>System Font Regular</vt:lpstr>
      <vt:lpstr>Wingdings</vt:lpstr>
      <vt:lpstr>Thème Office</vt:lpstr>
      <vt:lpstr>Custom Design</vt:lpstr>
      <vt:lpstr>1_Custom Design</vt:lpstr>
      <vt:lpstr>2_Custom Design</vt:lpstr>
      <vt:lpstr>3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onference External1</cp:lastModifiedBy>
  <cp:revision>1081</cp:revision>
  <cp:lastPrinted>2020-01-14T13:32:23Z</cp:lastPrinted>
  <dcterms:created xsi:type="dcterms:W3CDTF">2018-10-16T01:49:16Z</dcterms:created>
  <dcterms:modified xsi:type="dcterms:W3CDTF">2023-03-13T11:56:36Z</dcterms:modified>
</cp:coreProperties>
</file>